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62" r:id="rId3"/>
    <p:sldId id="258" r:id="rId4"/>
    <p:sldId id="1708" r:id="rId5"/>
    <p:sldId id="1729" r:id="rId6"/>
    <p:sldId id="1707" r:id="rId7"/>
    <p:sldId id="1730" r:id="rId8"/>
    <p:sldId id="1731" r:id="rId9"/>
    <p:sldId id="1732" r:id="rId10"/>
    <p:sldId id="263" r:id="rId11"/>
    <p:sldId id="1733" r:id="rId12"/>
    <p:sldId id="1734" r:id="rId13"/>
    <p:sldId id="1735" r:id="rId14"/>
    <p:sldId id="1736" r:id="rId15"/>
    <p:sldId id="1738" r:id="rId16"/>
    <p:sldId id="1737" r:id="rId17"/>
    <p:sldId id="1739" r:id="rId18"/>
    <p:sldId id="261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3C000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474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pPr/>
              <a:t>2021/10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0270BBB7-1C80-4BD0-B235-34ADA00E4B99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9982" name="组合 9981">
            <a:extLst>
              <a:ext uri="{FF2B5EF4-FFF2-40B4-BE49-F238E27FC236}">
                <a16:creationId xmlns:a16="http://schemas.microsoft.com/office/drawing/2014/main" id="{A9993FA5-F47E-417F-AF46-79D00384731C}"/>
              </a:ext>
            </a:extLst>
          </p:cNvPr>
          <p:cNvGrpSpPr/>
          <p:nvPr userDrawn="1"/>
        </p:nvGrpSpPr>
        <p:grpSpPr>
          <a:xfrm>
            <a:off x="6292953" y="838518"/>
            <a:ext cx="5545215" cy="5562710"/>
            <a:chOff x="6292953" y="838518"/>
            <a:chExt cx="5545215" cy="5562710"/>
          </a:xfrm>
          <a:solidFill>
            <a:schemeClr val="accent2"/>
          </a:solidFill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E1376BF2-711E-4E38-A093-412750CDB5FF}"/>
                </a:ext>
              </a:extLst>
            </p:cNvPr>
            <p:cNvSpPr/>
            <p:nvPr/>
          </p:nvSpPr>
          <p:spPr>
            <a:xfrm>
              <a:off x="9135251" y="1387157"/>
              <a:ext cx="76200" cy="38100"/>
            </a:xfrm>
            <a:custGeom>
              <a:avLst/>
              <a:gdLst>
                <a:gd name="connsiteX0" fmla="*/ 72884 w 76200"/>
                <a:gd name="connsiteY0" fmla="*/ 4763 h 38100"/>
                <a:gd name="connsiteX1" fmla="*/ 4939 w 76200"/>
                <a:gd name="connsiteY1" fmla="*/ 18098 h 38100"/>
                <a:gd name="connsiteX2" fmla="*/ 23355 w 76200"/>
                <a:gd name="connsiteY2" fmla="*/ 16828 h 38100"/>
                <a:gd name="connsiteX3" fmla="*/ 72884 w 76200"/>
                <a:gd name="connsiteY3" fmla="*/ 476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38100">
                  <a:moveTo>
                    <a:pt x="72884" y="4763"/>
                  </a:moveTo>
                  <a:cubicBezTo>
                    <a:pt x="61455" y="13653"/>
                    <a:pt x="20180" y="67628"/>
                    <a:pt x="4939" y="18098"/>
                  </a:cubicBezTo>
                  <a:cubicBezTo>
                    <a:pt x="3034" y="12382"/>
                    <a:pt x="17005" y="18098"/>
                    <a:pt x="23355" y="16828"/>
                  </a:cubicBezTo>
                  <a:cubicBezTo>
                    <a:pt x="39230" y="13653"/>
                    <a:pt x="72884" y="4763"/>
                    <a:pt x="72884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D5BB7B73-BC7F-4A69-AD08-6B72DDBB0342}"/>
                </a:ext>
              </a:extLst>
            </p:cNvPr>
            <p:cNvSpPr/>
            <p:nvPr/>
          </p:nvSpPr>
          <p:spPr>
            <a:xfrm>
              <a:off x="8408672" y="1081850"/>
              <a:ext cx="177800" cy="57150"/>
            </a:xfrm>
            <a:custGeom>
              <a:avLst/>
              <a:gdLst>
                <a:gd name="connsiteX0" fmla="*/ 178433 w 177800"/>
                <a:gd name="connsiteY0" fmla="*/ 5905 h 57150"/>
                <a:gd name="connsiteX1" fmla="*/ 109853 w 177800"/>
                <a:gd name="connsiteY1" fmla="*/ 31940 h 57150"/>
                <a:gd name="connsiteX2" fmla="*/ 125728 w 177800"/>
                <a:gd name="connsiteY2" fmla="*/ 33845 h 57150"/>
                <a:gd name="connsiteX3" fmla="*/ 59688 w 177800"/>
                <a:gd name="connsiteY3" fmla="*/ 52895 h 57150"/>
                <a:gd name="connsiteX4" fmla="*/ 29843 w 177800"/>
                <a:gd name="connsiteY4" fmla="*/ 45275 h 57150"/>
                <a:gd name="connsiteX5" fmla="*/ 5713 w 177800"/>
                <a:gd name="connsiteY5" fmla="*/ 42735 h 57150"/>
                <a:gd name="connsiteX6" fmla="*/ 178433 w 177800"/>
                <a:gd name="connsiteY6" fmla="*/ 590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800" h="57150">
                  <a:moveTo>
                    <a:pt x="178433" y="5905"/>
                  </a:moveTo>
                  <a:cubicBezTo>
                    <a:pt x="155573" y="14795"/>
                    <a:pt x="131443" y="20510"/>
                    <a:pt x="109853" y="31940"/>
                  </a:cubicBezTo>
                  <a:cubicBezTo>
                    <a:pt x="105408" y="34480"/>
                    <a:pt x="130173" y="31940"/>
                    <a:pt x="125728" y="33845"/>
                  </a:cubicBezTo>
                  <a:cubicBezTo>
                    <a:pt x="104773" y="42735"/>
                    <a:pt x="82548" y="50355"/>
                    <a:pt x="59688" y="52895"/>
                  </a:cubicBezTo>
                  <a:cubicBezTo>
                    <a:pt x="49528" y="54165"/>
                    <a:pt x="40003" y="47180"/>
                    <a:pt x="29843" y="45275"/>
                  </a:cubicBezTo>
                  <a:cubicBezTo>
                    <a:pt x="21588" y="44005"/>
                    <a:pt x="-2" y="48450"/>
                    <a:pt x="5713" y="42735"/>
                  </a:cubicBezTo>
                  <a:cubicBezTo>
                    <a:pt x="55243" y="-2350"/>
                    <a:pt x="117473" y="4635"/>
                    <a:pt x="178433" y="5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5F8B1092-EDF0-4764-93EA-9A66C9F510F9}"/>
                </a:ext>
              </a:extLst>
            </p:cNvPr>
            <p:cNvSpPr/>
            <p:nvPr/>
          </p:nvSpPr>
          <p:spPr>
            <a:xfrm>
              <a:off x="8283795" y="1090475"/>
              <a:ext cx="361950" cy="107950"/>
            </a:xfrm>
            <a:custGeom>
              <a:avLst/>
              <a:gdLst>
                <a:gd name="connsiteX0" fmla="*/ 355380 w 361950"/>
                <a:gd name="connsiteY0" fmla="*/ 52525 h 107950"/>
                <a:gd name="connsiteX1" fmla="*/ 323630 w 361950"/>
                <a:gd name="connsiteY1" fmla="*/ 100785 h 107950"/>
                <a:gd name="connsiteX2" fmla="*/ 179485 w 361950"/>
                <a:gd name="connsiteY2" fmla="*/ 74115 h 107950"/>
                <a:gd name="connsiteX3" fmla="*/ 102015 w 361950"/>
                <a:gd name="connsiteY3" fmla="*/ 100150 h 107950"/>
                <a:gd name="connsiteX4" fmla="*/ 90585 w 361950"/>
                <a:gd name="connsiteY4" fmla="*/ 72210 h 107950"/>
                <a:gd name="connsiteX5" fmla="*/ 4860 w 361950"/>
                <a:gd name="connsiteY5" fmla="*/ 94435 h 107950"/>
                <a:gd name="connsiteX6" fmla="*/ 20100 w 361950"/>
                <a:gd name="connsiteY6" fmla="*/ 92530 h 107950"/>
                <a:gd name="connsiteX7" fmla="*/ 44865 w 361950"/>
                <a:gd name="connsiteY7" fmla="*/ 76655 h 107950"/>
                <a:gd name="connsiteX8" fmla="*/ 48675 w 361950"/>
                <a:gd name="connsiteY8" fmla="*/ 40460 h 107950"/>
                <a:gd name="connsiteX9" fmla="*/ 73440 w 361950"/>
                <a:gd name="connsiteY9" fmla="*/ 42365 h 107950"/>
                <a:gd name="connsiteX10" fmla="*/ 112810 w 361950"/>
                <a:gd name="connsiteY10" fmla="*/ 38555 h 107950"/>
                <a:gd name="connsiteX11" fmla="*/ 75345 w 361950"/>
                <a:gd name="connsiteY11" fmla="*/ 67765 h 107950"/>
                <a:gd name="connsiteX12" fmla="*/ 113445 w 361950"/>
                <a:gd name="connsiteY12" fmla="*/ 66495 h 107950"/>
                <a:gd name="connsiteX13" fmla="*/ 145195 w 361950"/>
                <a:gd name="connsiteY13" fmla="*/ 50620 h 107950"/>
                <a:gd name="connsiteX14" fmla="*/ 159800 w 361950"/>
                <a:gd name="connsiteY14" fmla="*/ 39825 h 107950"/>
                <a:gd name="connsiteX15" fmla="*/ 211870 w 361950"/>
                <a:gd name="connsiteY15" fmla="*/ 34110 h 107950"/>
                <a:gd name="connsiteX16" fmla="*/ 241080 w 361950"/>
                <a:gd name="connsiteY16" fmla="*/ 30935 h 107950"/>
                <a:gd name="connsiteX17" fmla="*/ 195360 w 361950"/>
                <a:gd name="connsiteY17" fmla="*/ 56335 h 107950"/>
                <a:gd name="connsiteX18" fmla="*/ 258225 w 361950"/>
                <a:gd name="connsiteY18" fmla="*/ 27760 h 107950"/>
                <a:gd name="connsiteX19" fmla="*/ 293150 w 361950"/>
                <a:gd name="connsiteY19" fmla="*/ 31570 h 107950"/>
                <a:gd name="connsiteX20" fmla="*/ 325535 w 361950"/>
                <a:gd name="connsiteY20" fmla="*/ 4900 h 107950"/>
                <a:gd name="connsiteX21" fmla="*/ 360460 w 361950"/>
                <a:gd name="connsiteY21" fmla="*/ 24585 h 107950"/>
                <a:gd name="connsiteX22" fmla="*/ 318550 w 361950"/>
                <a:gd name="connsiteY22" fmla="*/ 48080 h 107950"/>
                <a:gd name="connsiteX23" fmla="*/ 355380 w 361950"/>
                <a:gd name="connsiteY23" fmla="*/ 52525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1950" h="107950">
                  <a:moveTo>
                    <a:pt x="355380" y="52525"/>
                  </a:moveTo>
                  <a:cubicBezTo>
                    <a:pt x="344585" y="69035"/>
                    <a:pt x="342680" y="98880"/>
                    <a:pt x="323630" y="100785"/>
                  </a:cubicBezTo>
                  <a:cubicBezTo>
                    <a:pt x="275370" y="107135"/>
                    <a:pt x="227745" y="82370"/>
                    <a:pt x="179485" y="74115"/>
                  </a:cubicBezTo>
                  <a:cubicBezTo>
                    <a:pt x="125510" y="64590"/>
                    <a:pt x="240445" y="102055"/>
                    <a:pt x="102015" y="100150"/>
                  </a:cubicBezTo>
                  <a:cubicBezTo>
                    <a:pt x="91855" y="100150"/>
                    <a:pt x="99475" y="76655"/>
                    <a:pt x="90585" y="72210"/>
                  </a:cubicBezTo>
                  <a:cubicBezTo>
                    <a:pt x="60105" y="55065"/>
                    <a:pt x="17560" y="141425"/>
                    <a:pt x="4860" y="94435"/>
                  </a:cubicBezTo>
                  <a:cubicBezTo>
                    <a:pt x="3590" y="89355"/>
                    <a:pt x="15020" y="95070"/>
                    <a:pt x="20100" y="92530"/>
                  </a:cubicBezTo>
                  <a:cubicBezTo>
                    <a:pt x="28990" y="88720"/>
                    <a:pt x="39785" y="85545"/>
                    <a:pt x="44865" y="76655"/>
                  </a:cubicBezTo>
                  <a:cubicBezTo>
                    <a:pt x="50580" y="65860"/>
                    <a:pt x="41055" y="49985"/>
                    <a:pt x="48675" y="40460"/>
                  </a:cubicBezTo>
                  <a:cubicBezTo>
                    <a:pt x="53755" y="34110"/>
                    <a:pt x="65185" y="42365"/>
                    <a:pt x="73440" y="42365"/>
                  </a:cubicBezTo>
                  <a:cubicBezTo>
                    <a:pt x="86775" y="41730"/>
                    <a:pt x="111540" y="25220"/>
                    <a:pt x="112810" y="38555"/>
                  </a:cubicBezTo>
                  <a:cubicBezTo>
                    <a:pt x="114080" y="54430"/>
                    <a:pt x="74710" y="51890"/>
                    <a:pt x="75345" y="67765"/>
                  </a:cubicBezTo>
                  <a:cubicBezTo>
                    <a:pt x="75980" y="80465"/>
                    <a:pt x="101380" y="69670"/>
                    <a:pt x="113445" y="66495"/>
                  </a:cubicBezTo>
                  <a:cubicBezTo>
                    <a:pt x="124875" y="63320"/>
                    <a:pt x="135035" y="56335"/>
                    <a:pt x="145195" y="50620"/>
                  </a:cubicBezTo>
                  <a:cubicBezTo>
                    <a:pt x="150275" y="47445"/>
                    <a:pt x="154085" y="41095"/>
                    <a:pt x="159800" y="39825"/>
                  </a:cubicBezTo>
                  <a:cubicBezTo>
                    <a:pt x="176945" y="35380"/>
                    <a:pt x="194725" y="36015"/>
                    <a:pt x="211870" y="34110"/>
                  </a:cubicBezTo>
                  <a:cubicBezTo>
                    <a:pt x="221395" y="32840"/>
                    <a:pt x="232190" y="27125"/>
                    <a:pt x="241080" y="30935"/>
                  </a:cubicBezTo>
                  <a:cubicBezTo>
                    <a:pt x="260765" y="37920"/>
                    <a:pt x="135035" y="92530"/>
                    <a:pt x="195360" y="56335"/>
                  </a:cubicBezTo>
                  <a:cubicBezTo>
                    <a:pt x="215045" y="44270"/>
                    <a:pt x="236000" y="33475"/>
                    <a:pt x="258225" y="27760"/>
                  </a:cubicBezTo>
                  <a:cubicBezTo>
                    <a:pt x="269655" y="25220"/>
                    <a:pt x="282355" y="35380"/>
                    <a:pt x="293150" y="31570"/>
                  </a:cubicBezTo>
                  <a:cubicBezTo>
                    <a:pt x="306485" y="27125"/>
                    <a:pt x="311565" y="6170"/>
                    <a:pt x="325535" y="4900"/>
                  </a:cubicBezTo>
                  <a:cubicBezTo>
                    <a:pt x="338870" y="3630"/>
                    <a:pt x="362365" y="11250"/>
                    <a:pt x="360460" y="24585"/>
                  </a:cubicBezTo>
                  <a:cubicBezTo>
                    <a:pt x="357920" y="40460"/>
                    <a:pt x="321725" y="32205"/>
                    <a:pt x="318550" y="48080"/>
                  </a:cubicBezTo>
                  <a:cubicBezTo>
                    <a:pt x="316645" y="59510"/>
                    <a:pt x="355380" y="52525"/>
                    <a:pt x="355380" y="52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B43C0DB-5788-42AA-ADA6-4A87CEDBF738}"/>
                </a:ext>
              </a:extLst>
            </p:cNvPr>
            <p:cNvSpPr/>
            <p:nvPr/>
          </p:nvSpPr>
          <p:spPr>
            <a:xfrm>
              <a:off x="9663161" y="1139834"/>
              <a:ext cx="95250" cy="44450"/>
            </a:xfrm>
            <a:custGeom>
              <a:avLst/>
              <a:gdLst>
                <a:gd name="connsiteX0" fmla="*/ 91074 w 95250"/>
                <a:gd name="connsiteY0" fmla="*/ 43806 h 44450"/>
                <a:gd name="connsiteX1" fmla="*/ 6620 w 95250"/>
                <a:gd name="connsiteY1" fmla="*/ 13961 h 44450"/>
                <a:gd name="connsiteX2" fmla="*/ 54880 w 95250"/>
                <a:gd name="connsiteY2" fmla="*/ 8246 h 44450"/>
                <a:gd name="connsiteX3" fmla="*/ 91074 w 95250"/>
                <a:gd name="connsiteY3" fmla="*/ 43806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44450">
                  <a:moveTo>
                    <a:pt x="91074" y="43806"/>
                  </a:moveTo>
                  <a:cubicBezTo>
                    <a:pt x="63134" y="33646"/>
                    <a:pt x="28209" y="34916"/>
                    <a:pt x="6620" y="13961"/>
                  </a:cubicBezTo>
                  <a:cubicBezTo>
                    <a:pt x="-4811" y="2531"/>
                    <a:pt x="39639" y="3166"/>
                    <a:pt x="54880" y="8246"/>
                  </a:cubicBezTo>
                  <a:cubicBezTo>
                    <a:pt x="70755" y="13961"/>
                    <a:pt x="91074" y="43806"/>
                    <a:pt x="91074" y="438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DE153C8E-EE9D-4D66-B9C1-3F452358AB9D}"/>
                </a:ext>
              </a:extLst>
            </p:cNvPr>
            <p:cNvSpPr/>
            <p:nvPr/>
          </p:nvSpPr>
          <p:spPr>
            <a:xfrm>
              <a:off x="8483918" y="1044893"/>
              <a:ext cx="50800" cy="12700"/>
            </a:xfrm>
            <a:custGeom>
              <a:avLst/>
              <a:gdLst>
                <a:gd name="connsiteX0" fmla="*/ 47307 w 50800"/>
                <a:gd name="connsiteY0" fmla="*/ 9207 h 12700"/>
                <a:gd name="connsiteX1" fmla="*/ 4763 w 50800"/>
                <a:gd name="connsiteY1" fmla="*/ 4763 h 12700"/>
                <a:gd name="connsiteX2" fmla="*/ 47307 w 50800"/>
                <a:gd name="connsiteY2" fmla="*/ 9207 h 12700"/>
                <a:gd name="connsiteX3" fmla="*/ 47307 w 50800"/>
                <a:gd name="connsiteY3" fmla="*/ 9207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">
                  <a:moveTo>
                    <a:pt x="47307" y="9207"/>
                  </a:moveTo>
                  <a:cubicBezTo>
                    <a:pt x="33338" y="7938"/>
                    <a:pt x="4763" y="4763"/>
                    <a:pt x="4763" y="4763"/>
                  </a:cubicBezTo>
                  <a:cubicBezTo>
                    <a:pt x="4763" y="4763"/>
                    <a:pt x="33338" y="7938"/>
                    <a:pt x="47307" y="9207"/>
                  </a:cubicBezTo>
                  <a:lnTo>
                    <a:pt x="47307" y="92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CD6171E-B8D5-4A57-B20A-FEC67D082DCE}"/>
                </a:ext>
              </a:extLst>
            </p:cNvPr>
            <p:cNvSpPr/>
            <p:nvPr/>
          </p:nvSpPr>
          <p:spPr>
            <a:xfrm>
              <a:off x="8515939" y="1014316"/>
              <a:ext cx="25400" cy="12700"/>
            </a:xfrm>
            <a:custGeom>
              <a:avLst/>
              <a:gdLst>
                <a:gd name="connsiteX0" fmla="*/ 23541 w 25400"/>
                <a:gd name="connsiteY0" fmla="*/ 13114 h 12700"/>
                <a:gd name="connsiteX1" fmla="*/ 5126 w 25400"/>
                <a:gd name="connsiteY1" fmla="*/ 11209 h 12700"/>
                <a:gd name="connsiteX2" fmla="*/ 19096 w 25400"/>
                <a:gd name="connsiteY2" fmla="*/ 4859 h 12700"/>
                <a:gd name="connsiteX3" fmla="*/ 23541 w 25400"/>
                <a:gd name="connsiteY3" fmla="*/ 13114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2700">
                  <a:moveTo>
                    <a:pt x="23541" y="13114"/>
                  </a:moveTo>
                  <a:cubicBezTo>
                    <a:pt x="17191" y="12479"/>
                    <a:pt x="8301" y="16289"/>
                    <a:pt x="5126" y="11209"/>
                  </a:cubicBezTo>
                  <a:cubicBezTo>
                    <a:pt x="2586" y="6764"/>
                    <a:pt x="14016" y="4224"/>
                    <a:pt x="19096" y="4859"/>
                  </a:cubicBezTo>
                  <a:cubicBezTo>
                    <a:pt x="22271" y="4859"/>
                    <a:pt x="23541" y="13114"/>
                    <a:pt x="23541" y="131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78BDEB3-757F-4F26-8D76-BA3B2D23B154}"/>
                </a:ext>
              </a:extLst>
            </p:cNvPr>
            <p:cNvSpPr/>
            <p:nvPr/>
          </p:nvSpPr>
          <p:spPr>
            <a:xfrm>
              <a:off x="9061768" y="1401305"/>
              <a:ext cx="133350" cy="146050"/>
            </a:xfrm>
            <a:custGeom>
              <a:avLst/>
              <a:gdLst>
                <a:gd name="connsiteX0" fmla="*/ 4763 w 133350"/>
                <a:gd name="connsiteY0" fmla="*/ 28080 h 146050"/>
                <a:gd name="connsiteX1" fmla="*/ 37782 w 133350"/>
                <a:gd name="connsiteY1" fmla="*/ 15380 h 146050"/>
                <a:gd name="connsiteX2" fmla="*/ 71438 w 133350"/>
                <a:gd name="connsiteY2" fmla="*/ 50305 h 146050"/>
                <a:gd name="connsiteX3" fmla="*/ 63182 w 133350"/>
                <a:gd name="connsiteY3" fmla="*/ 7125 h 146050"/>
                <a:gd name="connsiteX4" fmla="*/ 84138 w 133350"/>
                <a:gd name="connsiteY4" fmla="*/ 18555 h 146050"/>
                <a:gd name="connsiteX5" fmla="*/ 81597 w 133350"/>
                <a:gd name="connsiteY5" fmla="*/ 32525 h 146050"/>
                <a:gd name="connsiteX6" fmla="*/ 131127 w 133350"/>
                <a:gd name="connsiteY6" fmla="*/ 51575 h 146050"/>
                <a:gd name="connsiteX7" fmla="*/ 103822 w 133350"/>
                <a:gd name="connsiteY7" fmla="*/ 65545 h 146050"/>
                <a:gd name="connsiteX8" fmla="*/ 108267 w 133350"/>
                <a:gd name="connsiteY8" fmla="*/ 78880 h 146050"/>
                <a:gd name="connsiteX9" fmla="*/ 83502 w 133350"/>
                <a:gd name="connsiteY9" fmla="*/ 141110 h 146050"/>
                <a:gd name="connsiteX10" fmla="*/ 70167 w 133350"/>
                <a:gd name="connsiteY10" fmla="*/ 129045 h 146050"/>
                <a:gd name="connsiteX11" fmla="*/ 83502 w 133350"/>
                <a:gd name="connsiteY11" fmla="*/ 123965 h 146050"/>
                <a:gd name="connsiteX12" fmla="*/ 40322 w 133350"/>
                <a:gd name="connsiteY12" fmla="*/ 83960 h 146050"/>
                <a:gd name="connsiteX13" fmla="*/ 84138 w 133350"/>
                <a:gd name="connsiteY13" fmla="*/ 68085 h 146050"/>
                <a:gd name="connsiteX14" fmla="*/ 32702 w 133350"/>
                <a:gd name="connsiteY14" fmla="*/ 78245 h 146050"/>
                <a:gd name="connsiteX15" fmla="*/ 34607 w 133350"/>
                <a:gd name="connsiteY15" fmla="*/ 65545 h 146050"/>
                <a:gd name="connsiteX16" fmla="*/ 4763 w 133350"/>
                <a:gd name="connsiteY16" fmla="*/ 28080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3350" h="146050">
                  <a:moveTo>
                    <a:pt x="4763" y="28080"/>
                  </a:moveTo>
                  <a:cubicBezTo>
                    <a:pt x="15557" y="23635"/>
                    <a:pt x="26988" y="11570"/>
                    <a:pt x="37782" y="15380"/>
                  </a:cubicBezTo>
                  <a:cubicBezTo>
                    <a:pt x="53022" y="20460"/>
                    <a:pt x="55563" y="55385"/>
                    <a:pt x="71438" y="50305"/>
                  </a:cubicBezTo>
                  <a:cubicBezTo>
                    <a:pt x="85407" y="45860"/>
                    <a:pt x="57467" y="21095"/>
                    <a:pt x="63182" y="7125"/>
                  </a:cubicBezTo>
                  <a:cubicBezTo>
                    <a:pt x="66357" y="-495"/>
                    <a:pt x="79692" y="12205"/>
                    <a:pt x="84138" y="18555"/>
                  </a:cubicBezTo>
                  <a:cubicBezTo>
                    <a:pt x="86677" y="22365"/>
                    <a:pt x="77788" y="29350"/>
                    <a:pt x="81597" y="32525"/>
                  </a:cubicBezTo>
                  <a:cubicBezTo>
                    <a:pt x="96202" y="42685"/>
                    <a:pt x="121602" y="36970"/>
                    <a:pt x="131127" y="51575"/>
                  </a:cubicBezTo>
                  <a:cubicBezTo>
                    <a:pt x="136842" y="59830"/>
                    <a:pt x="110172" y="57925"/>
                    <a:pt x="103822" y="65545"/>
                  </a:cubicBezTo>
                  <a:cubicBezTo>
                    <a:pt x="100647" y="69355"/>
                    <a:pt x="109538" y="74435"/>
                    <a:pt x="108267" y="78880"/>
                  </a:cubicBezTo>
                  <a:cubicBezTo>
                    <a:pt x="102552" y="100470"/>
                    <a:pt x="96838" y="123330"/>
                    <a:pt x="83502" y="141110"/>
                  </a:cubicBezTo>
                  <a:cubicBezTo>
                    <a:pt x="79692" y="146190"/>
                    <a:pt x="70167" y="134760"/>
                    <a:pt x="70167" y="129045"/>
                  </a:cubicBezTo>
                  <a:cubicBezTo>
                    <a:pt x="70167" y="123965"/>
                    <a:pt x="87947" y="126505"/>
                    <a:pt x="83502" y="123965"/>
                  </a:cubicBezTo>
                  <a:cubicBezTo>
                    <a:pt x="75247" y="118250"/>
                    <a:pt x="16192" y="124600"/>
                    <a:pt x="40322" y="83960"/>
                  </a:cubicBezTo>
                  <a:cubicBezTo>
                    <a:pt x="47942" y="70625"/>
                    <a:pt x="96838" y="77610"/>
                    <a:pt x="84138" y="68085"/>
                  </a:cubicBezTo>
                  <a:cubicBezTo>
                    <a:pt x="70167" y="57925"/>
                    <a:pt x="49847" y="78880"/>
                    <a:pt x="32702" y="78245"/>
                  </a:cubicBezTo>
                  <a:cubicBezTo>
                    <a:pt x="28257" y="78245"/>
                    <a:pt x="36513" y="69355"/>
                    <a:pt x="34607" y="65545"/>
                  </a:cubicBezTo>
                  <a:cubicBezTo>
                    <a:pt x="26988" y="51575"/>
                    <a:pt x="4763" y="28080"/>
                    <a:pt x="4763" y="28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8F51A7FD-6456-4838-8267-4C0AD5E38C7E}"/>
                </a:ext>
              </a:extLst>
            </p:cNvPr>
            <p:cNvSpPr/>
            <p:nvPr/>
          </p:nvSpPr>
          <p:spPr>
            <a:xfrm>
              <a:off x="8489034" y="965413"/>
              <a:ext cx="50800" cy="25400"/>
            </a:xfrm>
            <a:custGeom>
              <a:avLst/>
              <a:gdLst>
                <a:gd name="connsiteX0" fmla="*/ 50447 w 50800"/>
                <a:gd name="connsiteY0" fmla="*/ 26457 h 25400"/>
                <a:gd name="connsiteX1" fmla="*/ 5361 w 50800"/>
                <a:gd name="connsiteY1" fmla="*/ 16297 h 25400"/>
                <a:gd name="connsiteX2" fmla="*/ 40922 w 50800"/>
                <a:gd name="connsiteY2" fmla="*/ 6137 h 25400"/>
                <a:gd name="connsiteX3" fmla="*/ 50447 w 50800"/>
                <a:gd name="connsiteY3" fmla="*/ 26457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25400">
                  <a:moveTo>
                    <a:pt x="50447" y="26457"/>
                  </a:moveTo>
                  <a:cubicBezTo>
                    <a:pt x="35207" y="23282"/>
                    <a:pt x="11711" y="30267"/>
                    <a:pt x="5361" y="16297"/>
                  </a:cubicBezTo>
                  <a:cubicBezTo>
                    <a:pt x="282" y="4867"/>
                    <a:pt x="28857" y="2962"/>
                    <a:pt x="40922" y="6137"/>
                  </a:cubicBezTo>
                  <a:cubicBezTo>
                    <a:pt x="48541" y="8042"/>
                    <a:pt x="50447" y="26457"/>
                    <a:pt x="50447" y="264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E909E6D-F786-4E32-A6D1-FA2A2937EB08}"/>
                </a:ext>
              </a:extLst>
            </p:cNvPr>
            <p:cNvSpPr/>
            <p:nvPr/>
          </p:nvSpPr>
          <p:spPr>
            <a:xfrm>
              <a:off x="8338169" y="1057210"/>
              <a:ext cx="44450" cy="31750"/>
            </a:xfrm>
            <a:custGeom>
              <a:avLst/>
              <a:gdLst>
                <a:gd name="connsiteX0" fmla="*/ 44465 w 44450"/>
                <a:gd name="connsiteY0" fmla="*/ 17210 h 31750"/>
                <a:gd name="connsiteX1" fmla="*/ 22875 w 44450"/>
                <a:gd name="connsiteY1" fmla="*/ 31815 h 31750"/>
                <a:gd name="connsiteX2" fmla="*/ 6365 w 44450"/>
                <a:gd name="connsiteY2" fmla="*/ 8955 h 31750"/>
                <a:gd name="connsiteX3" fmla="*/ 43831 w 44450"/>
                <a:gd name="connsiteY3" fmla="*/ 10225 h 31750"/>
                <a:gd name="connsiteX4" fmla="*/ 44465 w 44450"/>
                <a:gd name="connsiteY4" fmla="*/ 1721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465" y="17210"/>
                  </a:moveTo>
                  <a:cubicBezTo>
                    <a:pt x="37481" y="22290"/>
                    <a:pt x="31131" y="33720"/>
                    <a:pt x="22875" y="31815"/>
                  </a:cubicBezTo>
                  <a:cubicBezTo>
                    <a:pt x="13986" y="29910"/>
                    <a:pt x="15" y="15305"/>
                    <a:pt x="6365" y="8955"/>
                  </a:cubicBezTo>
                  <a:cubicBezTo>
                    <a:pt x="15256" y="65"/>
                    <a:pt x="31765" y="7685"/>
                    <a:pt x="43831" y="10225"/>
                  </a:cubicBezTo>
                  <a:cubicBezTo>
                    <a:pt x="45736" y="10860"/>
                    <a:pt x="43831" y="14670"/>
                    <a:pt x="44465" y="172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804C250-6AA2-4CD4-8574-A44C33A92A02}"/>
                </a:ext>
              </a:extLst>
            </p:cNvPr>
            <p:cNvSpPr/>
            <p:nvPr/>
          </p:nvSpPr>
          <p:spPr>
            <a:xfrm>
              <a:off x="8227083" y="1086204"/>
              <a:ext cx="146050" cy="120650"/>
            </a:xfrm>
            <a:custGeom>
              <a:avLst/>
              <a:gdLst>
                <a:gd name="connsiteX0" fmla="*/ 118087 w 146050"/>
                <a:gd name="connsiteY0" fmla="*/ 32031 h 120650"/>
                <a:gd name="connsiteX1" fmla="*/ 88242 w 146050"/>
                <a:gd name="connsiteY1" fmla="*/ 50446 h 120650"/>
                <a:gd name="connsiteX2" fmla="*/ 43792 w 146050"/>
                <a:gd name="connsiteY2" fmla="*/ 59336 h 120650"/>
                <a:gd name="connsiteX3" fmla="*/ 32997 w 146050"/>
                <a:gd name="connsiteY3" fmla="*/ 110136 h 120650"/>
                <a:gd name="connsiteX4" fmla="*/ 13947 w 146050"/>
                <a:gd name="connsiteY4" fmla="*/ 119661 h 120650"/>
                <a:gd name="connsiteX5" fmla="*/ 106657 w 146050"/>
                <a:gd name="connsiteY5" fmla="*/ 28221 h 120650"/>
                <a:gd name="connsiteX6" fmla="*/ 142852 w 146050"/>
                <a:gd name="connsiteY6" fmla="*/ 5361 h 120650"/>
                <a:gd name="connsiteX7" fmla="*/ 118087 w 146050"/>
                <a:gd name="connsiteY7" fmla="*/ 32031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50" h="120650">
                  <a:moveTo>
                    <a:pt x="118087" y="32031"/>
                  </a:moveTo>
                  <a:cubicBezTo>
                    <a:pt x="107927" y="38381"/>
                    <a:pt x="99037" y="46001"/>
                    <a:pt x="88242" y="50446"/>
                  </a:cubicBezTo>
                  <a:cubicBezTo>
                    <a:pt x="74272" y="55526"/>
                    <a:pt x="53952" y="48541"/>
                    <a:pt x="43792" y="59336"/>
                  </a:cubicBezTo>
                  <a:cubicBezTo>
                    <a:pt x="31727" y="72036"/>
                    <a:pt x="40617" y="94261"/>
                    <a:pt x="32997" y="110136"/>
                  </a:cubicBezTo>
                  <a:cubicBezTo>
                    <a:pt x="29822" y="116486"/>
                    <a:pt x="15852" y="126011"/>
                    <a:pt x="13947" y="119661"/>
                  </a:cubicBezTo>
                  <a:cubicBezTo>
                    <a:pt x="-20343" y="16156"/>
                    <a:pt x="48237" y="54891"/>
                    <a:pt x="106657" y="28221"/>
                  </a:cubicBezTo>
                  <a:cubicBezTo>
                    <a:pt x="119992" y="22506"/>
                    <a:pt x="129517" y="916"/>
                    <a:pt x="142852" y="5361"/>
                  </a:cubicBezTo>
                  <a:cubicBezTo>
                    <a:pt x="154917" y="9171"/>
                    <a:pt x="118087" y="32031"/>
                    <a:pt x="118087" y="320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149B846-19BE-4AE6-A294-6F7540C19169}"/>
                </a:ext>
              </a:extLst>
            </p:cNvPr>
            <p:cNvSpPr/>
            <p:nvPr/>
          </p:nvSpPr>
          <p:spPr>
            <a:xfrm>
              <a:off x="8360897" y="987096"/>
              <a:ext cx="88900" cy="50800"/>
            </a:xfrm>
            <a:custGeom>
              <a:avLst/>
              <a:gdLst>
                <a:gd name="connsiteX0" fmla="*/ 80158 w 88900"/>
                <a:gd name="connsiteY0" fmla="*/ 29539 h 50800"/>
                <a:gd name="connsiteX1" fmla="*/ 5862 w 88900"/>
                <a:gd name="connsiteY1" fmla="*/ 31444 h 50800"/>
                <a:gd name="connsiteX2" fmla="*/ 30628 w 88900"/>
                <a:gd name="connsiteY2" fmla="*/ 36524 h 50800"/>
                <a:gd name="connsiteX3" fmla="*/ 87778 w 88900"/>
                <a:gd name="connsiteY3" fmla="*/ 4774 h 50800"/>
                <a:gd name="connsiteX4" fmla="*/ 80158 w 88900"/>
                <a:gd name="connsiteY4" fmla="*/ 29539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00" h="50800">
                  <a:moveTo>
                    <a:pt x="80158" y="29539"/>
                  </a:moveTo>
                  <a:cubicBezTo>
                    <a:pt x="46503" y="47319"/>
                    <a:pt x="42058" y="61289"/>
                    <a:pt x="5862" y="31444"/>
                  </a:cubicBezTo>
                  <a:cubicBezTo>
                    <a:pt x="-488" y="26364"/>
                    <a:pt x="22372" y="39064"/>
                    <a:pt x="30628" y="36524"/>
                  </a:cubicBezTo>
                  <a:cubicBezTo>
                    <a:pt x="50947" y="29539"/>
                    <a:pt x="66187" y="7949"/>
                    <a:pt x="87778" y="4774"/>
                  </a:cubicBezTo>
                  <a:cubicBezTo>
                    <a:pt x="96033" y="4139"/>
                    <a:pt x="80158" y="29539"/>
                    <a:pt x="80158" y="295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8889CBB3-7C4A-4368-BE71-727FB9DA6FED}"/>
                </a:ext>
              </a:extLst>
            </p:cNvPr>
            <p:cNvSpPr/>
            <p:nvPr/>
          </p:nvSpPr>
          <p:spPr>
            <a:xfrm>
              <a:off x="9621810" y="959271"/>
              <a:ext cx="88900" cy="44450"/>
            </a:xfrm>
            <a:custGeom>
              <a:avLst/>
              <a:gdLst>
                <a:gd name="connsiteX0" fmla="*/ 84165 w 88900"/>
                <a:gd name="connsiteY0" fmla="*/ 31964 h 44450"/>
                <a:gd name="connsiteX1" fmla="*/ 61940 w 88900"/>
                <a:gd name="connsiteY1" fmla="*/ 44029 h 44450"/>
                <a:gd name="connsiteX2" fmla="*/ 4790 w 88900"/>
                <a:gd name="connsiteY2" fmla="*/ 9739 h 44450"/>
                <a:gd name="connsiteX3" fmla="*/ 42890 w 88900"/>
                <a:gd name="connsiteY3" fmla="*/ 15454 h 44450"/>
                <a:gd name="connsiteX4" fmla="*/ 84165 w 88900"/>
                <a:gd name="connsiteY4" fmla="*/ 31964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00" h="44450">
                  <a:moveTo>
                    <a:pt x="84165" y="31964"/>
                  </a:moveTo>
                  <a:cubicBezTo>
                    <a:pt x="76546" y="35774"/>
                    <a:pt x="70196" y="42759"/>
                    <a:pt x="61940" y="44029"/>
                  </a:cubicBezTo>
                  <a:cubicBezTo>
                    <a:pt x="46065" y="45934"/>
                    <a:pt x="3521" y="19899"/>
                    <a:pt x="4790" y="9739"/>
                  </a:cubicBezTo>
                  <a:cubicBezTo>
                    <a:pt x="6060" y="-2961"/>
                    <a:pt x="30190" y="12279"/>
                    <a:pt x="42890" y="15454"/>
                  </a:cubicBezTo>
                  <a:cubicBezTo>
                    <a:pt x="56860" y="19899"/>
                    <a:pt x="84165" y="31964"/>
                    <a:pt x="84165" y="319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026215D-FAE8-413C-B4C5-8969F1669BA6}"/>
                </a:ext>
              </a:extLst>
            </p:cNvPr>
            <p:cNvSpPr/>
            <p:nvPr/>
          </p:nvSpPr>
          <p:spPr>
            <a:xfrm>
              <a:off x="9684073" y="1378775"/>
              <a:ext cx="82550" cy="177800"/>
            </a:xfrm>
            <a:custGeom>
              <a:avLst/>
              <a:gdLst>
                <a:gd name="connsiteX0" fmla="*/ 39046 w 82550"/>
                <a:gd name="connsiteY0" fmla="*/ 113475 h 177800"/>
                <a:gd name="connsiteX1" fmla="*/ 19361 w 82550"/>
                <a:gd name="connsiteY1" fmla="*/ 88710 h 177800"/>
                <a:gd name="connsiteX2" fmla="*/ 6661 w 82550"/>
                <a:gd name="connsiteY2" fmla="*/ 76010 h 177800"/>
                <a:gd name="connsiteX3" fmla="*/ 62542 w 82550"/>
                <a:gd name="connsiteY3" fmla="*/ 4890 h 177800"/>
                <a:gd name="connsiteX4" fmla="*/ 61271 w 82550"/>
                <a:gd name="connsiteY4" fmla="*/ 6795 h 177800"/>
                <a:gd name="connsiteX5" fmla="*/ 53652 w 82550"/>
                <a:gd name="connsiteY5" fmla="*/ 62040 h 177800"/>
                <a:gd name="connsiteX6" fmla="*/ 52382 w 82550"/>
                <a:gd name="connsiteY6" fmla="*/ 69660 h 177800"/>
                <a:gd name="connsiteX7" fmla="*/ 72067 w 82550"/>
                <a:gd name="connsiteY7" fmla="*/ 101410 h 177800"/>
                <a:gd name="connsiteX8" fmla="*/ 56827 w 82550"/>
                <a:gd name="connsiteY8" fmla="*/ 110300 h 177800"/>
                <a:gd name="connsiteX9" fmla="*/ 82227 w 82550"/>
                <a:gd name="connsiteY9" fmla="*/ 128715 h 177800"/>
                <a:gd name="connsiteX10" fmla="*/ 62542 w 82550"/>
                <a:gd name="connsiteY10" fmla="*/ 173800 h 177800"/>
                <a:gd name="connsiteX11" fmla="*/ 39046 w 82550"/>
                <a:gd name="connsiteY11" fmla="*/ 113475 h 17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550" h="177800">
                  <a:moveTo>
                    <a:pt x="39046" y="113475"/>
                  </a:moveTo>
                  <a:cubicBezTo>
                    <a:pt x="32696" y="105220"/>
                    <a:pt x="26346" y="96965"/>
                    <a:pt x="19361" y="88710"/>
                  </a:cubicBezTo>
                  <a:cubicBezTo>
                    <a:pt x="15552" y="84265"/>
                    <a:pt x="7932" y="81725"/>
                    <a:pt x="6661" y="76010"/>
                  </a:cubicBezTo>
                  <a:cubicBezTo>
                    <a:pt x="-4133" y="34100"/>
                    <a:pt x="33332" y="22670"/>
                    <a:pt x="62542" y="4890"/>
                  </a:cubicBezTo>
                  <a:cubicBezTo>
                    <a:pt x="63177" y="4255"/>
                    <a:pt x="61271" y="6160"/>
                    <a:pt x="61271" y="6795"/>
                  </a:cubicBezTo>
                  <a:cubicBezTo>
                    <a:pt x="58096" y="25210"/>
                    <a:pt x="56192" y="43625"/>
                    <a:pt x="53652" y="62040"/>
                  </a:cubicBezTo>
                  <a:cubicBezTo>
                    <a:pt x="53017" y="64580"/>
                    <a:pt x="51111" y="67120"/>
                    <a:pt x="52382" y="69660"/>
                  </a:cubicBezTo>
                  <a:cubicBezTo>
                    <a:pt x="57461" y="79820"/>
                    <a:pt x="75877" y="95695"/>
                    <a:pt x="72067" y="101410"/>
                  </a:cubicBezTo>
                  <a:cubicBezTo>
                    <a:pt x="68892" y="106490"/>
                    <a:pt x="54921" y="105220"/>
                    <a:pt x="56827" y="110300"/>
                  </a:cubicBezTo>
                  <a:cubicBezTo>
                    <a:pt x="60636" y="119825"/>
                    <a:pt x="81592" y="118555"/>
                    <a:pt x="82227" y="128715"/>
                  </a:cubicBezTo>
                  <a:cubicBezTo>
                    <a:pt x="83496" y="145225"/>
                    <a:pt x="77782" y="179515"/>
                    <a:pt x="62542" y="173800"/>
                  </a:cubicBezTo>
                  <a:cubicBezTo>
                    <a:pt x="41586" y="166815"/>
                    <a:pt x="39046" y="113475"/>
                    <a:pt x="39046" y="113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3AFF4CCE-81B1-4DC6-BDDF-ADFD1F6B7FC7}"/>
                </a:ext>
              </a:extLst>
            </p:cNvPr>
            <p:cNvSpPr/>
            <p:nvPr/>
          </p:nvSpPr>
          <p:spPr>
            <a:xfrm>
              <a:off x="8259128" y="1046163"/>
              <a:ext cx="25400" cy="19050"/>
            </a:xfrm>
            <a:custGeom>
              <a:avLst/>
              <a:gdLst>
                <a:gd name="connsiteX0" fmla="*/ 4763 w 25400"/>
                <a:gd name="connsiteY0" fmla="*/ 19368 h 19050"/>
                <a:gd name="connsiteX1" fmla="*/ 23178 w 25400"/>
                <a:gd name="connsiteY1" fmla="*/ 4763 h 19050"/>
                <a:gd name="connsiteX2" fmla="*/ 4763 w 25400"/>
                <a:gd name="connsiteY2" fmla="*/ 19368 h 19050"/>
                <a:gd name="connsiteX3" fmla="*/ 4763 w 25400"/>
                <a:gd name="connsiteY3" fmla="*/ 1936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9050">
                  <a:moveTo>
                    <a:pt x="4763" y="19368"/>
                  </a:moveTo>
                  <a:cubicBezTo>
                    <a:pt x="10478" y="14288"/>
                    <a:pt x="23178" y="4763"/>
                    <a:pt x="23178" y="4763"/>
                  </a:cubicBezTo>
                  <a:cubicBezTo>
                    <a:pt x="23178" y="4763"/>
                    <a:pt x="10478" y="14923"/>
                    <a:pt x="4763" y="19368"/>
                  </a:cubicBezTo>
                  <a:lnTo>
                    <a:pt x="4763" y="193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BD2F4EB-271D-492C-B923-223B867A57E4}"/>
                </a:ext>
              </a:extLst>
            </p:cNvPr>
            <p:cNvSpPr/>
            <p:nvPr/>
          </p:nvSpPr>
          <p:spPr>
            <a:xfrm>
              <a:off x="8139281" y="1113721"/>
              <a:ext cx="88900" cy="38100"/>
            </a:xfrm>
            <a:custGeom>
              <a:avLst/>
              <a:gdLst>
                <a:gd name="connsiteX0" fmla="*/ 85874 w 88900"/>
                <a:gd name="connsiteY0" fmla="*/ 6419 h 38100"/>
                <a:gd name="connsiteX1" fmla="*/ 7769 w 88900"/>
                <a:gd name="connsiteY1" fmla="*/ 38169 h 38100"/>
                <a:gd name="connsiteX2" fmla="*/ 30629 w 88900"/>
                <a:gd name="connsiteY2" fmla="*/ 13404 h 38100"/>
                <a:gd name="connsiteX3" fmla="*/ 85874 w 88900"/>
                <a:gd name="connsiteY3" fmla="*/ 641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00" h="38100">
                  <a:moveTo>
                    <a:pt x="85874" y="6419"/>
                  </a:moveTo>
                  <a:cubicBezTo>
                    <a:pt x="59838" y="17214"/>
                    <a:pt x="35709" y="34359"/>
                    <a:pt x="7769" y="38169"/>
                  </a:cubicBezTo>
                  <a:cubicBezTo>
                    <a:pt x="-3662" y="39439"/>
                    <a:pt x="20469" y="18484"/>
                    <a:pt x="30629" y="13404"/>
                  </a:cubicBezTo>
                  <a:cubicBezTo>
                    <a:pt x="52219" y="1974"/>
                    <a:pt x="66188" y="4514"/>
                    <a:pt x="85874" y="64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CC2E525-15F7-4C20-9E93-9E7589E9D2EA}"/>
                </a:ext>
              </a:extLst>
            </p:cNvPr>
            <p:cNvSpPr/>
            <p:nvPr/>
          </p:nvSpPr>
          <p:spPr>
            <a:xfrm>
              <a:off x="9873385" y="1061293"/>
              <a:ext cx="57150" cy="31750"/>
            </a:xfrm>
            <a:custGeom>
              <a:avLst/>
              <a:gdLst>
                <a:gd name="connsiteX0" fmla="*/ 58650 w 57150"/>
                <a:gd name="connsiteY0" fmla="*/ 32812 h 31750"/>
                <a:gd name="connsiteX1" fmla="*/ 5945 w 57150"/>
                <a:gd name="connsiteY1" fmla="*/ 15667 h 31750"/>
                <a:gd name="connsiteX2" fmla="*/ 10390 w 57150"/>
                <a:gd name="connsiteY2" fmla="*/ 4872 h 31750"/>
                <a:gd name="connsiteX3" fmla="*/ 58650 w 57150"/>
                <a:gd name="connsiteY3" fmla="*/ 3281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31750">
                  <a:moveTo>
                    <a:pt x="58650" y="32812"/>
                  </a:moveTo>
                  <a:cubicBezTo>
                    <a:pt x="40870" y="27097"/>
                    <a:pt x="21820" y="24557"/>
                    <a:pt x="5945" y="15667"/>
                  </a:cubicBezTo>
                  <a:cubicBezTo>
                    <a:pt x="2770" y="13762"/>
                    <a:pt x="6580" y="3602"/>
                    <a:pt x="10390" y="4872"/>
                  </a:cubicBezTo>
                  <a:cubicBezTo>
                    <a:pt x="28170" y="11222"/>
                    <a:pt x="58650" y="32812"/>
                    <a:pt x="58650" y="328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5AE5F60-8602-4BDD-8644-AEEB7758C269}"/>
                </a:ext>
              </a:extLst>
            </p:cNvPr>
            <p:cNvSpPr/>
            <p:nvPr/>
          </p:nvSpPr>
          <p:spPr>
            <a:xfrm>
              <a:off x="8342917" y="954103"/>
              <a:ext cx="120650" cy="50800"/>
            </a:xfrm>
            <a:custGeom>
              <a:avLst/>
              <a:gdLst>
                <a:gd name="connsiteX0" fmla="*/ 79723 w 120650"/>
                <a:gd name="connsiteY0" fmla="*/ 28877 h 50800"/>
                <a:gd name="connsiteX1" fmla="*/ 13683 w 120650"/>
                <a:gd name="connsiteY1" fmla="*/ 51102 h 50800"/>
                <a:gd name="connsiteX2" fmla="*/ 11142 w 120650"/>
                <a:gd name="connsiteY2" fmla="*/ 16812 h 50800"/>
                <a:gd name="connsiteX3" fmla="*/ 117188 w 120650"/>
                <a:gd name="connsiteY3" fmla="*/ 20622 h 50800"/>
                <a:gd name="connsiteX4" fmla="*/ 79723 w 120650"/>
                <a:gd name="connsiteY4" fmla="*/ 28877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650" h="50800">
                  <a:moveTo>
                    <a:pt x="79723" y="28877"/>
                  </a:moveTo>
                  <a:cubicBezTo>
                    <a:pt x="58133" y="36497"/>
                    <a:pt x="36542" y="55547"/>
                    <a:pt x="13683" y="51102"/>
                  </a:cubicBezTo>
                  <a:cubicBezTo>
                    <a:pt x="2252" y="49197"/>
                    <a:pt x="2252" y="24432"/>
                    <a:pt x="11142" y="16812"/>
                  </a:cubicBezTo>
                  <a:cubicBezTo>
                    <a:pt x="23842" y="6017"/>
                    <a:pt x="104488" y="-5413"/>
                    <a:pt x="117188" y="20622"/>
                  </a:cubicBezTo>
                  <a:cubicBezTo>
                    <a:pt x="123538" y="32687"/>
                    <a:pt x="79723" y="28877"/>
                    <a:pt x="79723" y="288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E05EFDB-B50E-488C-9D65-02C4E3B91494}"/>
                </a:ext>
              </a:extLst>
            </p:cNvPr>
            <p:cNvSpPr/>
            <p:nvPr/>
          </p:nvSpPr>
          <p:spPr>
            <a:xfrm>
              <a:off x="8167677" y="1076180"/>
              <a:ext cx="82550" cy="31750"/>
            </a:xfrm>
            <a:custGeom>
              <a:avLst/>
              <a:gdLst>
                <a:gd name="connsiteX0" fmla="*/ 83513 w 82550"/>
                <a:gd name="connsiteY0" fmla="*/ 14115 h 31750"/>
                <a:gd name="connsiteX1" fmla="*/ 28903 w 82550"/>
                <a:gd name="connsiteY1" fmla="*/ 29990 h 31750"/>
                <a:gd name="connsiteX2" fmla="*/ 5408 w 82550"/>
                <a:gd name="connsiteY2" fmla="*/ 22370 h 31750"/>
                <a:gd name="connsiteX3" fmla="*/ 83513 w 82550"/>
                <a:gd name="connsiteY3" fmla="*/ 14115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550" h="31750">
                  <a:moveTo>
                    <a:pt x="83513" y="14115"/>
                  </a:moveTo>
                  <a:cubicBezTo>
                    <a:pt x="65098" y="19830"/>
                    <a:pt x="47953" y="28085"/>
                    <a:pt x="28903" y="29990"/>
                  </a:cubicBezTo>
                  <a:cubicBezTo>
                    <a:pt x="20648" y="30625"/>
                    <a:pt x="963" y="29355"/>
                    <a:pt x="5408" y="22370"/>
                  </a:cubicBezTo>
                  <a:cubicBezTo>
                    <a:pt x="25728" y="-7475"/>
                    <a:pt x="60017" y="8400"/>
                    <a:pt x="83513" y="141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CB072C8-30B8-4E17-9302-C854E46A750A}"/>
                </a:ext>
              </a:extLst>
            </p:cNvPr>
            <p:cNvSpPr/>
            <p:nvPr/>
          </p:nvSpPr>
          <p:spPr>
            <a:xfrm>
              <a:off x="9739334" y="1541414"/>
              <a:ext cx="171450" cy="101600"/>
            </a:xfrm>
            <a:custGeom>
              <a:avLst/>
              <a:gdLst>
                <a:gd name="connsiteX0" fmla="*/ 36491 w 171450"/>
                <a:gd name="connsiteY0" fmla="*/ 84821 h 101600"/>
                <a:gd name="connsiteX1" fmla="*/ 44746 w 171450"/>
                <a:gd name="connsiteY1" fmla="*/ 4811 h 101600"/>
                <a:gd name="connsiteX2" fmla="*/ 40301 w 171450"/>
                <a:gd name="connsiteY2" fmla="*/ 12431 h 101600"/>
                <a:gd name="connsiteX3" fmla="*/ 81576 w 171450"/>
                <a:gd name="connsiteY3" fmla="*/ 56881 h 101600"/>
                <a:gd name="connsiteX4" fmla="*/ 124756 w 171450"/>
                <a:gd name="connsiteY4" fmla="*/ 76566 h 101600"/>
                <a:gd name="connsiteX5" fmla="*/ 162856 w 171450"/>
                <a:gd name="connsiteY5" fmla="*/ 84186 h 101600"/>
                <a:gd name="connsiteX6" fmla="*/ 133010 w 171450"/>
                <a:gd name="connsiteY6" fmla="*/ 98791 h 101600"/>
                <a:gd name="connsiteX7" fmla="*/ 36491 w 171450"/>
                <a:gd name="connsiteY7" fmla="*/ 84821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450" h="101600">
                  <a:moveTo>
                    <a:pt x="36491" y="84821"/>
                  </a:moveTo>
                  <a:cubicBezTo>
                    <a:pt x="10456" y="25766"/>
                    <a:pt x="-23199" y="10526"/>
                    <a:pt x="44746" y="4811"/>
                  </a:cubicBezTo>
                  <a:cubicBezTo>
                    <a:pt x="47921" y="4176"/>
                    <a:pt x="39031" y="9891"/>
                    <a:pt x="40301" y="12431"/>
                  </a:cubicBezTo>
                  <a:cubicBezTo>
                    <a:pt x="46651" y="29576"/>
                    <a:pt x="65701" y="47991"/>
                    <a:pt x="81576" y="56881"/>
                  </a:cubicBezTo>
                  <a:cubicBezTo>
                    <a:pt x="94910" y="65136"/>
                    <a:pt x="109516" y="71486"/>
                    <a:pt x="124756" y="76566"/>
                  </a:cubicBezTo>
                  <a:cubicBezTo>
                    <a:pt x="136821" y="81011"/>
                    <a:pt x="152060" y="77201"/>
                    <a:pt x="162856" y="84186"/>
                  </a:cubicBezTo>
                  <a:cubicBezTo>
                    <a:pt x="186985" y="101331"/>
                    <a:pt x="139996" y="99426"/>
                    <a:pt x="133010" y="98791"/>
                  </a:cubicBezTo>
                  <a:cubicBezTo>
                    <a:pt x="100626" y="94981"/>
                    <a:pt x="36491" y="84821"/>
                    <a:pt x="36491" y="84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6292552-0D9A-4E66-9197-A24DB34A9DE8}"/>
                </a:ext>
              </a:extLst>
            </p:cNvPr>
            <p:cNvSpPr/>
            <p:nvPr/>
          </p:nvSpPr>
          <p:spPr>
            <a:xfrm>
              <a:off x="7627489" y="1190146"/>
              <a:ext cx="1225550" cy="787400"/>
            </a:xfrm>
            <a:custGeom>
              <a:avLst/>
              <a:gdLst>
                <a:gd name="connsiteX0" fmla="*/ 411611 w 1225550"/>
                <a:gd name="connsiteY0" fmla="*/ 612619 h 787400"/>
                <a:gd name="connsiteX1" fmla="*/ 399546 w 1225550"/>
                <a:gd name="connsiteY1" fmla="*/ 592299 h 787400"/>
                <a:gd name="connsiteX2" fmla="*/ 395101 w 1225550"/>
                <a:gd name="connsiteY2" fmla="*/ 582139 h 787400"/>
                <a:gd name="connsiteX3" fmla="*/ 353826 w 1225550"/>
                <a:gd name="connsiteY3" fmla="*/ 611349 h 787400"/>
                <a:gd name="connsiteX4" fmla="*/ 343031 w 1225550"/>
                <a:gd name="connsiteY4" fmla="*/ 596109 h 787400"/>
                <a:gd name="connsiteX5" fmla="*/ 334142 w 1225550"/>
                <a:gd name="connsiteY5" fmla="*/ 604999 h 787400"/>
                <a:gd name="connsiteX6" fmla="*/ 290961 w 1225550"/>
                <a:gd name="connsiteY6" fmla="*/ 604364 h 787400"/>
                <a:gd name="connsiteX7" fmla="*/ 267467 w 1225550"/>
                <a:gd name="connsiteY7" fmla="*/ 642464 h 787400"/>
                <a:gd name="connsiteX8" fmla="*/ 247146 w 1225550"/>
                <a:gd name="connsiteY8" fmla="*/ 633574 h 787400"/>
                <a:gd name="connsiteX9" fmla="*/ 236986 w 1225550"/>
                <a:gd name="connsiteY9" fmla="*/ 667229 h 787400"/>
                <a:gd name="connsiteX10" fmla="*/ 230636 w 1225550"/>
                <a:gd name="connsiteY10" fmla="*/ 650719 h 787400"/>
                <a:gd name="connsiteX11" fmla="*/ 155706 w 1225550"/>
                <a:gd name="connsiteY11" fmla="*/ 703424 h 787400"/>
                <a:gd name="connsiteX12" fmla="*/ 122686 w 1225550"/>
                <a:gd name="connsiteY12" fmla="*/ 726919 h 787400"/>
                <a:gd name="connsiteX13" fmla="*/ 118242 w 1225550"/>
                <a:gd name="connsiteY13" fmla="*/ 721204 h 787400"/>
                <a:gd name="connsiteX14" fmla="*/ 100461 w 1225550"/>
                <a:gd name="connsiteY14" fmla="*/ 744064 h 787400"/>
                <a:gd name="connsiteX15" fmla="*/ 93476 w 1225550"/>
                <a:gd name="connsiteY15" fmla="*/ 734539 h 787400"/>
                <a:gd name="connsiteX16" fmla="*/ 42042 w 1225550"/>
                <a:gd name="connsiteY16" fmla="*/ 787879 h 787400"/>
                <a:gd name="connsiteX17" fmla="*/ 13467 w 1225550"/>
                <a:gd name="connsiteY17" fmla="*/ 760574 h 787400"/>
                <a:gd name="connsiteX18" fmla="*/ 60456 w 1225550"/>
                <a:gd name="connsiteY18" fmla="*/ 716759 h 787400"/>
                <a:gd name="connsiteX19" fmla="*/ 36961 w 1225550"/>
                <a:gd name="connsiteY19" fmla="*/ 718029 h 787400"/>
                <a:gd name="connsiteX20" fmla="*/ 5211 w 1225550"/>
                <a:gd name="connsiteY20" fmla="*/ 695169 h 787400"/>
                <a:gd name="connsiteX21" fmla="*/ 19817 w 1225550"/>
                <a:gd name="connsiteY21" fmla="*/ 694534 h 787400"/>
                <a:gd name="connsiteX22" fmla="*/ 28706 w 1225550"/>
                <a:gd name="connsiteY22" fmla="*/ 672309 h 787400"/>
                <a:gd name="connsiteX23" fmla="*/ 21721 w 1225550"/>
                <a:gd name="connsiteY23" fmla="*/ 662149 h 787400"/>
                <a:gd name="connsiteX24" fmla="*/ 37596 w 1225550"/>
                <a:gd name="connsiteY24" fmla="*/ 658974 h 787400"/>
                <a:gd name="connsiteX25" fmla="*/ 31246 w 1225550"/>
                <a:gd name="connsiteY25" fmla="*/ 653894 h 787400"/>
                <a:gd name="connsiteX26" fmla="*/ 58551 w 1225550"/>
                <a:gd name="connsiteY26" fmla="*/ 632304 h 787400"/>
                <a:gd name="connsiteX27" fmla="*/ 58551 w 1225550"/>
                <a:gd name="connsiteY27" fmla="*/ 626589 h 787400"/>
                <a:gd name="connsiteX28" fmla="*/ 57917 w 1225550"/>
                <a:gd name="connsiteY28" fmla="*/ 606269 h 787400"/>
                <a:gd name="connsiteX29" fmla="*/ 120146 w 1225550"/>
                <a:gd name="connsiteY29" fmla="*/ 546579 h 787400"/>
                <a:gd name="connsiteX30" fmla="*/ 108717 w 1225550"/>
                <a:gd name="connsiteY30" fmla="*/ 545309 h 787400"/>
                <a:gd name="connsiteX31" fmla="*/ 146181 w 1225550"/>
                <a:gd name="connsiteY31" fmla="*/ 505939 h 787400"/>
                <a:gd name="connsiteX32" fmla="*/ 171581 w 1225550"/>
                <a:gd name="connsiteY32" fmla="*/ 480539 h 787400"/>
                <a:gd name="connsiteX33" fmla="*/ 209046 w 1225550"/>
                <a:gd name="connsiteY33" fmla="*/ 487524 h 787400"/>
                <a:gd name="connsiteX34" fmla="*/ 196346 w 1225550"/>
                <a:gd name="connsiteY34" fmla="*/ 448789 h 787400"/>
                <a:gd name="connsiteX35" fmla="*/ 214126 w 1225550"/>
                <a:gd name="connsiteY35" fmla="*/ 447519 h 787400"/>
                <a:gd name="connsiteX36" fmla="*/ 257306 w 1225550"/>
                <a:gd name="connsiteY36" fmla="*/ 442439 h 787400"/>
                <a:gd name="connsiteX37" fmla="*/ 275086 w 1225550"/>
                <a:gd name="connsiteY37" fmla="*/ 450059 h 787400"/>
                <a:gd name="connsiteX38" fmla="*/ 253496 w 1225550"/>
                <a:gd name="connsiteY38" fmla="*/ 441169 h 787400"/>
                <a:gd name="connsiteX39" fmla="*/ 202061 w 1225550"/>
                <a:gd name="connsiteY39" fmla="*/ 444979 h 787400"/>
                <a:gd name="connsiteX40" fmla="*/ 214126 w 1225550"/>
                <a:gd name="connsiteY40" fmla="*/ 442439 h 787400"/>
                <a:gd name="connsiteX41" fmla="*/ 245876 w 1225550"/>
                <a:gd name="connsiteY41" fmla="*/ 408784 h 787400"/>
                <a:gd name="connsiteX42" fmla="*/ 280801 w 1225550"/>
                <a:gd name="connsiteY42" fmla="*/ 440534 h 787400"/>
                <a:gd name="connsiteX43" fmla="*/ 254767 w 1225550"/>
                <a:gd name="connsiteY43" fmla="*/ 404974 h 787400"/>
                <a:gd name="connsiteX44" fmla="*/ 292231 w 1225550"/>
                <a:gd name="connsiteY44" fmla="*/ 401164 h 787400"/>
                <a:gd name="connsiteX45" fmla="*/ 301121 w 1225550"/>
                <a:gd name="connsiteY45" fmla="*/ 385924 h 787400"/>
                <a:gd name="connsiteX46" fmla="*/ 320806 w 1225550"/>
                <a:gd name="connsiteY46" fmla="*/ 417674 h 787400"/>
                <a:gd name="connsiteX47" fmla="*/ 313821 w 1225550"/>
                <a:gd name="connsiteY47" fmla="*/ 375129 h 787400"/>
                <a:gd name="connsiteX48" fmla="*/ 348111 w 1225550"/>
                <a:gd name="connsiteY48" fmla="*/ 389099 h 787400"/>
                <a:gd name="connsiteX49" fmla="*/ 423042 w 1225550"/>
                <a:gd name="connsiteY49" fmla="*/ 350364 h 787400"/>
                <a:gd name="connsiteX50" fmla="*/ 408436 w 1225550"/>
                <a:gd name="connsiteY50" fmla="*/ 331949 h 787400"/>
                <a:gd name="connsiteX51" fmla="*/ 445901 w 1225550"/>
                <a:gd name="connsiteY51" fmla="*/ 332584 h 787400"/>
                <a:gd name="connsiteX52" fmla="*/ 437646 w 1225550"/>
                <a:gd name="connsiteY52" fmla="*/ 330679 h 787400"/>
                <a:gd name="connsiteX53" fmla="*/ 459871 w 1225550"/>
                <a:gd name="connsiteY53" fmla="*/ 305914 h 787400"/>
                <a:gd name="connsiteX54" fmla="*/ 517021 w 1225550"/>
                <a:gd name="connsiteY54" fmla="*/ 255749 h 787400"/>
                <a:gd name="connsiteX55" fmla="*/ 468126 w 1225550"/>
                <a:gd name="connsiteY55" fmla="*/ 256384 h 787400"/>
                <a:gd name="connsiteX56" fmla="*/ 543056 w 1225550"/>
                <a:gd name="connsiteY56" fmla="*/ 229714 h 787400"/>
                <a:gd name="connsiteX57" fmla="*/ 541151 w 1225550"/>
                <a:gd name="connsiteY57" fmla="*/ 221459 h 787400"/>
                <a:gd name="connsiteX58" fmla="*/ 569726 w 1225550"/>
                <a:gd name="connsiteY58" fmla="*/ 203679 h 787400"/>
                <a:gd name="connsiteX59" fmla="*/ 602746 w 1225550"/>
                <a:gd name="connsiteY59" fmla="*/ 187804 h 787400"/>
                <a:gd name="connsiteX60" fmla="*/ 633861 w 1225550"/>
                <a:gd name="connsiteY60" fmla="*/ 156689 h 787400"/>
                <a:gd name="connsiteX61" fmla="*/ 677676 w 1225550"/>
                <a:gd name="connsiteY61" fmla="*/ 123669 h 787400"/>
                <a:gd name="connsiteX62" fmla="*/ 659261 w 1225550"/>
                <a:gd name="connsiteY62" fmla="*/ 72234 h 787400"/>
                <a:gd name="connsiteX63" fmla="*/ 675771 w 1225550"/>
                <a:gd name="connsiteY63" fmla="*/ 60169 h 787400"/>
                <a:gd name="connsiteX64" fmla="*/ 708792 w 1225550"/>
                <a:gd name="connsiteY64" fmla="*/ 39849 h 787400"/>
                <a:gd name="connsiteX65" fmla="*/ 741811 w 1225550"/>
                <a:gd name="connsiteY65" fmla="*/ 61439 h 787400"/>
                <a:gd name="connsiteX66" fmla="*/ 752606 w 1225550"/>
                <a:gd name="connsiteY66" fmla="*/ 54454 h 787400"/>
                <a:gd name="connsiteX67" fmla="*/ 733556 w 1225550"/>
                <a:gd name="connsiteY67" fmla="*/ 45564 h 787400"/>
                <a:gd name="connsiteX68" fmla="*/ 788801 w 1225550"/>
                <a:gd name="connsiteY68" fmla="*/ 11909 h 787400"/>
                <a:gd name="connsiteX69" fmla="*/ 857381 w 1225550"/>
                <a:gd name="connsiteY69" fmla="*/ 33499 h 787400"/>
                <a:gd name="connsiteX70" fmla="*/ 949456 w 1225550"/>
                <a:gd name="connsiteY70" fmla="*/ 13179 h 787400"/>
                <a:gd name="connsiteX71" fmla="*/ 978031 w 1225550"/>
                <a:gd name="connsiteY71" fmla="*/ 36674 h 787400"/>
                <a:gd name="connsiteX72" fmla="*/ 1013592 w 1225550"/>
                <a:gd name="connsiteY72" fmla="*/ 16354 h 787400"/>
                <a:gd name="connsiteX73" fmla="*/ 1044706 w 1225550"/>
                <a:gd name="connsiteY73" fmla="*/ 67154 h 787400"/>
                <a:gd name="connsiteX74" fmla="*/ 1089792 w 1225550"/>
                <a:gd name="connsiteY74" fmla="*/ 41754 h 787400"/>
                <a:gd name="connsiteX75" fmla="*/ 1119636 w 1225550"/>
                <a:gd name="connsiteY75" fmla="*/ 60804 h 787400"/>
                <a:gd name="connsiteX76" fmla="*/ 1206631 w 1225550"/>
                <a:gd name="connsiteY76" fmla="*/ 74774 h 787400"/>
                <a:gd name="connsiteX77" fmla="*/ 1195201 w 1225550"/>
                <a:gd name="connsiteY77" fmla="*/ 76044 h 787400"/>
                <a:gd name="connsiteX78" fmla="*/ 1161546 w 1225550"/>
                <a:gd name="connsiteY78" fmla="*/ 62709 h 787400"/>
                <a:gd name="connsiteX79" fmla="*/ 1134876 w 1225550"/>
                <a:gd name="connsiteY79" fmla="*/ 67789 h 787400"/>
                <a:gd name="connsiteX80" fmla="*/ 1205996 w 1225550"/>
                <a:gd name="connsiteY80" fmla="*/ 78584 h 787400"/>
                <a:gd name="connsiteX81" fmla="*/ 1209806 w 1225550"/>
                <a:gd name="connsiteY81" fmla="*/ 101444 h 787400"/>
                <a:gd name="connsiteX82" fmla="*/ 1176151 w 1225550"/>
                <a:gd name="connsiteY82" fmla="*/ 106524 h 787400"/>
                <a:gd name="connsiteX83" fmla="*/ 1132971 w 1225550"/>
                <a:gd name="connsiteY83" fmla="*/ 90649 h 787400"/>
                <a:gd name="connsiteX84" fmla="*/ 1105667 w 1225550"/>
                <a:gd name="connsiteY84" fmla="*/ 102079 h 787400"/>
                <a:gd name="connsiteX85" fmla="*/ 1141226 w 1225550"/>
                <a:gd name="connsiteY85" fmla="*/ 102714 h 787400"/>
                <a:gd name="connsiteX86" fmla="*/ 1118367 w 1225550"/>
                <a:gd name="connsiteY86" fmla="*/ 156054 h 787400"/>
                <a:gd name="connsiteX87" fmla="*/ 1131067 w 1225550"/>
                <a:gd name="connsiteY87" fmla="*/ 152244 h 787400"/>
                <a:gd name="connsiteX88" fmla="*/ 1146942 w 1225550"/>
                <a:gd name="connsiteY88" fmla="*/ 146529 h 787400"/>
                <a:gd name="connsiteX89" fmla="*/ 1221236 w 1225550"/>
                <a:gd name="connsiteY89" fmla="*/ 159229 h 787400"/>
                <a:gd name="connsiteX90" fmla="*/ 1193931 w 1225550"/>
                <a:gd name="connsiteY90" fmla="*/ 168754 h 787400"/>
                <a:gd name="connsiteX91" fmla="*/ 1127256 w 1225550"/>
                <a:gd name="connsiteY91" fmla="*/ 190344 h 787400"/>
                <a:gd name="connsiteX92" fmla="*/ 1146942 w 1225550"/>
                <a:gd name="connsiteY92" fmla="*/ 182089 h 787400"/>
                <a:gd name="connsiteX93" fmla="*/ 1042801 w 1225550"/>
                <a:gd name="connsiteY93" fmla="*/ 255114 h 787400"/>
                <a:gd name="connsiteX94" fmla="*/ 1063121 w 1225550"/>
                <a:gd name="connsiteY94" fmla="*/ 293214 h 787400"/>
                <a:gd name="connsiteX95" fmla="*/ 1052961 w 1225550"/>
                <a:gd name="connsiteY95" fmla="*/ 300199 h 787400"/>
                <a:gd name="connsiteX96" fmla="*/ 1009781 w 1225550"/>
                <a:gd name="connsiteY96" fmla="*/ 283054 h 787400"/>
                <a:gd name="connsiteX97" fmla="*/ 1007242 w 1225550"/>
                <a:gd name="connsiteY97" fmla="*/ 298294 h 787400"/>
                <a:gd name="connsiteX98" fmla="*/ 1000892 w 1225550"/>
                <a:gd name="connsiteY98" fmla="*/ 346554 h 787400"/>
                <a:gd name="connsiteX99" fmla="*/ 953901 w 1225550"/>
                <a:gd name="connsiteY99" fmla="*/ 343379 h 787400"/>
                <a:gd name="connsiteX100" fmla="*/ 977396 w 1225550"/>
                <a:gd name="connsiteY100" fmla="*/ 382749 h 787400"/>
                <a:gd name="connsiteX101" fmla="*/ 938661 w 1225550"/>
                <a:gd name="connsiteY101" fmla="*/ 366874 h 787400"/>
                <a:gd name="connsiteX102" fmla="*/ 923421 w 1225550"/>
                <a:gd name="connsiteY102" fmla="*/ 417039 h 787400"/>
                <a:gd name="connsiteX103" fmla="*/ 886592 w 1225550"/>
                <a:gd name="connsiteY103" fmla="*/ 387194 h 787400"/>
                <a:gd name="connsiteX104" fmla="*/ 870717 w 1225550"/>
                <a:gd name="connsiteY104" fmla="*/ 396084 h 787400"/>
                <a:gd name="connsiteX105" fmla="*/ 828171 w 1225550"/>
                <a:gd name="connsiteY105" fmla="*/ 384654 h 787400"/>
                <a:gd name="connsiteX106" fmla="*/ 814836 w 1225550"/>
                <a:gd name="connsiteY106" fmla="*/ 434184 h 787400"/>
                <a:gd name="connsiteX107" fmla="*/ 804676 w 1225550"/>
                <a:gd name="connsiteY107" fmla="*/ 444979 h 787400"/>
                <a:gd name="connsiteX108" fmla="*/ 829442 w 1225550"/>
                <a:gd name="connsiteY108" fmla="*/ 437994 h 787400"/>
                <a:gd name="connsiteX109" fmla="*/ 809756 w 1225550"/>
                <a:gd name="connsiteY109" fmla="*/ 532609 h 787400"/>
                <a:gd name="connsiteX110" fmla="*/ 795151 w 1225550"/>
                <a:gd name="connsiteY110" fmla="*/ 529434 h 787400"/>
                <a:gd name="connsiteX111" fmla="*/ 807851 w 1225550"/>
                <a:gd name="connsiteY111" fmla="*/ 511654 h 787400"/>
                <a:gd name="connsiteX112" fmla="*/ 791976 w 1225550"/>
                <a:gd name="connsiteY112" fmla="*/ 527529 h 787400"/>
                <a:gd name="connsiteX113" fmla="*/ 765942 w 1225550"/>
                <a:gd name="connsiteY113" fmla="*/ 459584 h 787400"/>
                <a:gd name="connsiteX114" fmla="*/ 762767 w 1225550"/>
                <a:gd name="connsiteY114" fmla="*/ 427199 h 787400"/>
                <a:gd name="connsiteX115" fmla="*/ 732921 w 1225550"/>
                <a:gd name="connsiteY115" fmla="*/ 479904 h 787400"/>
                <a:gd name="connsiteX116" fmla="*/ 731017 w 1225550"/>
                <a:gd name="connsiteY116" fmla="*/ 504669 h 787400"/>
                <a:gd name="connsiteX117" fmla="*/ 685296 w 1225550"/>
                <a:gd name="connsiteY117" fmla="*/ 506574 h 787400"/>
                <a:gd name="connsiteX118" fmla="*/ 782451 w 1225550"/>
                <a:gd name="connsiteY118" fmla="*/ 547849 h 787400"/>
                <a:gd name="connsiteX119" fmla="*/ 743717 w 1225550"/>
                <a:gd name="connsiteY119" fmla="*/ 559279 h 787400"/>
                <a:gd name="connsiteX120" fmla="*/ 734192 w 1225550"/>
                <a:gd name="connsiteY120" fmla="*/ 552929 h 787400"/>
                <a:gd name="connsiteX121" fmla="*/ 686567 w 1225550"/>
                <a:gd name="connsiteY121" fmla="*/ 575789 h 787400"/>
                <a:gd name="connsiteX122" fmla="*/ 567821 w 1225550"/>
                <a:gd name="connsiteY122" fmla="*/ 538959 h 787400"/>
                <a:gd name="connsiteX123" fmla="*/ 541786 w 1225550"/>
                <a:gd name="connsiteY123" fmla="*/ 572614 h 787400"/>
                <a:gd name="connsiteX124" fmla="*/ 518292 w 1225550"/>
                <a:gd name="connsiteY124" fmla="*/ 571344 h 787400"/>
                <a:gd name="connsiteX125" fmla="*/ 505592 w 1225550"/>
                <a:gd name="connsiteY125" fmla="*/ 582139 h 787400"/>
                <a:gd name="connsiteX126" fmla="*/ 499242 w 1225550"/>
                <a:gd name="connsiteY126" fmla="*/ 580869 h 787400"/>
                <a:gd name="connsiteX127" fmla="*/ 455426 w 1225550"/>
                <a:gd name="connsiteY127" fmla="*/ 607539 h 787400"/>
                <a:gd name="connsiteX128" fmla="*/ 411611 w 1225550"/>
                <a:gd name="connsiteY128" fmla="*/ 612619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1225550" h="787400">
                  <a:moveTo>
                    <a:pt x="411611" y="612619"/>
                  </a:moveTo>
                  <a:cubicBezTo>
                    <a:pt x="407801" y="605634"/>
                    <a:pt x="403356" y="599284"/>
                    <a:pt x="399546" y="592299"/>
                  </a:cubicBezTo>
                  <a:cubicBezTo>
                    <a:pt x="397642" y="589124"/>
                    <a:pt x="398276" y="580234"/>
                    <a:pt x="395101" y="582139"/>
                  </a:cubicBezTo>
                  <a:cubicBezTo>
                    <a:pt x="379226" y="588489"/>
                    <a:pt x="370336" y="606904"/>
                    <a:pt x="353826" y="611349"/>
                  </a:cubicBezTo>
                  <a:cubicBezTo>
                    <a:pt x="348111" y="613254"/>
                    <a:pt x="348746" y="598014"/>
                    <a:pt x="343031" y="596109"/>
                  </a:cubicBezTo>
                  <a:cubicBezTo>
                    <a:pt x="339221" y="594839"/>
                    <a:pt x="337951" y="604364"/>
                    <a:pt x="334142" y="604999"/>
                  </a:cubicBezTo>
                  <a:cubicBezTo>
                    <a:pt x="319536" y="606904"/>
                    <a:pt x="303661" y="597379"/>
                    <a:pt x="290961" y="604364"/>
                  </a:cubicBezTo>
                  <a:cubicBezTo>
                    <a:pt x="278261" y="611349"/>
                    <a:pt x="279531" y="634209"/>
                    <a:pt x="267467" y="642464"/>
                  </a:cubicBezTo>
                  <a:cubicBezTo>
                    <a:pt x="261117" y="646909"/>
                    <a:pt x="252861" y="629129"/>
                    <a:pt x="247146" y="633574"/>
                  </a:cubicBezTo>
                  <a:cubicBezTo>
                    <a:pt x="238256" y="641194"/>
                    <a:pt x="245242" y="658974"/>
                    <a:pt x="236986" y="667229"/>
                  </a:cubicBezTo>
                  <a:cubicBezTo>
                    <a:pt x="232542" y="671674"/>
                    <a:pt x="235717" y="648179"/>
                    <a:pt x="230636" y="650719"/>
                  </a:cubicBezTo>
                  <a:cubicBezTo>
                    <a:pt x="202696" y="662784"/>
                    <a:pt x="180471" y="685644"/>
                    <a:pt x="155706" y="703424"/>
                  </a:cubicBezTo>
                  <a:cubicBezTo>
                    <a:pt x="144911" y="711044"/>
                    <a:pt x="135386" y="721204"/>
                    <a:pt x="122686" y="726919"/>
                  </a:cubicBezTo>
                  <a:cubicBezTo>
                    <a:pt x="120781" y="728189"/>
                    <a:pt x="120146" y="719299"/>
                    <a:pt x="118242" y="721204"/>
                  </a:cubicBezTo>
                  <a:cubicBezTo>
                    <a:pt x="110621" y="726919"/>
                    <a:pt x="108717" y="738984"/>
                    <a:pt x="100461" y="744064"/>
                  </a:cubicBezTo>
                  <a:cubicBezTo>
                    <a:pt x="97286" y="745969"/>
                    <a:pt x="96651" y="732634"/>
                    <a:pt x="93476" y="734539"/>
                  </a:cubicBezTo>
                  <a:cubicBezTo>
                    <a:pt x="73792" y="749144"/>
                    <a:pt x="65536" y="778989"/>
                    <a:pt x="42042" y="787879"/>
                  </a:cubicBezTo>
                  <a:cubicBezTo>
                    <a:pt x="29976" y="792324"/>
                    <a:pt x="2671" y="767559"/>
                    <a:pt x="13467" y="760574"/>
                  </a:cubicBezTo>
                  <a:cubicBezTo>
                    <a:pt x="18546" y="757399"/>
                    <a:pt x="69981" y="740254"/>
                    <a:pt x="60456" y="716759"/>
                  </a:cubicBezTo>
                  <a:cubicBezTo>
                    <a:pt x="57281" y="709774"/>
                    <a:pt x="44581" y="721204"/>
                    <a:pt x="36961" y="718029"/>
                  </a:cubicBezTo>
                  <a:cubicBezTo>
                    <a:pt x="24896" y="713584"/>
                    <a:pt x="12831" y="705329"/>
                    <a:pt x="5211" y="695169"/>
                  </a:cubicBezTo>
                  <a:cubicBezTo>
                    <a:pt x="2036" y="691359"/>
                    <a:pt x="16642" y="698344"/>
                    <a:pt x="19817" y="694534"/>
                  </a:cubicBezTo>
                  <a:cubicBezTo>
                    <a:pt x="25531" y="688819"/>
                    <a:pt x="28071" y="680564"/>
                    <a:pt x="28706" y="672309"/>
                  </a:cubicBezTo>
                  <a:cubicBezTo>
                    <a:pt x="29342" y="668499"/>
                    <a:pt x="22356" y="665959"/>
                    <a:pt x="21721" y="662149"/>
                  </a:cubicBezTo>
                  <a:cubicBezTo>
                    <a:pt x="19181" y="645004"/>
                    <a:pt x="35056" y="658974"/>
                    <a:pt x="37596" y="658974"/>
                  </a:cubicBezTo>
                  <a:cubicBezTo>
                    <a:pt x="40136" y="658974"/>
                    <a:pt x="29976" y="655799"/>
                    <a:pt x="31246" y="653894"/>
                  </a:cubicBezTo>
                  <a:cubicBezTo>
                    <a:pt x="38231" y="645004"/>
                    <a:pt x="50296" y="640559"/>
                    <a:pt x="58551" y="632304"/>
                  </a:cubicBezTo>
                  <a:cubicBezTo>
                    <a:pt x="59821" y="631034"/>
                    <a:pt x="58551" y="628494"/>
                    <a:pt x="58551" y="626589"/>
                  </a:cubicBezTo>
                  <a:cubicBezTo>
                    <a:pt x="58551" y="619604"/>
                    <a:pt x="53471" y="611984"/>
                    <a:pt x="57917" y="606269"/>
                  </a:cubicBezTo>
                  <a:cubicBezTo>
                    <a:pt x="58551" y="604999"/>
                    <a:pt x="122051" y="556739"/>
                    <a:pt x="120146" y="546579"/>
                  </a:cubicBezTo>
                  <a:cubicBezTo>
                    <a:pt x="119511" y="542769"/>
                    <a:pt x="106811" y="548484"/>
                    <a:pt x="108717" y="545309"/>
                  </a:cubicBezTo>
                  <a:cubicBezTo>
                    <a:pt x="118876" y="530069"/>
                    <a:pt x="133481" y="518639"/>
                    <a:pt x="146181" y="505939"/>
                  </a:cubicBezTo>
                  <a:cubicBezTo>
                    <a:pt x="154436" y="497684"/>
                    <a:pt x="160151" y="483714"/>
                    <a:pt x="171581" y="480539"/>
                  </a:cubicBezTo>
                  <a:cubicBezTo>
                    <a:pt x="183646" y="476729"/>
                    <a:pt x="200792" y="497684"/>
                    <a:pt x="209046" y="487524"/>
                  </a:cubicBezTo>
                  <a:cubicBezTo>
                    <a:pt x="217301" y="476729"/>
                    <a:pt x="195076" y="462124"/>
                    <a:pt x="196346" y="448789"/>
                  </a:cubicBezTo>
                  <a:cubicBezTo>
                    <a:pt x="196981" y="443074"/>
                    <a:pt x="208411" y="448154"/>
                    <a:pt x="214126" y="447519"/>
                  </a:cubicBezTo>
                  <a:cubicBezTo>
                    <a:pt x="228731" y="446249"/>
                    <a:pt x="242701" y="441804"/>
                    <a:pt x="257306" y="442439"/>
                  </a:cubicBezTo>
                  <a:cubicBezTo>
                    <a:pt x="263656" y="442439"/>
                    <a:pt x="268736" y="451329"/>
                    <a:pt x="275086" y="450059"/>
                  </a:cubicBezTo>
                  <a:cubicBezTo>
                    <a:pt x="282706" y="448789"/>
                    <a:pt x="261117" y="440534"/>
                    <a:pt x="253496" y="441169"/>
                  </a:cubicBezTo>
                  <a:cubicBezTo>
                    <a:pt x="236351" y="442439"/>
                    <a:pt x="219206" y="444344"/>
                    <a:pt x="202061" y="444979"/>
                  </a:cubicBezTo>
                  <a:cubicBezTo>
                    <a:pt x="198251" y="444979"/>
                    <a:pt x="210951" y="444979"/>
                    <a:pt x="214126" y="442439"/>
                  </a:cubicBezTo>
                  <a:cubicBezTo>
                    <a:pt x="226192" y="432914"/>
                    <a:pt x="230636" y="409419"/>
                    <a:pt x="245876" y="408784"/>
                  </a:cubicBezTo>
                  <a:cubicBezTo>
                    <a:pt x="261751" y="408149"/>
                    <a:pt x="266831" y="446884"/>
                    <a:pt x="280801" y="440534"/>
                  </a:cubicBezTo>
                  <a:cubicBezTo>
                    <a:pt x="294136" y="434184"/>
                    <a:pt x="250956" y="418944"/>
                    <a:pt x="254767" y="404974"/>
                  </a:cubicBezTo>
                  <a:cubicBezTo>
                    <a:pt x="257942" y="392909"/>
                    <a:pt x="280801" y="406244"/>
                    <a:pt x="292231" y="401164"/>
                  </a:cubicBezTo>
                  <a:cubicBezTo>
                    <a:pt x="297311" y="398624"/>
                    <a:pt x="296042" y="382749"/>
                    <a:pt x="301121" y="385924"/>
                  </a:cubicBezTo>
                  <a:cubicBezTo>
                    <a:pt x="311917" y="392274"/>
                    <a:pt x="311281" y="425929"/>
                    <a:pt x="320806" y="417674"/>
                  </a:cubicBezTo>
                  <a:cubicBezTo>
                    <a:pt x="331601" y="408149"/>
                    <a:pt x="304296" y="385289"/>
                    <a:pt x="313821" y="375129"/>
                  </a:cubicBezTo>
                  <a:cubicBezTo>
                    <a:pt x="322711" y="366239"/>
                    <a:pt x="336046" y="391639"/>
                    <a:pt x="348111" y="389099"/>
                  </a:cubicBezTo>
                  <a:cubicBezTo>
                    <a:pt x="375417" y="382749"/>
                    <a:pt x="402721" y="370049"/>
                    <a:pt x="423042" y="350364"/>
                  </a:cubicBezTo>
                  <a:cubicBezTo>
                    <a:pt x="428756" y="344649"/>
                    <a:pt x="402086" y="336394"/>
                    <a:pt x="408436" y="331949"/>
                  </a:cubicBezTo>
                  <a:cubicBezTo>
                    <a:pt x="418596" y="324329"/>
                    <a:pt x="433201" y="333219"/>
                    <a:pt x="445901" y="332584"/>
                  </a:cubicBezTo>
                  <a:cubicBezTo>
                    <a:pt x="449076" y="332584"/>
                    <a:pt x="436376" y="333219"/>
                    <a:pt x="437646" y="330679"/>
                  </a:cubicBezTo>
                  <a:cubicBezTo>
                    <a:pt x="442726" y="321154"/>
                    <a:pt x="450981" y="312899"/>
                    <a:pt x="459871" y="305914"/>
                  </a:cubicBezTo>
                  <a:cubicBezTo>
                    <a:pt x="477017" y="292579"/>
                    <a:pt x="528451" y="298294"/>
                    <a:pt x="517021" y="255749"/>
                  </a:cubicBezTo>
                  <a:cubicBezTo>
                    <a:pt x="512576" y="239874"/>
                    <a:pt x="456696" y="267814"/>
                    <a:pt x="468126" y="256384"/>
                  </a:cubicBezTo>
                  <a:cubicBezTo>
                    <a:pt x="486542" y="237334"/>
                    <a:pt x="518926" y="241144"/>
                    <a:pt x="543056" y="229714"/>
                  </a:cubicBezTo>
                  <a:cubicBezTo>
                    <a:pt x="545596" y="228444"/>
                    <a:pt x="539246" y="223364"/>
                    <a:pt x="541151" y="221459"/>
                  </a:cubicBezTo>
                  <a:cubicBezTo>
                    <a:pt x="549406" y="213839"/>
                    <a:pt x="559567" y="209394"/>
                    <a:pt x="569726" y="203679"/>
                  </a:cubicBezTo>
                  <a:cubicBezTo>
                    <a:pt x="580521" y="197964"/>
                    <a:pt x="592586" y="194789"/>
                    <a:pt x="602746" y="187804"/>
                  </a:cubicBezTo>
                  <a:cubicBezTo>
                    <a:pt x="614176" y="178914"/>
                    <a:pt x="622431" y="165579"/>
                    <a:pt x="633861" y="156689"/>
                  </a:cubicBezTo>
                  <a:cubicBezTo>
                    <a:pt x="662436" y="133194"/>
                    <a:pt x="647196" y="169389"/>
                    <a:pt x="677676" y="123669"/>
                  </a:cubicBezTo>
                  <a:cubicBezTo>
                    <a:pt x="706886" y="79854"/>
                    <a:pt x="669421" y="110969"/>
                    <a:pt x="659261" y="72234"/>
                  </a:cubicBezTo>
                  <a:cubicBezTo>
                    <a:pt x="657356" y="65249"/>
                    <a:pt x="670056" y="63979"/>
                    <a:pt x="675771" y="60169"/>
                  </a:cubicBezTo>
                  <a:cubicBezTo>
                    <a:pt x="686567" y="53184"/>
                    <a:pt x="696092" y="39849"/>
                    <a:pt x="708792" y="39849"/>
                  </a:cubicBezTo>
                  <a:cubicBezTo>
                    <a:pt x="722126" y="39849"/>
                    <a:pt x="729111" y="57629"/>
                    <a:pt x="741811" y="61439"/>
                  </a:cubicBezTo>
                  <a:cubicBezTo>
                    <a:pt x="745621" y="62709"/>
                    <a:pt x="754511" y="58264"/>
                    <a:pt x="752606" y="54454"/>
                  </a:cubicBezTo>
                  <a:cubicBezTo>
                    <a:pt x="749431" y="48104"/>
                    <a:pt x="738636" y="50644"/>
                    <a:pt x="733556" y="45564"/>
                  </a:cubicBezTo>
                  <a:cubicBezTo>
                    <a:pt x="732921" y="44929"/>
                    <a:pt x="748161" y="13179"/>
                    <a:pt x="788801" y="11909"/>
                  </a:cubicBezTo>
                  <a:cubicBezTo>
                    <a:pt x="844681" y="10639"/>
                    <a:pt x="814201" y="50644"/>
                    <a:pt x="857381" y="33499"/>
                  </a:cubicBezTo>
                  <a:cubicBezTo>
                    <a:pt x="907546" y="13179"/>
                    <a:pt x="855476" y="-7141"/>
                    <a:pt x="949456" y="13179"/>
                  </a:cubicBezTo>
                  <a:cubicBezTo>
                    <a:pt x="961521" y="15719"/>
                    <a:pt x="965331" y="36039"/>
                    <a:pt x="978031" y="36674"/>
                  </a:cubicBezTo>
                  <a:cubicBezTo>
                    <a:pt x="991367" y="37309"/>
                    <a:pt x="1000892" y="10639"/>
                    <a:pt x="1013592" y="16354"/>
                  </a:cubicBezTo>
                  <a:cubicBezTo>
                    <a:pt x="1044706" y="30324"/>
                    <a:pt x="980571" y="77314"/>
                    <a:pt x="1044706" y="67154"/>
                  </a:cubicBezTo>
                  <a:cubicBezTo>
                    <a:pt x="1061851" y="64614"/>
                    <a:pt x="1072646" y="44294"/>
                    <a:pt x="1089792" y="41754"/>
                  </a:cubicBezTo>
                  <a:cubicBezTo>
                    <a:pt x="1101221" y="40484"/>
                    <a:pt x="1107571" y="62074"/>
                    <a:pt x="1119636" y="60804"/>
                  </a:cubicBezTo>
                  <a:cubicBezTo>
                    <a:pt x="1157736" y="56994"/>
                    <a:pt x="1185676" y="34769"/>
                    <a:pt x="1206631" y="74774"/>
                  </a:cubicBezTo>
                  <a:cubicBezTo>
                    <a:pt x="1208536" y="78584"/>
                    <a:pt x="1199011" y="77314"/>
                    <a:pt x="1195201" y="76044"/>
                  </a:cubicBezTo>
                  <a:cubicBezTo>
                    <a:pt x="1183136" y="72869"/>
                    <a:pt x="1173611" y="64614"/>
                    <a:pt x="1161546" y="62709"/>
                  </a:cubicBezTo>
                  <a:cubicBezTo>
                    <a:pt x="1152656" y="61439"/>
                    <a:pt x="1125986" y="64614"/>
                    <a:pt x="1134876" y="67789"/>
                  </a:cubicBezTo>
                  <a:cubicBezTo>
                    <a:pt x="1157101" y="76044"/>
                    <a:pt x="1183771" y="68424"/>
                    <a:pt x="1205996" y="78584"/>
                  </a:cubicBezTo>
                  <a:cubicBezTo>
                    <a:pt x="1212981" y="81759"/>
                    <a:pt x="1215521" y="96364"/>
                    <a:pt x="1209806" y="101444"/>
                  </a:cubicBezTo>
                  <a:cubicBezTo>
                    <a:pt x="1201551" y="109064"/>
                    <a:pt x="1187581" y="108429"/>
                    <a:pt x="1176151" y="106524"/>
                  </a:cubicBezTo>
                  <a:cubicBezTo>
                    <a:pt x="1160911" y="104619"/>
                    <a:pt x="1148211" y="91919"/>
                    <a:pt x="1132971" y="90649"/>
                  </a:cubicBezTo>
                  <a:cubicBezTo>
                    <a:pt x="1123446" y="90014"/>
                    <a:pt x="1099951" y="93824"/>
                    <a:pt x="1105667" y="102079"/>
                  </a:cubicBezTo>
                  <a:cubicBezTo>
                    <a:pt x="1112651" y="111604"/>
                    <a:pt x="1130431" y="97634"/>
                    <a:pt x="1141226" y="102714"/>
                  </a:cubicBezTo>
                  <a:cubicBezTo>
                    <a:pt x="1204726" y="134464"/>
                    <a:pt x="1141226" y="143354"/>
                    <a:pt x="1118367" y="156054"/>
                  </a:cubicBezTo>
                  <a:cubicBezTo>
                    <a:pt x="1114556" y="157959"/>
                    <a:pt x="1126621" y="153514"/>
                    <a:pt x="1131067" y="152244"/>
                  </a:cubicBezTo>
                  <a:cubicBezTo>
                    <a:pt x="1136781" y="150339"/>
                    <a:pt x="1141226" y="145894"/>
                    <a:pt x="1146942" y="146529"/>
                  </a:cubicBezTo>
                  <a:cubicBezTo>
                    <a:pt x="1171706" y="148434"/>
                    <a:pt x="1198376" y="148434"/>
                    <a:pt x="1221236" y="159229"/>
                  </a:cubicBezTo>
                  <a:cubicBezTo>
                    <a:pt x="1230126" y="163039"/>
                    <a:pt x="1202821" y="165579"/>
                    <a:pt x="1193931" y="168754"/>
                  </a:cubicBezTo>
                  <a:cubicBezTo>
                    <a:pt x="1171706" y="176374"/>
                    <a:pt x="1150117" y="183994"/>
                    <a:pt x="1127256" y="190344"/>
                  </a:cubicBezTo>
                  <a:cubicBezTo>
                    <a:pt x="1120271" y="192249"/>
                    <a:pt x="1152656" y="177644"/>
                    <a:pt x="1146942" y="182089"/>
                  </a:cubicBezTo>
                  <a:cubicBezTo>
                    <a:pt x="1143767" y="184629"/>
                    <a:pt x="1047246" y="243049"/>
                    <a:pt x="1042801" y="255114"/>
                  </a:cubicBezTo>
                  <a:cubicBezTo>
                    <a:pt x="1038356" y="268449"/>
                    <a:pt x="1059946" y="279244"/>
                    <a:pt x="1063121" y="293214"/>
                  </a:cubicBezTo>
                  <a:cubicBezTo>
                    <a:pt x="1063756" y="297024"/>
                    <a:pt x="1056771" y="300834"/>
                    <a:pt x="1052961" y="300199"/>
                  </a:cubicBezTo>
                  <a:cubicBezTo>
                    <a:pt x="1037721" y="297659"/>
                    <a:pt x="1025656" y="283689"/>
                    <a:pt x="1009781" y="283054"/>
                  </a:cubicBezTo>
                  <a:cubicBezTo>
                    <a:pt x="1004701" y="283054"/>
                    <a:pt x="1007876" y="293214"/>
                    <a:pt x="1007242" y="298294"/>
                  </a:cubicBezTo>
                  <a:cubicBezTo>
                    <a:pt x="1005336" y="314169"/>
                    <a:pt x="1013592" y="335759"/>
                    <a:pt x="1000892" y="346554"/>
                  </a:cubicBezTo>
                  <a:cubicBezTo>
                    <a:pt x="988826" y="356714"/>
                    <a:pt x="962156" y="330044"/>
                    <a:pt x="953901" y="343379"/>
                  </a:cubicBezTo>
                  <a:cubicBezTo>
                    <a:pt x="945646" y="356079"/>
                    <a:pt x="985651" y="370049"/>
                    <a:pt x="977396" y="382749"/>
                  </a:cubicBezTo>
                  <a:cubicBezTo>
                    <a:pt x="969776" y="394814"/>
                    <a:pt x="950092" y="359254"/>
                    <a:pt x="938661" y="366874"/>
                  </a:cubicBezTo>
                  <a:cubicBezTo>
                    <a:pt x="923421" y="376399"/>
                    <a:pt x="936121" y="404974"/>
                    <a:pt x="923421" y="417039"/>
                  </a:cubicBezTo>
                  <a:cubicBezTo>
                    <a:pt x="881511" y="459584"/>
                    <a:pt x="889131" y="390369"/>
                    <a:pt x="886592" y="387194"/>
                  </a:cubicBezTo>
                  <a:cubicBezTo>
                    <a:pt x="882781" y="382749"/>
                    <a:pt x="877067" y="396084"/>
                    <a:pt x="870717" y="396084"/>
                  </a:cubicBezTo>
                  <a:cubicBezTo>
                    <a:pt x="856111" y="395449"/>
                    <a:pt x="840236" y="376399"/>
                    <a:pt x="828171" y="384654"/>
                  </a:cubicBezTo>
                  <a:cubicBezTo>
                    <a:pt x="814201" y="394179"/>
                    <a:pt x="821186" y="418309"/>
                    <a:pt x="814836" y="434184"/>
                  </a:cubicBezTo>
                  <a:cubicBezTo>
                    <a:pt x="812931" y="438629"/>
                    <a:pt x="800231" y="443709"/>
                    <a:pt x="804676" y="444979"/>
                  </a:cubicBezTo>
                  <a:cubicBezTo>
                    <a:pt x="812931" y="447519"/>
                    <a:pt x="821821" y="433549"/>
                    <a:pt x="829442" y="437994"/>
                  </a:cubicBezTo>
                  <a:cubicBezTo>
                    <a:pt x="865636" y="461489"/>
                    <a:pt x="818011" y="521814"/>
                    <a:pt x="809756" y="532609"/>
                  </a:cubicBezTo>
                  <a:cubicBezTo>
                    <a:pt x="806581" y="536419"/>
                    <a:pt x="795786" y="534514"/>
                    <a:pt x="795151" y="529434"/>
                  </a:cubicBezTo>
                  <a:cubicBezTo>
                    <a:pt x="794517" y="522449"/>
                    <a:pt x="813567" y="515464"/>
                    <a:pt x="807851" y="511654"/>
                  </a:cubicBezTo>
                  <a:cubicBezTo>
                    <a:pt x="801501" y="507844"/>
                    <a:pt x="798961" y="524354"/>
                    <a:pt x="791976" y="527529"/>
                  </a:cubicBezTo>
                  <a:cubicBezTo>
                    <a:pt x="772292" y="536419"/>
                    <a:pt x="771656" y="492604"/>
                    <a:pt x="765942" y="459584"/>
                  </a:cubicBezTo>
                  <a:cubicBezTo>
                    <a:pt x="764036" y="448789"/>
                    <a:pt x="757686" y="417674"/>
                    <a:pt x="762767" y="427199"/>
                  </a:cubicBezTo>
                  <a:cubicBezTo>
                    <a:pt x="811026" y="515464"/>
                    <a:pt x="768481" y="459584"/>
                    <a:pt x="732921" y="479904"/>
                  </a:cubicBezTo>
                  <a:cubicBezTo>
                    <a:pt x="725936" y="483714"/>
                    <a:pt x="738001" y="500859"/>
                    <a:pt x="731017" y="504669"/>
                  </a:cubicBezTo>
                  <a:cubicBezTo>
                    <a:pt x="717681" y="512289"/>
                    <a:pt x="673867" y="497049"/>
                    <a:pt x="685296" y="506574"/>
                  </a:cubicBezTo>
                  <a:cubicBezTo>
                    <a:pt x="712601" y="529434"/>
                    <a:pt x="756417" y="524354"/>
                    <a:pt x="782451" y="547849"/>
                  </a:cubicBezTo>
                  <a:cubicBezTo>
                    <a:pt x="792611" y="556739"/>
                    <a:pt x="757051" y="557374"/>
                    <a:pt x="743717" y="559279"/>
                  </a:cubicBezTo>
                  <a:cubicBezTo>
                    <a:pt x="739906" y="559914"/>
                    <a:pt x="738001" y="551659"/>
                    <a:pt x="734192" y="552929"/>
                  </a:cubicBezTo>
                  <a:cubicBezTo>
                    <a:pt x="717046" y="558009"/>
                    <a:pt x="703076" y="570709"/>
                    <a:pt x="686567" y="575789"/>
                  </a:cubicBezTo>
                  <a:cubicBezTo>
                    <a:pt x="610367" y="599284"/>
                    <a:pt x="677042" y="545944"/>
                    <a:pt x="567821" y="538959"/>
                  </a:cubicBezTo>
                  <a:cubicBezTo>
                    <a:pt x="553851" y="537689"/>
                    <a:pt x="553851" y="564994"/>
                    <a:pt x="541786" y="572614"/>
                  </a:cubicBezTo>
                  <a:cubicBezTo>
                    <a:pt x="535436" y="577059"/>
                    <a:pt x="525911" y="569439"/>
                    <a:pt x="518292" y="571344"/>
                  </a:cubicBezTo>
                  <a:cubicBezTo>
                    <a:pt x="512576" y="572614"/>
                    <a:pt x="510671" y="579599"/>
                    <a:pt x="505592" y="582139"/>
                  </a:cubicBezTo>
                  <a:cubicBezTo>
                    <a:pt x="503686" y="582774"/>
                    <a:pt x="501146" y="580234"/>
                    <a:pt x="499242" y="580869"/>
                  </a:cubicBezTo>
                  <a:cubicBezTo>
                    <a:pt x="484001" y="588489"/>
                    <a:pt x="471301" y="601824"/>
                    <a:pt x="455426" y="607539"/>
                  </a:cubicBezTo>
                  <a:cubicBezTo>
                    <a:pt x="440186" y="612619"/>
                    <a:pt x="411611" y="612619"/>
                    <a:pt x="411611" y="6126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EF1CD0F-01BC-4DC1-A225-606A4538592E}"/>
                </a:ext>
              </a:extLst>
            </p:cNvPr>
            <p:cNvSpPr/>
            <p:nvPr/>
          </p:nvSpPr>
          <p:spPr>
            <a:xfrm>
              <a:off x="8071663" y="1468438"/>
              <a:ext cx="19050" cy="6350"/>
            </a:xfrm>
            <a:custGeom>
              <a:avLst/>
              <a:gdLst>
                <a:gd name="connsiteX0" fmla="*/ 19507 w 19050"/>
                <a:gd name="connsiteY0" fmla="*/ 6032 h 6350"/>
                <a:gd name="connsiteX1" fmla="*/ 20142 w 19050"/>
                <a:gd name="connsiteY1" fmla="*/ 4763 h 6350"/>
                <a:gd name="connsiteX2" fmla="*/ 19507 w 19050"/>
                <a:gd name="connsiteY2" fmla="*/ 603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6350">
                  <a:moveTo>
                    <a:pt x="19507" y="6032"/>
                  </a:moveTo>
                  <a:cubicBezTo>
                    <a:pt x="6172" y="7938"/>
                    <a:pt x="-5893" y="9207"/>
                    <a:pt x="20142" y="4763"/>
                  </a:cubicBezTo>
                  <a:cubicBezTo>
                    <a:pt x="20142" y="4763"/>
                    <a:pt x="19507" y="6032"/>
                    <a:pt x="19507" y="60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47F2749-2A4A-42B9-BFFA-C3357970E843}"/>
                </a:ext>
              </a:extLst>
            </p:cNvPr>
            <p:cNvSpPr/>
            <p:nvPr/>
          </p:nvSpPr>
          <p:spPr>
            <a:xfrm>
              <a:off x="8035803" y="984705"/>
              <a:ext cx="298450" cy="139700"/>
            </a:xfrm>
            <a:custGeom>
              <a:avLst/>
              <a:gdLst>
                <a:gd name="connsiteX0" fmla="*/ 279522 w 298450"/>
                <a:gd name="connsiteY0" fmla="*/ 26850 h 139700"/>
                <a:gd name="connsiteX1" fmla="*/ 217927 w 298450"/>
                <a:gd name="connsiteY1" fmla="*/ 61775 h 139700"/>
                <a:gd name="connsiteX2" fmla="*/ 172207 w 298450"/>
                <a:gd name="connsiteY2" fmla="*/ 71300 h 139700"/>
                <a:gd name="connsiteX3" fmla="*/ 179191 w 298450"/>
                <a:gd name="connsiteY3" fmla="*/ 73205 h 139700"/>
                <a:gd name="connsiteX4" fmla="*/ 240152 w 298450"/>
                <a:gd name="connsiteY4" fmla="*/ 63045 h 139700"/>
                <a:gd name="connsiteX5" fmla="*/ 249041 w 298450"/>
                <a:gd name="connsiteY5" fmla="*/ 61140 h 139700"/>
                <a:gd name="connsiteX6" fmla="*/ 81402 w 298450"/>
                <a:gd name="connsiteY6" fmla="*/ 111305 h 139700"/>
                <a:gd name="connsiteX7" fmla="*/ 5837 w 298450"/>
                <a:gd name="connsiteY7" fmla="*/ 128450 h 139700"/>
                <a:gd name="connsiteX8" fmla="*/ 31872 w 298450"/>
                <a:gd name="connsiteY8" fmla="*/ 110670 h 139700"/>
                <a:gd name="connsiteX9" fmla="*/ 71877 w 298450"/>
                <a:gd name="connsiteY9" fmla="*/ 94795 h 139700"/>
                <a:gd name="connsiteX10" fmla="*/ 106802 w 298450"/>
                <a:gd name="connsiteY10" fmla="*/ 55425 h 139700"/>
                <a:gd name="connsiteX11" fmla="*/ 136012 w 298450"/>
                <a:gd name="connsiteY11" fmla="*/ 49710 h 139700"/>
                <a:gd name="connsiteX12" fmla="*/ 181097 w 298450"/>
                <a:gd name="connsiteY12" fmla="*/ 29390 h 139700"/>
                <a:gd name="connsiteX13" fmla="*/ 214116 w 298450"/>
                <a:gd name="connsiteY13" fmla="*/ 21135 h 139700"/>
                <a:gd name="connsiteX14" fmla="*/ 157602 w 298450"/>
                <a:gd name="connsiteY14" fmla="*/ 56695 h 139700"/>
                <a:gd name="connsiteX15" fmla="*/ 199512 w 298450"/>
                <a:gd name="connsiteY15" fmla="*/ 39550 h 139700"/>
                <a:gd name="connsiteX16" fmla="*/ 237612 w 298450"/>
                <a:gd name="connsiteY16" fmla="*/ 18595 h 139700"/>
                <a:gd name="connsiteX17" fmla="*/ 278252 w 298450"/>
                <a:gd name="connsiteY17" fmla="*/ 14150 h 139700"/>
                <a:gd name="connsiteX18" fmla="*/ 294762 w 298450"/>
                <a:gd name="connsiteY18" fmla="*/ 6530 h 139700"/>
                <a:gd name="connsiteX19" fmla="*/ 279522 w 298450"/>
                <a:gd name="connsiteY19" fmla="*/ 26850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8450" h="139700">
                  <a:moveTo>
                    <a:pt x="279522" y="26850"/>
                  </a:moveTo>
                  <a:cubicBezTo>
                    <a:pt x="261741" y="38280"/>
                    <a:pt x="238247" y="54790"/>
                    <a:pt x="217927" y="61775"/>
                  </a:cubicBezTo>
                  <a:cubicBezTo>
                    <a:pt x="203322" y="66855"/>
                    <a:pt x="186812" y="66855"/>
                    <a:pt x="172207" y="71300"/>
                  </a:cubicBezTo>
                  <a:cubicBezTo>
                    <a:pt x="169666" y="71935"/>
                    <a:pt x="176652" y="73840"/>
                    <a:pt x="179191" y="73205"/>
                  </a:cubicBezTo>
                  <a:cubicBezTo>
                    <a:pt x="199512" y="70665"/>
                    <a:pt x="219832" y="66220"/>
                    <a:pt x="240152" y="63045"/>
                  </a:cubicBezTo>
                  <a:cubicBezTo>
                    <a:pt x="243327" y="62410"/>
                    <a:pt x="252216" y="59870"/>
                    <a:pt x="249041" y="61140"/>
                  </a:cubicBezTo>
                  <a:cubicBezTo>
                    <a:pt x="196972" y="89715"/>
                    <a:pt x="134107" y="84000"/>
                    <a:pt x="81402" y="111305"/>
                  </a:cubicBezTo>
                  <a:cubicBezTo>
                    <a:pt x="69337" y="117655"/>
                    <a:pt x="23616" y="150675"/>
                    <a:pt x="5837" y="128450"/>
                  </a:cubicBezTo>
                  <a:cubicBezTo>
                    <a:pt x="-513" y="120195"/>
                    <a:pt x="22982" y="115115"/>
                    <a:pt x="31872" y="110670"/>
                  </a:cubicBezTo>
                  <a:cubicBezTo>
                    <a:pt x="44572" y="104320"/>
                    <a:pt x="59812" y="103685"/>
                    <a:pt x="71877" y="94795"/>
                  </a:cubicBezTo>
                  <a:cubicBezTo>
                    <a:pt x="85847" y="84635"/>
                    <a:pt x="92197" y="65585"/>
                    <a:pt x="106802" y="55425"/>
                  </a:cubicBezTo>
                  <a:cubicBezTo>
                    <a:pt x="115057" y="49710"/>
                    <a:pt x="126487" y="52885"/>
                    <a:pt x="136012" y="49710"/>
                  </a:cubicBezTo>
                  <a:cubicBezTo>
                    <a:pt x="151252" y="43995"/>
                    <a:pt x="165857" y="35105"/>
                    <a:pt x="181097" y="29390"/>
                  </a:cubicBezTo>
                  <a:cubicBezTo>
                    <a:pt x="191891" y="25580"/>
                    <a:pt x="221737" y="12245"/>
                    <a:pt x="214116" y="21135"/>
                  </a:cubicBezTo>
                  <a:cubicBezTo>
                    <a:pt x="199512" y="37645"/>
                    <a:pt x="171572" y="38915"/>
                    <a:pt x="157602" y="56695"/>
                  </a:cubicBezTo>
                  <a:cubicBezTo>
                    <a:pt x="148077" y="68125"/>
                    <a:pt x="186177" y="45900"/>
                    <a:pt x="199512" y="39550"/>
                  </a:cubicBezTo>
                  <a:cubicBezTo>
                    <a:pt x="212847" y="33200"/>
                    <a:pt x="223641" y="23040"/>
                    <a:pt x="237612" y="18595"/>
                  </a:cubicBezTo>
                  <a:cubicBezTo>
                    <a:pt x="250312" y="14150"/>
                    <a:pt x="264916" y="17325"/>
                    <a:pt x="278252" y="14150"/>
                  </a:cubicBezTo>
                  <a:cubicBezTo>
                    <a:pt x="283966" y="12880"/>
                    <a:pt x="294127" y="180"/>
                    <a:pt x="294762" y="6530"/>
                  </a:cubicBezTo>
                  <a:cubicBezTo>
                    <a:pt x="295397" y="13515"/>
                    <a:pt x="279522" y="26850"/>
                    <a:pt x="279522" y="26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71C6151-F6D8-4EA2-B678-7876301E82D3}"/>
                </a:ext>
              </a:extLst>
            </p:cNvPr>
            <p:cNvSpPr/>
            <p:nvPr/>
          </p:nvSpPr>
          <p:spPr>
            <a:xfrm>
              <a:off x="7980273" y="1491932"/>
              <a:ext cx="57150" cy="44450"/>
            </a:xfrm>
            <a:custGeom>
              <a:avLst/>
              <a:gdLst>
                <a:gd name="connsiteX0" fmla="*/ 56287 w 57150"/>
                <a:gd name="connsiteY0" fmla="*/ 4763 h 44450"/>
                <a:gd name="connsiteX1" fmla="*/ 6122 w 57150"/>
                <a:gd name="connsiteY1" fmla="*/ 42863 h 44450"/>
                <a:gd name="connsiteX2" fmla="*/ 10567 w 57150"/>
                <a:gd name="connsiteY2" fmla="*/ 31432 h 44450"/>
                <a:gd name="connsiteX3" fmla="*/ 56287 w 57150"/>
                <a:gd name="connsiteY3" fmla="*/ 476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44450">
                  <a:moveTo>
                    <a:pt x="56287" y="4763"/>
                  </a:moveTo>
                  <a:cubicBezTo>
                    <a:pt x="39777" y="17463"/>
                    <a:pt x="24537" y="32703"/>
                    <a:pt x="6122" y="42863"/>
                  </a:cubicBezTo>
                  <a:cubicBezTo>
                    <a:pt x="2312" y="44768"/>
                    <a:pt x="7392" y="33973"/>
                    <a:pt x="10567" y="31432"/>
                  </a:cubicBezTo>
                  <a:cubicBezTo>
                    <a:pt x="24537" y="21273"/>
                    <a:pt x="56287" y="4763"/>
                    <a:pt x="56287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66013D99-3001-4516-98C0-0F5B22ED6A9F}"/>
                </a:ext>
              </a:extLst>
            </p:cNvPr>
            <p:cNvSpPr/>
            <p:nvPr/>
          </p:nvSpPr>
          <p:spPr>
            <a:xfrm>
              <a:off x="7935779" y="1278696"/>
              <a:ext cx="19050" cy="12700"/>
            </a:xfrm>
            <a:custGeom>
              <a:avLst/>
              <a:gdLst>
                <a:gd name="connsiteX0" fmla="*/ 16326 w 19050"/>
                <a:gd name="connsiteY0" fmla="*/ 5274 h 12700"/>
                <a:gd name="connsiteX1" fmla="*/ 5531 w 19050"/>
                <a:gd name="connsiteY1" fmla="*/ 13529 h 12700"/>
                <a:gd name="connsiteX2" fmla="*/ 16326 w 19050"/>
                <a:gd name="connsiteY2" fmla="*/ 5274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12700">
                  <a:moveTo>
                    <a:pt x="16326" y="5274"/>
                  </a:moveTo>
                  <a:cubicBezTo>
                    <a:pt x="12516" y="7814"/>
                    <a:pt x="9976" y="11624"/>
                    <a:pt x="5531" y="13529"/>
                  </a:cubicBezTo>
                  <a:cubicBezTo>
                    <a:pt x="1721" y="14799"/>
                    <a:pt x="13151" y="2099"/>
                    <a:pt x="16326" y="52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AFB37878-63B5-4BFC-8F4E-A7F858979DDB}"/>
                </a:ext>
              </a:extLst>
            </p:cNvPr>
            <p:cNvSpPr/>
            <p:nvPr/>
          </p:nvSpPr>
          <p:spPr>
            <a:xfrm>
              <a:off x="7966857" y="1131753"/>
              <a:ext cx="82550" cy="44450"/>
            </a:xfrm>
            <a:custGeom>
              <a:avLst/>
              <a:gdLst>
                <a:gd name="connsiteX0" fmla="*/ 79228 w 82550"/>
                <a:gd name="connsiteY0" fmla="*/ 8072 h 44450"/>
                <a:gd name="connsiteX1" fmla="*/ 28428 w 82550"/>
                <a:gd name="connsiteY1" fmla="*/ 30297 h 44450"/>
                <a:gd name="connsiteX2" fmla="*/ 5568 w 82550"/>
                <a:gd name="connsiteY2" fmla="*/ 40457 h 44450"/>
                <a:gd name="connsiteX3" fmla="*/ 46843 w 82550"/>
                <a:gd name="connsiteY3" fmla="*/ 6167 h 44450"/>
                <a:gd name="connsiteX4" fmla="*/ 79228 w 82550"/>
                <a:gd name="connsiteY4" fmla="*/ 8072 h 44450"/>
                <a:gd name="connsiteX5" fmla="*/ 79228 w 82550"/>
                <a:gd name="connsiteY5" fmla="*/ 807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0" h="44450">
                  <a:moveTo>
                    <a:pt x="79228" y="8072"/>
                  </a:moveTo>
                  <a:cubicBezTo>
                    <a:pt x="62083" y="15692"/>
                    <a:pt x="44937" y="22677"/>
                    <a:pt x="28428" y="30297"/>
                  </a:cubicBezTo>
                  <a:cubicBezTo>
                    <a:pt x="20808" y="34107"/>
                    <a:pt x="487" y="47442"/>
                    <a:pt x="5568" y="40457"/>
                  </a:cubicBezTo>
                  <a:cubicBezTo>
                    <a:pt x="16362" y="26487"/>
                    <a:pt x="30333" y="13787"/>
                    <a:pt x="46843" y="6167"/>
                  </a:cubicBezTo>
                  <a:cubicBezTo>
                    <a:pt x="56368" y="2357"/>
                    <a:pt x="68433" y="7437"/>
                    <a:pt x="79228" y="8072"/>
                  </a:cubicBezTo>
                  <a:lnTo>
                    <a:pt x="79228" y="80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>
              <a:extLst>
                <a:ext uri="{FF2B5EF4-FFF2-40B4-BE49-F238E27FC236}">
                  <a16:creationId xmlns:a16="http://schemas.microsoft.com/office/drawing/2014/main" id="{A91E036D-AA51-41D6-82A4-0FF5D3314D02}"/>
                </a:ext>
              </a:extLst>
            </p:cNvPr>
            <p:cNvSpPr/>
            <p:nvPr/>
          </p:nvSpPr>
          <p:spPr>
            <a:xfrm>
              <a:off x="7546809" y="1168655"/>
              <a:ext cx="628650" cy="457200"/>
            </a:xfrm>
            <a:custGeom>
              <a:avLst/>
              <a:gdLst>
                <a:gd name="connsiteX0" fmla="*/ 325921 w 628650"/>
                <a:gd name="connsiteY0" fmla="*/ 267080 h 457200"/>
                <a:gd name="connsiteX1" fmla="*/ 301156 w 628650"/>
                <a:gd name="connsiteY1" fmla="*/ 288035 h 457200"/>
                <a:gd name="connsiteX2" fmla="*/ 322746 w 628650"/>
                <a:gd name="connsiteY2" fmla="*/ 282320 h 457200"/>
                <a:gd name="connsiteX3" fmla="*/ 284646 w 628650"/>
                <a:gd name="connsiteY3" fmla="*/ 324230 h 457200"/>
                <a:gd name="connsiteX4" fmla="*/ 261151 w 628650"/>
                <a:gd name="connsiteY4" fmla="*/ 369315 h 457200"/>
                <a:gd name="connsiteX5" fmla="*/ 256706 w 628650"/>
                <a:gd name="connsiteY5" fmla="*/ 359790 h 457200"/>
                <a:gd name="connsiteX6" fmla="*/ 163360 w 628650"/>
                <a:gd name="connsiteY6" fmla="*/ 395350 h 457200"/>
                <a:gd name="connsiteX7" fmla="*/ 177331 w 628650"/>
                <a:gd name="connsiteY7" fmla="*/ 383920 h 457200"/>
                <a:gd name="connsiteX8" fmla="*/ 190031 w 628650"/>
                <a:gd name="connsiteY8" fmla="*/ 368680 h 457200"/>
                <a:gd name="connsiteX9" fmla="*/ 233846 w 628650"/>
                <a:gd name="connsiteY9" fmla="*/ 345185 h 457200"/>
                <a:gd name="connsiteX10" fmla="*/ 220510 w 628650"/>
                <a:gd name="connsiteY10" fmla="*/ 303275 h 457200"/>
                <a:gd name="connsiteX11" fmla="*/ 183681 w 628650"/>
                <a:gd name="connsiteY11" fmla="*/ 335660 h 457200"/>
                <a:gd name="connsiteX12" fmla="*/ 146851 w 628650"/>
                <a:gd name="connsiteY12" fmla="*/ 364235 h 457200"/>
                <a:gd name="connsiteX13" fmla="*/ 61126 w 628650"/>
                <a:gd name="connsiteY13" fmla="*/ 441705 h 457200"/>
                <a:gd name="connsiteX14" fmla="*/ 43346 w 628650"/>
                <a:gd name="connsiteY14" fmla="*/ 444880 h 457200"/>
                <a:gd name="connsiteX15" fmla="*/ 7151 w 628650"/>
                <a:gd name="connsiteY15" fmla="*/ 455040 h 457200"/>
                <a:gd name="connsiteX16" fmla="*/ 21121 w 628650"/>
                <a:gd name="connsiteY16" fmla="*/ 411860 h 457200"/>
                <a:gd name="connsiteX17" fmla="*/ 44616 w 628650"/>
                <a:gd name="connsiteY17" fmla="*/ 388365 h 457200"/>
                <a:gd name="connsiteX18" fmla="*/ 57316 w 628650"/>
                <a:gd name="connsiteY18" fmla="*/ 356615 h 457200"/>
                <a:gd name="connsiteX19" fmla="*/ 117006 w 628650"/>
                <a:gd name="connsiteY19" fmla="*/ 302005 h 457200"/>
                <a:gd name="connsiteX20" fmla="*/ 145581 w 628650"/>
                <a:gd name="connsiteY20" fmla="*/ 237235 h 457200"/>
                <a:gd name="connsiteX21" fmla="*/ 165901 w 628650"/>
                <a:gd name="connsiteY21" fmla="*/ 252475 h 457200"/>
                <a:gd name="connsiteX22" fmla="*/ 141135 w 628650"/>
                <a:gd name="connsiteY22" fmla="*/ 268350 h 457200"/>
                <a:gd name="connsiteX23" fmla="*/ 200826 w 628650"/>
                <a:gd name="connsiteY23" fmla="*/ 282955 h 457200"/>
                <a:gd name="connsiteX24" fmla="*/ 233846 w 628650"/>
                <a:gd name="connsiteY24" fmla="*/ 288670 h 457200"/>
                <a:gd name="connsiteX25" fmla="*/ 240831 w 628650"/>
                <a:gd name="connsiteY25" fmla="*/ 245490 h 457200"/>
                <a:gd name="connsiteX26" fmla="*/ 266866 w 628650"/>
                <a:gd name="connsiteY26" fmla="*/ 241045 h 457200"/>
                <a:gd name="connsiteX27" fmla="*/ 316396 w 628650"/>
                <a:gd name="connsiteY27" fmla="*/ 211200 h 457200"/>
                <a:gd name="connsiteX28" fmla="*/ 342431 w 628650"/>
                <a:gd name="connsiteY28" fmla="*/ 167385 h 457200"/>
                <a:gd name="connsiteX29" fmla="*/ 448476 w 628650"/>
                <a:gd name="connsiteY29" fmla="*/ 109600 h 457200"/>
                <a:gd name="connsiteX30" fmla="*/ 402756 w 628650"/>
                <a:gd name="connsiteY30" fmla="*/ 110235 h 457200"/>
                <a:gd name="connsiteX31" fmla="*/ 438316 w 628650"/>
                <a:gd name="connsiteY31" fmla="*/ 82930 h 457200"/>
                <a:gd name="connsiteX32" fmla="*/ 454191 w 628650"/>
                <a:gd name="connsiteY32" fmla="*/ 43560 h 457200"/>
                <a:gd name="connsiteX33" fmla="*/ 504356 w 628650"/>
                <a:gd name="connsiteY33" fmla="*/ 18795 h 457200"/>
                <a:gd name="connsiteX34" fmla="*/ 621831 w 628650"/>
                <a:gd name="connsiteY34" fmla="*/ 19430 h 457200"/>
                <a:gd name="connsiteX35" fmla="*/ 582461 w 628650"/>
                <a:gd name="connsiteY35" fmla="*/ 17525 h 457200"/>
                <a:gd name="connsiteX36" fmla="*/ 487210 w 628650"/>
                <a:gd name="connsiteY36" fmla="*/ 41655 h 457200"/>
                <a:gd name="connsiteX37" fmla="*/ 490385 w 628650"/>
                <a:gd name="connsiteY37" fmla="*/ 53085 h 457200"/>
                <a:gd name="connsiteX38" fmla="*/ 581191 w 628650"/>
                <a:gd name="connsiteY38" fmla="*/ 23875 h 457200"/>
                <a:gd name="connsiteX39" fmla="*/ 611671 w 628650"/>
                <a:gd name="connsiteY39" fmla="*/ 42925 h 457200"/>
                <a:gd name="connsiteX40" fmla="*/ 581826 w 628650"/>
                <a:gd name="connsiteY40" fmla="*/ 56260 h 457200"/>
                <a:gd name="connsiteX41" fmla="*/ 515785 w 628650"/>
                <a:gd name="connsiteY41" fmla="*/ 72770 h 457200"/>
                <a:gd name="connsiteX42" fmla="*/ 555791 w 628650"/>
                <a:gd name="connsiteY42" fmla="*/ 88645 h 457200"/>
                <a:gd name="connsiteX43" fmla="*/ 529121 w 628650"/>
                <a:gd name="connsiteY43" fmla="*/ 112775 h 457200"/>
                <a:gd name="connsiteX44" fmla="*/ 518960 w 628650"/>
                <a:gd name="connsiteY44" fmla="*/ 107695 h 457200"/>
                <a:gd name="connsiteX45" fmla="*/ 471971 w 628650"/>
                <a:gd name="connsiteY45" fmla="*/ 131190 h 457200"/>
                <a:gd name="connsiteX46" fmla="*/ 461176 w 628650"/>
                <a:gd name="connsiteY46" fmla="*/ 148970 h 457200"/>
                <a:gd name="connsiteX47" fmla="*/ 492926 w 628650"/>
                <a:gd name="connsiteY47" fmla="*/ 149605 h 457200"/>
                <a:gd name="connsiteX48" fmla="*/ 411010 w 628650"/>
                <a:gd name="connsiteY48" fmla="*/ 185165 h 457200"/>
                <a:gd name="connsiteX49" fmla="*/ 458001 w 628650"/>
                <a:gd name="connsiteY49" fmla="*/ 180720 h 457200"/>
                <a:gd name="connsiteX50" fmla="*/ 386881 w 628650"/>
                <a:gd name="connsiteY50" fmla="*/ 208660 h 457200"/>
                <a:gd name="connsiteX51" fmla="*/ 382435 w 628650"/>
                <a:gd name="connsiteY51" fmla="*/ 242950 h 457200"/>
                <a:gd name="connsiteX52" fmla="*/ 353226 w 628650"/>
                <a:gd name="connsiteY52" fmla="*/ 229615 h 457200"/>
                <a:gd name="connsiteX53" fmla="*/ 325921 w 628650"/>
                <a:gd name="connsiteY53" fmla="*/ 26708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28650" h="457200">
                  <a:moveTo>
                    <a:pt x="325921" y="267080"/>
                  </a:moveTo>
                  <a:cubicBezTo>
                    <a:pt x="317666" y="274065"/>
                    <a:pt x="303060" y="277240"/>
                    <a:pt x="301156" y="288035"/>
                  </a:cubicBezTo>
                  <a:cubicBezTo>
                    <a:pt x="299885" y="295655"/>
                    <a:pt x="325921" y="275335"/>
                    <a:pt x="322746" y="282320"/>
                  </a:cubicBezTo>
                  <a:cubicBezTo>
                    <a:pt x="315126" y="299465"/>
                    <a:pt x="295441" y="308990"/>
                    <a:pt x="284646" y="324230"/>
                  </a:cubicBezTo>
                  <a:cubicBezTo>
                    <a:pt x="275121" y="338200"/>
                    <a:pt x="271946" y="355980"/>
                    <a:pt x="261151" y="369315"/>
                  </a:cubicBezTo>
                  <a:cubicBezTo>
                    <a:pt x="259246" y="371855"/>
                    <a:pt x="260516" y="359155"/>
                    <a:pt x="256706" y="359790"/>
                  </a:cubicBezTo>
                  <a:cubicBezTo>
                    <a:pt x="237021" y="364870"/>
                    <a:pt x="190031" y="396620"/>
                    <a:pt x="163360" y="395350"/>
                  </a:cubicBezTo>
                  <a:cubicBezTo>
                    <a:pt x="157646" y="395350"/>
                    <a:pt x="172885" y="388365"/>
                    <a:pt x="177331" y="383920"/>
                  </a:cubicBezTo>
                  <a:cubicBezTo>
                    <a:pt x="181776" y="379475"/>
                    <a:pt x="184316" y="372490"/>
                    <a:pt x="190031" y="368680"/>
                  </a:cubicBezTo>
                  <a:cubicBezTo>
                    <a:pt x="204001" y="359155"/>
                    <a:pt x="226860" y="360425"/>
                    <a:pt x="233846" y="345185"/>
                  </a:cubicBezTo>
                  <a:cubicBezTo>
                    <a:pt x="240196" y="331850"/>
                    <a:pt x="235116" y="305815"/>
                    <a:pt x="220510" y="303275"/>
                  </a:cubicBezTo>
                  <a:cubicBezTo>
                    <a:pt x="204635" y="300100"/>
                    <a:pt x="196381" y="325500"/>
                    <a:pt x="183681" y="335660"/>
                  </a:cubicBezTo>
                  <a:cubicBezTo>
                    <a:pt x="163996" y="352170"/>
                    <a:pt x="162091" y="347090"/>
                    <a:pt x="146851" y="364235"/>
                  </a:cubicBezTo>
                  <a:cubicBezTo>
                    <a:pt x="120816" y="392175"/>
                    <a:pt x="97956" y="428370"/>
                    <a:pt x="61126" y="441705"/>
                  </a:cubicBezTo>
                  <a:cubicBezTo>
                    <a:pt x="55410" y="443610"/>
                    <a:pt x="49060" y="443610"/>
                    <a:pt x="43346" y="444880"/>
                  </a:cubicBezTo>
                  <a:cubicBezTo>
                    <a:pt x="31281" y="448055"/>
                    <a:pt x="14135" y="465835"/>
                    <a:pt x="7151" y="455040"/>
                  </a:cubicBezTo>
                  <a:cubicBezTo>
                    <a:pt x="-1104" y="442340"/>
                    <a:pt x="14135" y="425195"/>
                    <a:pt x="21121" y="411860"/>
                  </a:cubicBezTo>
                  <a:cubicBezTo>
                    <a:pt x="26201" y="402335"/>
                    <a:pt x="38266" y="397890"/>
                    <a:pt x="44616" y="388365"/>
                  </a:cubicBezTo>
                  <a:cubicBezTo>
                    <a:pt x="50966" y="378840"/>
                    <a:pt x="50966" y="366140"/>
                    <a:pt x="57316" y="356615"/>
                  </a:cubicBezTo>
                  <a:cubicBezTo>
                    <a:pt x="70651" y="334390"/>
                    <a:pt x="101131" y="322325"/>
                    <a:pt x="117006" y="302005"/>
                  </a:cubicBezTo>
                  <a:cubicBezTo>
                    <a:pt x="127166" y="288670"/>
                    <a:pt x="134151" y="244855"/>
                    <a:pt x="145581" y="237235"/>
                  </a:cubicBezTo>
                  <a:cubicBezTo>
                    <a:pt x="152566" y="232790"/>
                    <a:pt x="167171" y="244220"/>
                    <a:pt x="165901" y="252475"/>
                  </a:cubicBezTo>
                  <a:cubicBezTo>
                    <a:pt x="164631" y="262000"/>
                    <a:pt x="133516" y="262000"/>
                    <a:pt x="141135" y="268350"/>
                  </a:cubicBezTo>
                  <a:cubicBezTo>
                    <a:pt x="156376" y="282320"/>
                    <a:pt x="180506" y="278510"/>
                    <a:pt x="200826" y="282955"/>
                  </a:cubicBezTo>
                  <a:cubicBezTo>
                    <a:pt x="211621" y="285495"/>
                    <a:pt x="225591" y="296290"/>
                    <a:pt x="233846" y="288670"/>
                  </a:cubicBezTo>
                  <a:cubicBezTo>
                    <a:pt x="244641" y="278510"/>
                    <a:pt x="232576" y="257555"/>
                    <a:pt x="240831" y="245490"/>
                  </a:cubicBezTo>
                  <a:cubicBezTo>
                    <a:pt x="245910" y="238505"/>
                    <a:pt x="259246" y="244855"/>
                    <a:pt x="266866" y="241045"/>
                  </a:cubicBezTo>
                  <a:cubicBezTo>
                    <a:pt x="284646" y="233425"/>
                    <a:pt x="302426" y="224535"/>
                    <a:pt x="316396" y="211200"/>
                  </a:cubicBezTo>
                  <a:cubicBezTo>
                    <a:pt x="328460" y="199135"/>
                    <a:pt x="331635" y="180085"/>
                    <a:pt x="342431" y="167385"/>
                  </a:cubicBezTo>
                  <a:cubicBezTo>
                    <a:pt x="351956" y="156590"/>
                    <a:pt x="451016" y="130555"/>
                    <a:pt x="448476" y="109600"/>
                  </a:cubicBezTo>
                  <a:cubicBezTo>
                    <a:pt x="446571" y="94360"/>
                    <a:pt x="408471" y="124205"/>
                    <a:pt x="402756" y="110235"/>
                  </a:cubicBezTo>
                  <a:cubicBezTo>
                    <a:pt x="397676" y="96265"/>
                    <a:pt x="429426" y="94995"/>
                    <a:pt x="438316" y="82930"/>
                  </a:cubicBezTo>
                  <a:cubicBezTo>
                    <a:pt x="447206" y="71500"/>
                    <a:pt x="447206" y="56260"/>
                    <a:pt x="454191" y="43560"/>
                  </a:cubicBezTo>
                  <a:cubicBezTo>
                    <a:pt x="462446" y="27050"/>
                    <a:pt x="487210" y="25780"/>
                    <a:pt x="504356" y="18795"/>
                  </a:cubicBezTo>
                  <a:cubicBezTo>
                    <a:pt x="544996" y="2920"/>
                    <a:pt x="578016" y="-2795"/>
                    <a:pt x="621831" y="19430"/>
                  </a:cubicBezTo>
                  <a:cubicBezTo>
                    <a:pt x="633261" y="25780"/>
                    <a:pt x="595796" y="15620"/>
                    <a:pt x="582461" y="17525"/>
                  </a:cubicBezTo>
                  <a:cubicBezTo>
                    <a:pt x="550076" y="22605"/>
                    <a:pt x="517691" y="29590"/>
                    <a:pt x="487210" y="41655"/>
                  </a:cubicBezTo>
                  <a:cubicBezTo>
                    <a:pt x="483401" y="42925"/>
                    <a:pt x="486576" y="53720"/>
                    <a:pt x="490385" y="53085"/>
                  </a:cubicBezTo>
                  <a:cubicBezTo>
                    <a:pt x="526581" y="46735"/>
                    <a:pt x="541821" y="18795"/>
                    <a:pt x="581191" y="23875"/>
                  </a:cubicBezTo>
                  <a:cubicBezTo>
                    <a:pt x="593256" y="25780"/>
                    <a:pt x="611036" y="31495"/>
                    <a:pt x="611671" y="42925"/>
                  </a:cubicBezTo>
                  <a:cubicBezTo>
                    <a:pt x="611671" y="53720"/>
                    <a:pt x="591986" y="53085"/>
                    <a:pt x="581826" y="56260"/>
                  </a:cubicBezTo>
                  <a:cubicBezTo>
                    <a:pt x="560236" y="63245"/>
                    <a:pt x="529756" y="54990"/>
                    <a:pt x="515785" y="72770"/>
                  </a:cubicBezTo>
                  <a:cubicBezTo>
                    <a:pt x="506896" y="84200"/>
                    <a:pt x="551346" y="74675"/>
                    <a:pt x="555791" y="88645"/>
                  </a:cubicBezTo>
                  <a:cubicBezTo>
                    <a:pt x="559601" y="100075"/>
                    <a:pt x="539916" y="107060"/>
                    <a:pt x="529121" y="112775"/>
                  </a:cubicBezTo>
                  <a:cubicBezTo>
                    <a:pt x="525946" y="114680"/>
                    <a:pt x="522771" y="106425"/>
                    <a:pt x="518960" y="107695"/>
                  </a:cubicBezTo>
                  <a:cubicBezTo>
                    <a:pt x="502451" y="113410"/>
                    <a:pt x="485941" y="121030"/>
                    <a:pt x="471971" y="131190"/>
                  </a:cubicBezTo>
                  <a:cubicBezTo>
                    <a:pt x="466256" y="135635"/>
                    <a:pt x="456096" y="144525"/>
                    <a:pt x="461176" y="148970"/>
                  </a:cubicBezTo>
                  <a:cubicBezTo>
                    <a:pt x="468796" y="155955"/>
                    <a:pt x="501181" y="143255"/>
                    <a:pt x="492926" y="149605"/>
                  </a:cubicBezTo>
                  <a:cubicBezTo>
                    <a:pt x="468796" y="166750"/>
                    <a:pt x="433235" y="164845"/>
                    <a:pt x="411010" y="185165"/>
                  </a:cubicBezTo>
                  <a:cubicBezTo>
                    <a:pt x="398946" y="195960"/>
                    <a:pt x="456731" y="164845"/>
                    <a:pt x="458001" y="180720"/>
                  </a:cubicBezTo>
                  <a:cubicBezTo>
                    <a:pt x="463716" y="242315"/>
                    <a:pt x="401485" y="191515"/>
                    <a:pt x="386881" y="208660"/>
                  </a:cubicBezTo>
                  <a:cubicBezTo>
                    <a:pt x="379260" y="217550"/>
                    <a:pt x="391960" y="236600"/>
                    <a:pt x="382435" y="242950"/>
                  </a:cubicBezTo>
                  <a:cubicBezTo>
                    <a:pt x="373546" y="248665"/>
                    <a:pt x="363385" y="225805"/>
                    <a:pt x="353226" y="229615"/>
                  </a:cubicBezTo>
                  <a:cubicBezTo>
                    <a:pt x="338621" y="237870"/>
                    <a:pt x="325921" y="267080"/>
                    <a:pt x="325921" y="267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>
              <a:extLst>
                <a:ext uri="{FF2B5EF4-FFF2-40B4-BE49-F238E27FC236}">
                  <a16:creationId xmlns:a16="http://schemas.microsoft.com/office/drawing/2014/main" id="{52BBA339-81E4-4865-A174-E64AD5447AC4}"/>
                </a:ext>
              </a:extLst>
            </p:cNvPr>
            <p:cNvSpPr/>
            <p:nvPr/>
          </p:nvSpPr>
          <p:spPr>
            <a:xfrm>
              <a:off x="7759925" y="1303973"/>
              <a:ext cx="25400" cy="19050"/>
            </a:xfrm>
            <a:custGeom>
              <a:avLst/>
              <a:gdLst>
                <a:gd name="connsiteX0" fmla="*/ 20731 w 25400"/>
                <a:gd name="connsiteY0" fmla="*/ 7302 h 19050"/>
                <a:gd name="connsiteX1" fmla="*/ 4856 w 25400"/>
                <a:gd name="connsiteY1" fmla="*/ 13652 h 19050"/>
                <a:gd name="connsiteX2" fmla="*/ 21365 w 25400"/>
                <a:gd name="connsiteY2" fmla="*/ 4763 h 19050"/>
                <a:gd name="connsiteX3" fmla="*/ 20731 w 25400"/>
                <a:gd name="connsiteY3" fmla="*/ 7302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9050">
                  <a:moveTo>
                    <a:pt x="20731" y="7302"/>
                  </a:moveTo>
                  <a:cubicBezTo>
                    <a:pt x="15650" y="9207"/>
                    <a:pt x="3585" y="19367"/>
                    <a:pt x="4856" y="13652"/>
                  </a:cubicBezTo>
                  <a:cubicBezTo>
                    <a:pt x="6125" y="7302"/>
                    <a:pt x="15650" y="7302"/>
                    <a:pt x="21365" y="4763"/>
                  </a:cubicBezTo>
                  <a:cubicBezTo>
                    <a:pt x="21365" y="4763"/>
                    <a:pt x="20731" y="6667"/>
                    <a:pt x="20731" y="73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>
              <a:extLst>
                <a:ext uri="{FF2B5EF4-FFF2-40B4-BE49-F238E27FC236}">
                  <a16:creationId xmlns:a16="http://schemas.microsoft.com/office/drawing/2014/main" id="{41AF55BE-3326-4B94-8230-6A57B691AC45}"/>
                </a:ext>
              </a:extLst>
            </p:cNvPr>
            <p:cNvSpPr/>
            <p:nvPr/>
          </p:nvSpPr>
          <p:spPr>
            <a:xfrm>
              <a:off x="8192043" y="1884347"/>
              <a:ext cx="260350" cy="184150"/>
            </a:xfrm>
            <a:custGeom>
              <a:avLst/>
              <a:gdLst>
                <a:gd name="connsiteX0" fmla="*/ 33112 w 260350"/>
                <a:gd name="connsiteY0" fmla="*/ 138128 h 184150"/>
                <a:gd name="connsiteX1" fmla="*/ 77562 w 260350"/>
                <a:gd name="connsiteY1" fmla="*/ 60023 h 184150"/>
                <a:gd name="connsiteX2" fmla="*/ 65497 w 260350"/>
                <a:gd name="connsiteY2" fmla="*/ 55578 h 184150"/>
                <a:gd name="connsiteX3" fmla="*/ 21682 w 260350"/>
                <a:gd name="connsiteY3" fmla="*/ 37163 h 184150"/>
                <a:gd name="connsiteX4" fmla="*/ 37557 w 260350"/>
                <a:gd name="connsiteY4" fmla="*/ 40973 h 184150"/>
                <a:gd name="connsiteX5" fmla="*/ 81372 w 260350"/>
                <a:gd name="connsiteY5" fmla="*/ 4778 h 184150"/>
                <a:gd name="connsiteX6" fmla="*/ 103597 w 260350"/>
                <a:gd name="connsiteY6" fmla="*/ 35893 h 184150"/>
                <a:gd name="connsiteX7" fmla="*/ 81372 w 260350"/>
                <a:gd name="connsiteY7" fmla="*/ 77168 h 184150"/>
                <a:gd name="connsiteX8" fmla="*/ 97882 w 260350"/>
                <a:gd name="connsiteY8" fmla="*/ 58753 h 184150"/>
                <a:gd name="connsiteX9" fmla="*/ 103597 w 260350"/>
                <a:gd name="connsiteY9" fmla="*/ 66373 h 184150"/>
                <a:gd name="connsiteX10" fmla="*/ 114392 w 260350"/>
                <a:gd name="connsiteY10" fmla="*/ 59388 h 184150"/>
                <a:gd name="connsiteX11" fmla="*/ 133442 w 260350"/>
                <a:gd name="connsiteY11" fmla="*/ 61293 h 184150"/>
                <a:gd name="connsiteX12" fmla="*/ 144237 w 260350"/>
                <a:gd name="connsiteY12" fmla="*/ 46053 h 184150"/>
                <a:gd name="connsiteX13" fmla="*/ 161382 w 260350"/>
                <a:gd name="connsiteY13" fmla="*/ 74628 h 184150"/>
                <a:gd name="connsiteX14" fmla="*/ 255997 w 260350"/>
                <a:gd name="connsiteY14" fmla="*/ 109553 h 184150"/>
                <a:gd name="connsiteX15" fmla="*/ 231232 w 260350"/>
                <a:gd name="connsiteY15" fmla="*/ 127333 h 184150"/>
                <a:gd name="connsiteX16" fmla="*/ 207102 w 260350"/>
                <a:gd name="connsiteY16" fmla="*/ 157178 h 184150"/>
                <a:gd name="connsiteX17" fmla="*/ 185512 w 260350"/>
                <a:gd name="connsiteY17" fmla="*/ 151463 h 184150"/>
                <a:gd name="connsiteX18" fmla="*/ 95342 w 260350"/>
                <a:gd name="connsiteY18" fmla="*/ 180038 h 184150"/>
                <a:gd name="connsiteX19" fmla="*/ 50892 w 260350"/>
                <a:gd name="connsiteY19" fmla="*/ 162258 h 184150"/>
                <a:gd name="connsiteX20" fmla="*/ 33112 w 260350"/>
                <a:gd name="connsiteY20" fmla="*/ 138128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0350" h="184150">
                  <a:moveTo>
                    <a:pt x="33112" y="138128"/>
                  </a:moveTo>
                  <a:cubicBezTo>
                    <a:pt x="-37373" y="68913"/>
                    <a:pt x="41367" y="75263"/>
                    <a:pt x="77562" y="60023"/>
                  </a:cubicBezTo>
                  <a:cubicBezTo>
                    <a:pt x="81372" y="58118"/>
                    <a:pt x="69307" y="57483"/>
                    <a:pt x="65497" y="55578"/>
                  </a:cubicBezTo>
                  <a:cubicBezTo>
                    <a:pt x="50892" y="49863"/>
                    <a:pt x="35652" y="44148"/>
                    <a:pt x="21682" y="37163"/>
                  </a:cubicBezTo>
                  <a:cubicBezTo>
                    <a:pt x="17237" y="34623"/>
                    <a:pt x="32477" y="43513"/>
                    <a:pt x="37557" y="40973"/>
                  </a:cubicBezTo>
                  <a:cubicBezTo>
                    <a:pt x="54067" y="32083"/>
                    <a:pt x="62322" y="6048"/>
                    <a:pt x="81372" y="4778"/>
                  </a:cubicBezTo>
                  <a:cubicBezTo>
                    <a:pt x="94072" y="4143"/>
                    <a:pt x="103597" y="23193"/>
                    <a:pt x="103597" y="35893"/>
                  </a:cubicBezTo>
                  <a:cubicBezTo>
                    <a:pt x="103597" y="51768"/>
                    <a:pt x="85182" y="61928"/>
                    <a:pt x="81372" y="77168"/>
                  </a:cubicBezTo>
                  <a:cubicBezTo>
                    <a:pt x="79467" y="85423"/>
                    <a:pt x="90262" y="62563"/>
                    <a:pt x="97882" y="58753"/>
                  </a:cubicBezTo>
                  <a:cubicBezTo>
                    <a:pt x="101057" y="57483"/>
                    <a:pt x="100422" y="66373"/>
                    <a:pt x="103597" y="66373"/>
                  </a:cubicBezTo>
                  <a:cubicBezTo>
                    <a:pt x="108042" y="66373"/>
                    <a:pt x="109947" y="60023"/>
                    <a:pt x="114392" y="59388"/>
                  </a:cubicBezTo>
                  <a:cubicBezTo>
                    <a:pt x="120742" y="58118"/>
                    <a:pt x="127727" y="63833"/>
                    <a:pt x="133442" y="61293"/>
                  </a:cubicBezTo>
                  <a:cubicBezTo>
                    <a:pt x="139157" y="58753"/>
                    <a:pt x="138522" y="42878"/>
                    <a:pt x="144237" y="46053"/>
                  </a:cubicBezTo>
                  <a:cubicBezTo>
                    <a:pt x="154397" y="50498"/>
                    <a:pt x="150587" y="72088"/>
                    <a:pt x="161382" y="74628"/>
                  </a:cubicBezTo>
                  <a:cubicBezTo>
                    <a:pt x="193767" y="82248"/>
                    <a:pt x="260442" y="33353"/>
                    <a:pt x="255997" y="109553"/>
                  </a:cubicBezTo>
                  <a:cubicBezTo>
                    <a:pt x="255362" y="119713"/>
                    <a:pt x="238217" y="120348"/>
                    <a:pt x="231232" y="127333"/>
                  </a:cubicBezTo>
                  <a:cubicBezTo>
                    <a:pt x="222342" y="136223"/>
                    <a:pt x="218532" y="150828"/>
                    <a:pt x="207102" y="157178"/>
                  </a:cubicBezTo>
                  <a:cubicBezTo>
                    <a:pt x="200752" y="160353"/>
                    <a:pt x="192497" y="150193"/>
                    <a:pt x="185512" y="151463"/>
                  </a:cubicBezTo>
                  <a:cubicBezTo>
                    <a:pt x="154397" y="157813"/>
                    <a:pt x="127092" y="177498"/>
                    <a:pt x="95342" y="180038"/>
                  </a:cubicBezTo>
                  <a:cubicBezTo>
                    <a:pt x="79467" y="181308"/>
                    <a:pt x="64227" y="171148"/>
                    <a:pt x="50892" y="162258"/>
                  </a:cubicBezTo>
                  <a:cubicBezTo>
                    <a:pt x="42002" y="157178"/>
                    <a:pt x="33112" y="138128"/>
                    <a:pt x="33112" y="1381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>
              <a:extLst>
                <a:ext uri="{FF2B5EF4-FFF2-40B4-BE49-F238E27FC236}">
                  <a16:creationId xmlns:a16="http://schemas.microsoft.com/office/drawing/2014/main" id="{BA6ED8EA-C98D-4BD2-B598-C2E5EFADF6EB}"/>
                </a:ext>
              </a:extLst>
            </p:cNvPr>
            <p:cNvSpPr/>
            <p:nvPr/>
          </p:nvSpPr>
          <p:spPr>
            <a:xfrm>
              <a:off x="7632287" y="1300064"/>
              <a:ext cx="152400" cy="107950"/>
            </a:xfrm>
            <a:custGeom>
              <a:avLst/>
              <a:gdLst>
                <a:gd name="connsiteX0" fmla="*/ 87407 w 152400"/>
                <a:gd name="connsiteY0" fmla="*/ 51851 h 107950"/>
                <a:gd name="connsiteX1" fmla="*/ 39782 w 152400"/>
                <a:gd name="connsiteY1" fmla="*/ 82331 h 107950"/>
                <a:gd name="connsiteX2" fmla="*/ 9938 w 152400"/>
                <a:gd name="connsiteY2" fmla="*/ 105826 h 107950"/>
                <a:gd name="connsiteX3" fmla="*/ 15018 w 152400"/>
                <a:gd name="connsiteY3" fmla="*/ 65186 h 107950"/>
                <a:gd name="connsiteX4" fmla="*/ 65818 w 152400"/>
                <a:gd name="connsiteY4" fmla="*/ 34706 h 107950"/>
                <a:gd name="connsiteX5" fmla="*/ 140748 w 152400"/>
                <a:gd name="connsiteY5" fmla="*/ 5496 h 107950"/>
                <a:gd name="connsiteX6" fmla="*/ 148368 w 152400"/>
                <a:gd name="connsiteY6" fmla="*/ 5496 h 107950"/>
                <a:gd name="connsiteX7" fmla="*/ 111538 w 152400"/>
                <a:gd name="connsiteY7" fmla="*/ 25816 h 107950"/>
                <a:gd name="connsiteX8" fmla="*/ 87407 w 152400"/>
                <a:gd name="connsiteY8" fmla="*/ 51851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07950">
                  <a:moveTo>
                    <a:pt x="87407" y="51851"/>
                  </a:moveTo>
                  <a:cubicBezTo>
                    <a:pt x="71532" y="62011"/>
                    <a:pt x="55023" y="71536"/>
                    <a:pt x="39782" y="82331"/>
                  </a:cubicBezTo>
                  <a:cubicBezTo>
                    <a:pt x="29623" y="89316"/>
                    <a:pt x="20098" y="112811"/>
                    <a:pt x="9938" y="105826"/>
                  </a:cubicBezTo>
                  <a:cubicBezTo>
                    <a:pt x="-1493" y="98206"/>
                    <a:pt x="8668" y="77251"/>
                    <a:pt x="15018" y="65186"/>
                  </a:cubicBezTo>
                  <a:cubicBezTo>
                    <a:pt x="48038" y="2956"/>
                    <a:pt x="34703" y="44866"/>
                    <a:pt x="65818" y="34706"/>
                  </a:cubicBezTo>
                  <a:cubicBezTo>
                    <a:pt x="91218" y="26451"/>
                    <a:pt x="115348" y="14386"/>
                    <a:pt x="140748" y="5496"/>
                  </a:cubicBezTo>
                  <a:cubicBezTo>
                    <a:pt x="143288" y="4861"/>
                    <a:pt x="150273" y="4226"/>
                    <a:pt x="148368" y="5496"/>
                  </a:cubicBezTo>
                  <a:cubicBezTo>
                    <a:pt x="136938" y="13751"/>
                    <a:pt x="122332" y="17561"/>
                    <a:pt x="111538" y="25816"/>
                  </a:cubicBezTo>
                  <a:cubicBezTo>
                    <a:pt x="101378" y="33436"/>
                    <a:pt x="87407" y="51851"/>
                    <a:pt x="87407" y="518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8" name="任意多边形: 形状 9797">
              <a:extLst>
                <a:ext uri="{FF2B5EF4-FFF2-40B4-BE49-F238E27FC236}">
                  <a16:creationId xmlns:a16="http://schemas.microsoft.com/office/drawing/2014/main" id="{BC8A93FD-EF71-4F28-966F-8E26AD7590D3}"/>
                </a:ext>
              </a:extLst>
            </p:cNvPr>
            <p:cNvSpPr/>
            <p:nvPr/>
          </p:nvSpPr>
          <p:spPr>
            <a:xfrm>
              <a:off x="7624128" y="1437957"/>
              <a:ext cx="12700" cy="19050"/>
            </a:xfrm>
            <a:custGeom>
              <a:avLst/>
              <a:gdLst>
                <a:gd name="connsiteX0" fmla="*/ 4763 w 12700"/>
                <a:gd name="connsiteY0" fmla="*/ 18098 h 19050"/>
                <a:gd name="connsiteX1" fmla="*/ 13653 w 12700"/>
                <a:gd name="connsiteY1" fmla="*/ 4763 h 19050"/>
                <a:gd name="connsiteX2" fmla="*/ 4763 w 12700"/>
                <a:gd name="connsiteY2" fmla="*/ 18098 h 19050"/>
                <a:gd name="connsiteX3" fmla="*/ 4763 w 12700"/>
                <a:gd name="connsiteY3" fmla="*/ 1809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" h="19050">
                  <a:moveTo>
                    <a:pt x="4763" y="18098"/>
                  </a:moveTo>
                  <a:cubicBezTo>
                    <a:pt x="7938" y="13653"/>
                    <a:pt x="13653" y="4763"/>
                    <a:pt x="13653" y="4763"/>
                  </a:cubicBezTo>
                  <a:cubicBezTo>
                    <a:pt x="13653" y="4763"/>
                    <a:pt x="7938" y="13653"/>
                    <a:pt x="4763" y="18098"/>
                  </a:cubicBezTo>
                  <a:lnTo>
                    <a:pt x="4763" y="180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9" name="任意多边形: 形状 9798">
              <a:extLst>
                <a:ext uri="{FF2B5EF4-FFF2-40B4-BE49-F238E27FC236}">
                  <a16:creationId xmlns:a16="http://schemas.microsoft.com/office/drawing/2014/main" id="{A823084F-5F18-4F77-87D3-E9E2352870FC}"/>
                </a:ext>
              </a:extLst>
            </p:cNvPr>
            <p:cNvSpPr/>
            <p:nvPr/>
          </p:nvSpPr>
          <p:spPr>
            <a:xfrm>
              <a:off x="7616507" y="1429068"/>
              <a:ext cx="19050" cy="25400"/>
            </a:xfrm>
            <a:custGeom>
              <a:avLst/>
              <a:gdLst>
                <a:gd name="connsiteX0" fmla="*/ 4763 w 19050"/>
                <a:gd name="connsiteY0" fmla="*/ 20638 h 25400"/>
                <a:gd name="connsiteX1" fmla="*/ 14923 w 19050"/>
                <a:gd name="connsiteY1" fmla="*/ 4763 h 25400"/>
                <a:gd name="connsiteX2" fmla="*/ 4763 w 19050"/>
                <a:gd name="connsiteY2" fmla="*/ 20638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25400">
                  <a:moveTo>
                    <a:pt x="4763" y="20638"/>
                  </a:moveTo>
                  <a:cubicBezTo>
                    <a:pt x="7938" y="15557"/>
                    <a:pt x="14923" y="4763"/>
                    <a:pt x="14923" y="4763"/>
                  </a:cubicBezTo>
                  <a:cubicBezTo>
                    <a:pt x="14923" y="4763"/>
                    <a:pt x="7938" y="15557"/>
                    <a:pt x="4763" y="206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0" name="任意多边形: 形状 9809">
              <a:extLst>
                <a:ext uri="{FF2B5EF4-FFF2-40B4-BE49-F238E27FC236}">
                  <a16:creationId xmlns:a16="http://schemas.microsoft.com/office/drawing/2014/main" id="{A6DCD5AA-8208-4695-8909-D634FF1380F8}"/>
                </a:ext>
              </a:extLst>
            </p:cNvPr>
            <p:cNvSpPr/>
            <p:nvPr/>
          </p:nvSpPr>
          <p:spPr>
            <a:xfrm>
              <a:off x="6973962" y="2134228"/>
              <a:ext cx="184150" cy="273050"/>
            </a:xfrm>
            <a:custGeom>
              <a:avLst/>
              <a:gdLst>
                <a:gd name="connsiteX0" fmla="*/ 185028 w 184150"/>
                <a:gd name="connsiteY0" fmla="*/ 12707 h 273050"/>
                <a:gd name="connsiteX1" fmla="*/ 94222 w 184150"/>
                <a:gd name="connsiteY1" fmla="*/ 75572 h 273050"/>
                <a:gd name="connsiteX2" fmla="*/ 87238 w 184150"/>
                <a:gd name="connsiteY2" fmla="*/ 123832 h 273050"/>
                <a:gd name="connsiteX3" fmla="*/ 115813 w 184150"/>
                <a:gd name="connsiteY3" fmla="*/ 147962 h 273050"/>
                <a:gd name="connsiteX4" fmla="*/ 89143 w 184150"/>
                <a:gd name="connsiteY4" fmla="*/ 156852 h 273050"/>
                <a:gd name="connsiteX5" fmla="*/ 91682 w 184150"/>
                <a:gd name="connsiteY5" fmla="*/ 172093 h 273050"/>
                <a:gd name="connsiteX6" fmla="*/ 75172 w 184150"/>
                <a:gd name="connsiteY6" fmla="*/ 173997 h 273050"/>
                <a:gd name="connsiteX7" fmla="*/ 94222 w 184150"/>
                <a:gd name="connsiteY7" fmla="*/ 188602 h 273050"/>
                <a:gd name="connsiteX8" fmla="*/ 48503 w 184150"/>
                <a:gd name="connsiteY8" fmla="*/ 220987 h 273050"/>
                <a:gd name="connsiteX9" fmla="*/ 78982 w 184150"/>
                <a:gd name="connsiteY9" fmla="*/ 211462 h 273050"/>
                <a:gd name="connsiteX10" fmla="*/ 56122 w 184150"/>
                <a:gd name="connsiteY10" fmla="*/ 225432 h 273050"/>
                <a:gd name="connsiteX11" fmla="*/ 51043 w 184150"/>
                <a:gd name="connsiteY11" fmla="*/ 236227 h 273050"/>
                <a:gd name="connsiteX12" fmla="*/ 23738 w 184150"/>
                <a:gd name="connsiteY12" fmla="*/ 271152 h 273050"/>
                <a:gd name="connsiteX13" fmla="*/ 18022 w 184150"/>
                <a:gd name="connsiteY13" fmla="*/ 260993 h 273050"/>
                <a:gd name="connsiteX14" fmla="*/ 38343 w 184150"/>
                <a:gd name="connsiteY14" fmla="*/ 237497 h 273050"/>
                <a:gd name="connsiteX15" fmla="*/ 56757 w 184150"/>
                <a:gd name="connsiteY15" fmla="*/ 193682 h 273050"/>
                <a:gd name="connsiteX16" fmla="*/ 38978 w 184150"/>
                <a:gd name="connsiteY16" fmla="*/ 210193 h 273050"/>
                <a:gd name="connsiteX17" fmla="*/ 8497 w 184150"/>
                <a:gd name="connsiteY17" fmla="*/ 216543 h 273050"/>
                <a:gd name="connsiteX18" fmla="*/ 7228 w 184150"/>
                <a:gd name="connsiteY18" fmla="*/ 200032 h 273050"/>
                <a:gd name="connsiteX19" fmla="*/ 44057 w 184150"/>
                <a:gd name="connsiteY19" fmla="*/ 162568 h 273050"/>
                <a:gd name="connsiteX20" fmla="*/ 19928 w 184150"/>
                <a:gd name="connsiteY20" fmla="*/ 160662 h 273050"/>
                <a:gd name="connsiteX21" fmla="*/ 44693 w 184150"/>
                <a:gd name="connsiteY21" fmla="*/ 91447 h 273050"/>
                <a:gd name="connsiteX22" fmla="*/ 39613 w 184150"/>
                <a:gd name="connsiteY22" fmla="*/ 72397 h 273050"/>
                <a:gd name="connsiteX23" fmla="*/ 51678 w 184150"/>
                <a:gd name="connsiteY23" fmla="*/ 71127 h 273050"/>
                <a:gd name="connsiteX24" fmla="*/ 44057 w 184150"/>
                <a:gd name="connsiteY24" fmla="*/ 81287 h 273050"/>
                <a:gd name="connsiteX25" fmla="*/ 134863 w 184150"/>
                <a:gd name="connsiteY25" fmla="*/ 26043 h 273050"/>
                <a:gd name="connsiteX26" fmla="*/ 165978 w 184150"/>
                <a:gd name="connsiteY26" fmla="*/ 5087 h 273050"/>
                <a:gd name="connsiteX27" fmla="*/ 185028 w 184150"/>
                <a:gd name="connsiteY27" fmla="*/ 12707 h 27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4150" h="273050">
                  <a:moveTo>
                    <a:pt x="185028" y="12707"/>
                  </a:moveTo>
                  <a:cubicBezTo>
                    <a:pt x="169153" y="27312"/>
                    <a:pt x="98032" y="69857"/>
                    <a:pt x="94222" y="75572"/>
                  </a:cubicBezTo>
                  <a:cubicBezTo>
                    <a:pt x="84697" y="88907"/>
                    <a:pt x="82793" y="108593"/>
                    <a:pt x="87238" y="123832"/>
                  </a:cubicBezTo>
                  <a:cubicBezTo>
                    <a:pt x="91047" y="135897"/>
                    <a:pt x="115178" y="135262"/>
                    <a:pt x="115813" y="147962"/>
                  </a:cubicBezTo>
                  <a:cubicBezTo>
                    <a:pt x="116447" y="157487"/>
                    <a:pt x="95493" y="150502"/>
                    <a:pt x="89143" y="156852"/>
                  </a:cubicBezTo>
                  <a:cubicBezTo>
                    <a:pt x="85332" y="160662"/>
                    <a:pt x="94857" y="168282"/>
                    <a:pt x="91682" y="172093"/>
                  </a:cubicBezTo>
                  <a:cubicBezTo>
                    <a:pt x="87872" y="176537"/>
                    <a:pt x="74538" y="168282"/>
                    <a:pt x="75172" y="173997"/>
                  </a:cubicBezTo>
                  <a:cubicBezTo>
                    <a:pt x="76443" y="182252"/>
                    <a:pt x="96128" y="180982"/>
                    <a:pt x="94222" y="188602"/>
                  </a:cubicBezTo>
                  <a:cubicBezTo>
                    <a:pt x="86603" y="214637"/>
                    <a:pt x="21197" y="115577"/>
                    <a:pt x="48503" y="220987"/>
                  </a:cubicBezTo>
                  <a:cubicBezTo>
                    <a:pt x="51043" y="231147"/>
                    <a:pt x="69457" y="206382"/>
                    <a:pt x="78982" y="211462"/>
                  </a:cubicBezTo>
                  <a:cubicBezTo>
                    <a:pt x="86603" y="215907"/>
                    <a:pt x="62472" y="219082"/>
                    <a:pt x="56122" y="225432"/>
                  </a:cubicBezTo>
                  <a:cubicBezTo>
                    <a:pt x="52947" y="227972"/>
                    <a:pt x="52947" y="233052"/>
                    <a:pt x="51043" y="236227"/>
                  </a:cubicBezTo>
                  <a:cubicBezTo>
                    <a:pt x="42788" y="248293"/>
                    <a:pt x="35803" y="262262"/>
                    <a:pt x="23738" y="271152"/>
                  </a:cubicBezTo>
                  <a:cubicBezTo>
                    <a:pt x="20563" y="273693"/>
                    <a:pt x="16118" y="264168"/>
                    <a:pt x="18022" y="260993"/>
                  </a:cubicBezTo>
                  <a:cubicBezTo>
                    <a:pt x="21832" y="251468"/>
                    <a:pt x="33263" y="246387"/>
                    <a:pt x="38343" y="237497"/>
                  </a:cubicBezTo>
                  <a:cubicBezTo>
                    <a:pt x="45963" y="224162"/>
                    <a:pt x="56757" y="209557"/>
                    <a:pt x="56757" y="193682"/>
                  </a:cubicBezTo>
                  <a:cubicBezTo>
                    <a:pt x="56757" y="185427"/>
                    <a:pt x="45963" y="207018"/>
                    <a:pt x="38978" y="210193"/>
                  </a:cubicBezTo>
                  <a:cubicBezTo>
                    <a:pt x="29453" y="214637"/>
                    <a:pt x="18022" y="219718"/>
                    <a:pt x="8497" y="216543"/>
                  </a:cubicBezTo>
                  <a:cubicBezTo>
                    <a:pt x="3418" y="214637"/>
                    <a:pt x="4053" y="204477"/>
                    <a:pt x="7228" y="200032"/>
                  </a:cubicBezTo>
                  <a:cubicBezTo>
                    <a:pt x="16753" y="185427"/>
                    <a:pt x="38978" y="179077"/>
                    <a:pt x="44057" y="162568"/>
                  </a:cubicBezTo>
                  <a:cubicBezTo>
                    <a:pt x="46597" y="154947"/>
                    <a:pt x="24372" y="167647"/>
                    <a:pt x="19928" y="160662"/>
                  </a:cubicBezTo>
                  <a:cubicBezTo>
                    <a:pt x="-7378" y="122562"/>
                    <a:pt x="33263" y="117482"/>
                    <a:pt x="44693" y="91447"/>
                  </a:cubicBezTo>
                  <a:cubicBezTo>
                    <a:pt x="47232" y="85097"/>
                    <a:pt x="37072" y="78747"/>
                    <a:pt x="39613" y="72397"/>
                  </a:cubicBezTo>
                  <a:cubicBezTo>
                    <a:pt x="40882" y="68587"/>
                    <a:pt x="49772" y="67952"/>
                    <a:pt x="51678" y="71127"/>
                  </a:cubicBezTo>
                  <a:cubicBezTo>
                    <a:pt x="53582" y="74937"/>
                    <a:pt x="40247" y="82557"/>
                    <a:pt x="44057" y="81287"/>
                  </a:cubicBezTo>
                  <a:cubicBezTo>
                    <a:pt x="63743" y="72397"/>
                    <a:pt x="114543" y="38107"/>
                    <a:pt x="134863" y="26043"/>
                  </a:cubicBezTo>
                  <a:cubicBezTo>
                    <a:pt x="145657" y="19693"/>
                    <a:pt x="153913" y="8262"/>
                    <a:pt x="165978" y="5087"/>
                  </a:cubicBezTo>
                  <a:cubicBezTo>
                    <a:pt x="171057" y="3182"/>
                    <a:pt x="178043" y="10168"/>
                    <a:pt x="185028" y="127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1" name="任意多边形: 形状 9810">
              <a:extLst>
                <a:ext uri="{FF2B5EF4-FFF2-40B4-BE49-F238E27FC236}">
                  <a16:creationId xmlns:a16="http://schemas.microsoft.com/office/drawing/2014/main" id="{65FE2515-5D55-4E67-8DCF-96CB9F7D9A9F}"/>
                </a:ext>
              </a:extLst>
            </p:cNvPr>
            <p:cNvSpPr/>
            <p:nvPr/>
          </p:nvSpPr>
          <p:spPr>
            <a:xfrm>
              <a:off x="6891935" y="2250758"/>
              <a:ext cx="50800" cy="57150"/>
            </a:xfrm>
            <a:custGeom>
              <a:avLst/>
              <a:gdLst>
                <a:gd name="connsiteX0" fmla="*/ 51156 w 50800"/>
                <a:gd name="connsiteY0" fmla="*/ 4763 h 57150"/>
                <a:gd name="connsiteX1" fmla="*/ 5435 w 50800"/>
                <a:gd name="connsiteY1" fmla="*/ 35242 h 57150"/>
                <a:gd name="connsiteX2" fmla="*/ 21310 w 50800"/>
                <a:gd name="connsiteY2" fmla="*/ 52388 h 57150"/>
                <a:gd name="connsiteX3" fmla="*/ 51156 w 50800"/>
                <a:gd name="connsiteY3" fmla="*/ 476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57150">
                  <a:moveTo>
                    <a:pt x="51156" y="4763"/>
                  </a:moveTo>
                  <a:cubicBezTo>
                    <a:pt x="35915" y="14922"/>
                    <a:pt x="15596" y="20002"/>
                    <a:pt x="5435" y="35242"/>
                  </a:cubicBezTo>
                  <a:cubicBezTo>
                    <a:pt x="1625" y="41592"/>
                    <a:pt x="14960" y="56832"/>
                    <a:pt x="21310" y="52388"/>
                  </a:cubicBezTo>
                  <a:cubicBezTo>
                    <a:pt x="37185" y="42227"/>
                    <a:pt x="51156" y="4763"/>
                    <a:pt x="51156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9" name="任意多边形: 形状 9818">
              <a:extLst>
                <a:ext uri="{FF2B5EF4-FFF2-40B4-BE49-F238E27FC236}">
                  <a16:creationId xmlns:a16="http://schemas.microsoft.com/office/drawing/2014/main" id="{9C6B6D7D-1EF6-4679-955E-8581CE0C18B5}"/>
                </a:ext>
              </a:extLst>
            </p:cNvPr>
            <p:cNvSpPr/>
            <p:nvPr/>
          </p:nvSpPr>
          <p:spPr>
            <a:xfrm>
              <a:off x="11225222" y="3816667"/>
              <a:ext cx="31750" cy="50800"/>
            </a:xfrm>
            <a:custGeom>
              <a:avLst/>
              <a:gdLst>
                <a:gd name="connsiteX0" fmla="*/ 33328 w 31750"/>
                <a:gd name="connsiteY0" fmla="*/ 4763 h 50800"/>
                <a:gd name="connsiteX1" fmla="*/ 7928 w 31750"/>
                <a:gd name="connsiteY1" fmla="*/ 51117 h 50800"/>
                <a:gd name="connsiteX2" fmla="*/ 16819 w 31750"/>
                <a:gd name="connsiteY2" fmla="*/ 18098 h 50800"/>
                <a:gd name="connsiteX3" fmla="*/ 33328 w 31750"/>
                <a:gd name="connsiteY3" fmla="*/ 476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50800">
                  <a:moveTo>
                    <a:pt x="33328" y="4763"/>
                  </a:moveTo>
                  <a:cubicBezTo>
                    <a:pt x="25073" y="20003"/>
                    <a:pt x="21898" y="40323"/>
                    <a:pt x="7928" y="51117"/>
                  </a:cubicBezTo>
                  <a:cubicBezTo>
                    <a:pt x="-962" y="58103"/>
                    <a:pt x="11103" y="28258"/>
                    <a:pt x="16819" y="18098"/>
                  </a:cubicBezTo>
                  <a:cubicBezTo>
                    <a:pt x="19994" y="11748"/>
                    <a:pt x="33328" y="4763"/>
                    <a:pt x="33328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0" name="任意多边形: 形状 9819">
              <a:extLst>
                <a:ext uri="{FF2B5EF4-FFF2-40B4-BE49-F238E27FC236}">
                  <a16:creationId xmlns:a16="http://schemas.microsoft.com/office/drawing/2014/main" id="{0B59AE0D-66EB-4A9C-A16F-F64676388C91}"/>
                </a:ext>
              </a:extLst>
            </p:cNvPr>
            <p:cNvSpPr/>
            <p:nvPr/>
          </p:nvSpPr>
          <p:spPr>
            <a:xfrm>
              <a:off x="11793896" y="3076744"/>
              <a:ext cx="12700" cy="19050"/>
            </a:xfrm>
            <a:custGeom>
              <a:avLst/>
              <a:gdLst>
                <a:gd name="connsiteX0" fmla="*/ 5674 w 12700"/>
                <a:gd name="connsiteY0" fmla="*/ 4911 h 19050"/>
                <a:gd name="connsiteX1" fmla="*/ 8849 w 12700"/>
                <a:gd name="connsiteY1" fmla="*/ 1697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0" h="19050">
                  <a:moveTo>
                    <a:pt x="5674" y="4911"/>
                  </a:moveTo>
                  <a:cubicBezTo>
                    <a:pt x="1864" y="3006"/>
                    <a:pt x="11389" y="20151"/>
                    <a:pt x="8849" y="1697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1" name="任意多边形: 形状 9820">
              <a:extLst>
                <a:ext uri="{FF2B5EF4-FFF2-40B4-BE49-F238E27FC236}">
                  <a16:creationId xmlns:a16="http://schemas.microsoft.com/office/drawing/2014/main" id="{79C9FC06-7D0B-4886-ABFE-57D5C11DE4CC}"/>
                </a:ext>
              </a:extLst>
            </p:cNvPr>
            <p:cNvSpPr/>
            <p:nvPr/>
          </p:nvSpPr>
          <p:spPr>
            <a:xfrm>
              <a:off x="10788968" y="4691063"/>
              <a:ext cx="6350" cy="12700"/>
            </a:xfrm>
            <a:custGeom>
              <a:avLst/>
              <a:gdLst>
                <a:gd name="connsiteX0" fmla="*/ 6032 w 6350"/>
                <a:gd name="connsiteY0" fmla="*/ 4763 h 12700"/>
                <a:gd name="connsiteX1" fmla="*/ 4763 w 6350"/>
                <a:gd name="connsiteY1" fmla="*/ 11747 h 12700"/>
                <a:gd name="connsiteX2" fmla="*/ 6032 w 6350"/>
                <a:gd name="connsiteY2" fmla="*/ 4763 h 12700"/>
                <a:gd name="connsiteX3" fmla="*/ 6032 w 6350"/>
                <a:gd name="connsiteY3" fmla="*/ 4763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12700">
                  <a:moveTo>
                    <a:pt x="6032" y="4763"/>
                  </a:moveTo>
                  <a:cubicBezTo>
                    <a:pt x="5397" y="7303"/>
                    <a:pt x="4763" y="11747"/>
                    <a:pt x="4763" y="11747"/>
                  </a:cubicBezTo>
                  <a:cubicBezTo>
                    <a:pt x="4763" y="11747"/>
                    <a:pt x="5397" y="6667"/>
                    <a:pt x="6032" y="4763"/>
                  </a:cubicBezTo>
                  <a:lnTo>
                    <a:pt x="6032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2" name="任意多边形: 形状 9821">
              <a:extLst>
                <a:ext uri="{FF2B5EF4-FFF2-40B4-BE49-F238E27FC236}">
                  <a16:creationId xmlns:a16="http://schemas.microsoft.com/office/drawing/2014/main" id="{62F4CACA-12F5-4B78-A3A3-B2C49803ACC9}"/>
                </a:ext>
              </a:extLst>
            </p:cNvPr>
            <p:cNvSpPr/>
            <p:nvPr/>
          </p:nvSpPr>
          <p:spPr>
            <a:xfrm>
              <a:off x="11812768" y="3906630"/>
              <a:ext cx="25400" cy="152400"/>
            </a:xfrm>
            <a:custGeom>
              <a:avLst/>
              <a:gdLst>
                <a:gd name="connsiteX0" fmla="*/ 10297 w 25400"/>
                <a:gd name="connsiteY0" fmla="*/ 105936 h 152400"/>
                <a:gd name="connsiteX1" fmla="*/ 20457 w 25400"/>
                <a:gd name="connsiteY1" fmla="*/ 5605 h 152400"/>
                <a:gd name="connsiteX2" fmla="*/ 16012 w 25400"/>
                <a:gd name="connsiteY2" fmla="*/ 15130 h 152400"/>
                <a:gd name="connsiteX3" fmla="*/ 22362 w 25400"/>
                <a:gd name="connsiteY3" fmla="*/ 50691 h 152400"/>
                <a:gd name="connsiteX4" fmla="*/ 14742 w 25400"/>
                <a:gd name="connsiteY4" fmla="*/ 111650 h 152400"/>
                <a:gd name="connsiteX5" fmla="*/ 8392 w 25400"/>
                <a:gd name="connsiteY5" fmla="*/ 149750 h 152400"/>
                <a:gd name="connsiteX6" fmla="*/ 10297 w 25400"/>
                <a:gd name="connsiteY6" fmla="*/ 10593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0" h="152400">
                  <a:moveTo>
                    <a:pt x="10297" y="105936"/>
                  </a:moveTo>
                  <a:cubicBezTo>
                    <a:pt x="13472" y="72280"/>
                    <a:pt x="17917" y="39261"/>
                    <a:pt x="20457" y="5605"/>
                  </a:cubicBezTo>
                  <a:cubicBezTo>
                    <a:pt x="20457" y="1795"/>
                    <a:pt x="16012" y="11955"/>
                    <a:pt x="16012" y="15130"/>
                  </a:cubicBezTo>
                  <a:cubicBezTo>
                    <a:pt x="16647" y="27195"/>
                    <a:pt x="21726" y="38625"/>
                    <a:pt x="22362" y="50691"/>
                  </a:cubicBezTo>
                  <a:cubicBezTo>
                    <a:pt x="22362" y="58311"/>
                    <a:pt x="17282" y="98316"/>
                    <a:pt x="14742" y="111650"/>
                  </a:cubicBezTo>
                  <a:cubicBezTo>
                    <a:pt x="12837" y="124350"/>
                    <a:pt x="16012" y="159911"/>
                    <a:pt x="8392" y="149750"/>
                  </a:cubicBezTo>
                  <a:cubicBezTo>
                    <a:pt x="-499" y="138320"/>
                    <a:pt x="9662" y="120541"/>
                    <a:pt x="10297" y="1059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3" name="任意多边形: 形状 9822">
              <a:extLst>
                <a:ext uri="{FF2B5EF4-FFF2-40B4-BE49-F238E27FC236}">
                  <a16:creationId xmlns:a16="http://schemas.microsoft.com/office/drawing/2014/main" id="{095B7D0B-4588-499A-8478-15AEEF86E4AF}"/>
                </a:ext>
              </a:extLst>
            </p:cNvPr>
            <p:cNvSpPr/>
            <p:nvPr/>
          </p:nvSpPr>
          <p:spPr>
            <a:xfrm>
              <a:off x="6452553" y="4580572"/>
              <a:ext cx="31750" cy="44450"/>
            </a:xfrm>
            <a:custGeom>
              <a:avLst/>
              <a:gdLst>
                <a:gd name="connsiteX0" fmla="*/ 29527 w 31750"/>
                <a:gd name="connsiteY0" fmla="*/ 42228 h 44450"/>
                <a:gd name="connsiteX1" fmla="*/ 4763 w 31750"/>
                <a:gd name="connsiteY1" fmla="*/ 4763 h 44450"/>
                <a:gd name="connsiteX2" fmla="*/ 29527 w 31750"/>
                <a:gd name="connsiteY2" fmla="*/ 42228 h 44450"/>
                <a:gd name="connsiteX3" fmla="*/ 29527 w 31750"/>
                <a:gd name="connsiteY3" fmla="*/ 4222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44450">
                  <a:moveTo>
                    <a:pt x="29527" y="42228"/>
                  </a:moveTo>
                  <a:cubicBezTo>
                    <a:pt x="21272" y="29528"/>
                    <a:pt x="4763" y="4763"/>
                    <a:pt x="4763" y="4763"/>
                  </a:cubicBezTo>
                  <a:cubicBezTo>
                    <a:pt x="4763" y="4763"/>
                    <a:pt x="21272" y="29528"/>
                    <a:pt x="29527" y="42228"/>
                  </a:cubicBezTo>
                  <a:lnTo>
                    <a:pt x="29527" y="422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4" name="任意多边形: 形状 9823">
              <a:extLst>
                <a:ext uri="{FF2B5EF4-FFF2-40B4-BE49-F238E27FC236}">
                  <a16:creationId xmlns:a16="http://schemas.microsoft.com/office/drawing/2014/main" id="{963A4F4D-2251-46CD-BB22-F8826A98B175}"/>
                </a:ext>
              </a:extLst>
            </p:cNvPr>
            <p:cNvSpPr/>
            <p:nvPr/>
          </p:nvSpPr>
          <p:spPr>
            <a:xfrm>
              <a:off x="6435408" y="4536122"/>
              <a:ext cx="12700" cy="19050"/>
            </a:xfrm>
            <a:custGeom>
              <a:avLst/>
              <a:gdLst>
                <a:gd name="connsiteX0" fmla="*/ 4763 w 12700"/>
                <a:gd name="connsiteY0" fmla="*/ 4763 h 19050"/>
                <a:gd name="connsiteX1" fmla="*/ 7938 w 12700"/>
                <a:gd name="connsiteY1" fmla="*/ 15558 h 19050"/>
                <a:gd name="connsiteX2" fmla="*/ 4763 w 12700"/>
                <a:gd name="connsiteY2" fmla="*/ 4763 h 19050"/>
                <a:gd name="connsiteX3" fmla="*/ 4763 w 12700"/>
                <a:gd name="connsiteY3" fmla="*/ 476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" h="19050">
                  <a:moveTo>
                    <a:pt x="4763" y="4763"/>
                  </a:moveTo>
                  <a:cubicBezTo>
                    <a:pt x="6033" y="8573"/>
                    <a:pt x="7938" y="15558"/>
                    <a:pt x="7938" y="15558"/>
                  </a:cubicBezTo>
                  <a:cubicBezTo>
                    <a:pt x="7938" y="15558"/>
                    <a:pt x="6033" y="8573"/>
                    <a:pt x="4763" y="4763"/>
                  </a:cubicBezTo>
                  <a:lnTo>
                    <a:pt x="4763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5" name="任意多边形: 形状 9824">
              <a:extLst>
                <a:ext uri="{FF2B5EF4-FFF2-40B4-BE49-F238E27FC236}">
                  <a16:creationId xmlns:a16="http://schemas.microsoft.com/office/drawing/2014/main" id="{CAD73D7C-0789-4CA4-89A2-537D5F54C93D}"/>
                </a:ext>
              </a:extLst>
            </p:cNvPr>
            <p:cNvSpPr/>
            <p:nvPr/>
          </p:nvSpPr>
          <p:spPr>
            <a:xfrm>
              <a:off x="10544493" y="5630221"/>
              <a:ext cx="400050" cy="355600"/>
            </a:xfrm>
            <a:custGeom>
              <a:avLst/>
              <a:gdLst>
                <a:gd name="connsiteX0" fmla="*/ 4763 w 400050"/>
                <a:gd name="connsiteY0" fmla="*/ 351479 h 355600"/>
                <a:gd name="connsiteX1" fmla="*/ 83502 w 400050"/>
                <a:gd name="connsiteY1" fmla="*/ 293694 h 355600"/>
                <a:gd name="connsiteX2" fmla="*/ 101282 w 400050"/>
                <a:gd name="connsiteY2" fmla="*/ 264484 h 355600"/>
                <a:gd name="connsiteX3" fmla="*/ 144463 w 400050"/>
                <a:gd name="connsiteY3" fmla="*/ 223844 h 355600"/>
                <a:gd name="connsiteX4" fmla="*/ 224472 w 400050"/>
                <a:gd name="connsiteY4" fmla="*/ 170504 h 355600"/>
                <a:gd name="connsiteX5" fmla="*/ 254317 w 400050"/>
                <a:gd name="connsiteY5" fmla="*/ 142564 h 355600"/>
                <a:gd name="connsiteX6" fmla="*/ 249238 w 400050"/>
                <a:gd name="connsiteY6" fmla="*/ 149549 h 355600"/>
                <a:gd name="connsiteX7" fmla="*/ 300038 w 400050"/>
                <a:gd name="connsiteY7" fmla="*/ 106369 h 355600"/>
                <a:gd name="connsiteX8" fmla="*/ 294957 w 400050"/>
                <a:gd name="connsiteY8" fmla="*/ 105734 h 355600"/>
                <a:gd name="connsiteX9" fmla="*/ 352107 w 400050"/>
                <a:gd name="connsiteY9" fmla="*/ 53029 h 355600"/>
                <a:gd name="connsiteX10" fmla="*/ 391477 w 400050"/>
                <a:gd name="connsiteY10" fmla="*/ 4769 h 355600"/>
                <a:gd name="connsiteX11" fmla="*/ 345122 w 400050"/>
                <a:gd name="connsiteY11" fmla="*/ 81604 h 355600"/>
                <a:gd name="connsiteX12" fmla="*/ 329882 w 400050"/>
                <a:gd name="connsiteY12" fmla="*/ 103829 h 355600"/>
                <a:gd name="connsiteX13" fmla="*/ 105092 w 400050"/>
                <a:gd name="connsiteY13" fmla="*/ 293059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0050" h="355600">
                  <a:moveTo>
                    <a:pt x="4763" y="351479"/>
                  </a:moveTo>
                  <a:cubicBezTo>
                    <a:pt x="8572" y="348939"/>
                    <a:pt x="79057" y="298139"/>
                    <a:pt x="83502" y="293694"/>
                  </a:cubicBezTo>
                  <a:cubicBezTo>
                    <a:pt x="91757" y="285439"/>
                    <a:pt x="93663" y="272739"/>
                    <a:pt x="101282" y="264484"/>
                  </a:cubicBezTo>
                  <a:cubicBezTo>
                    <a:pt x="113982" y="249879"/>
                    <a:pt x="129222" y="236544"/>
                    <a:pt x="144463" y="223844"/>
                  </a:cubicBezTo>
                  <a:cubicBezTo>
                    <a:pt x="168592" y="204794"/>
                    <a:pt x="201613" y="189554"/>
                    <a:pt x="224472" y="170504"/>
                  </a:cubicBezTo>
                  <a:cubicBezTo>
                    <a:pt x="235267" y="161614"/>
                    <a:pt x="244157" y="151454"/>
                    <a:pt x="254317" y="142564"/>
                  </a:cubicBezTo>
                  <a:cubicBezTo>
                    <a:pt x="256222" y="140659"/>
                    <a:pt x="246697" y="151454"/>
                    <a:pt x="249238" y="149549"/>
                  </a:cubicBezTo>
                  <a:cubicBezTo>
                    <a:pt x="266382" y="135579"/>
                    <a:pt x="284163" y="121609"/>
                    <a:pt x="300038" y="106369"/>
                  </a:cubicBezTo>
                  <a:cubicBezTo>
                    <a:pt x="301307" y="105099"/>
                    <a:pt x="293688" y="107639"/>
                    <a:pt x="294957" y="105734"/>
                  </a:cubicBezTo>
                  <a:cubicBezTo>
                    <a:pt x="310832" y="85414"/>
                    <a:pt x="333692" y="71444"/>
                    <a:pt x="352107" y="53029"/>
                  </a:cubicBezTo>
                  <a:cubicBezTo>
                    <a:pt x="357822" y="47314"/>
                    <a:pt x="390842" y="4134"/>
                    <a:pt x="391477" y="4769"/>
                  </a:cubicBezTo>
                  <a:cubicBezTo>
                    <a:pt x="414338" y="39059"/>
                    <a:pt x="357822" y="68269"/>
                    <a:pt x="345122" y="81604"/>
                  </a:cubicBezTo>
                  <a:cubicBezTo>
                    <a:pt x="338772" y="87954"/>
                    <a:pt x="335597" y="97479"/>
                    <a:pt x="329882" y="103829"/>
                  </a:cubicBezTo>
                  <a:cubicBezTo>
                    <a:pt x="266382" y="176219"/>
                    <a:pt x="184467" y="238449"/>
                    <a:pt x="105092" y="29305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6" name="任意多边形: 形状 9825">
              <a:extLst>
                <a:ext uri="{FF2B5EF4-FFF2-40B4-BE49-F238E27FC236}">
                  <a16:creationId xmlns:a16="http://schemas.microsoft.com/office/drawing/2014/main" id="{883CEF06-46C5-4C4C-A6C3-E400B07A8094}"/>
                </a:ext>
              </a:extLst>
            </p:cNvPr>
            <p:cNvSpPr/>
            <p:nvPr/>
          </p:nvSpPr>
          <p:spPr>
            <a:xfrm>
              <a:off x="10538143" y="5976938"/>
              <a:ext cx="12700" cy="19050"/>
            </a:xfrm>
            <a:custGeom>
              <a:avLst/>
              <a:gdLst>
                <a:gd name="connsiteX0" fmla="*/ 4763 w 12700"/>
                <a:gd name="connsiteY0" fmla="*/ 16828 h 19050"/>
                <a:gd name="connsiteX1" fmla="*/ 10477 w 12700"/>
                <a:gd name="connsiteY1" fmla="*/ 4763 h 19050"/>
                <a:gd name="connsiteX2" fmla="*/ 10477 w 12700"/>
                <a:gd name="connsiteY2" fmla="*/ 476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" h="19050">
                  <a:moveTo>
                    <a:pt x="4763" y="16828"/>
                  </a:moveTo>
                  <a:cubicBezTo>
                    <a:pt x="6667" y="13017"/>
                    <a:pt x="8572" y="8572"/>
                    <a:pt x="10477" y="4763"/>
                  </a:cubicBezTo>
                  <a:lnTo>
                    <a:pt x="10477" y="4763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7" name="任意多边形: 形状 9826">
              <a:extLst>
                <a:ext uri="{FF2B5EF4-FFF2-40B4-BE49-F238E27FC236}">
                  <a16:creationId xmlns:a16="http://schemas.microsoft.com/office/drawing/2014/main" id="{0346778E-E898-4AD3-B917-F05B4CA0054C}"/>
                </a:ext>
              </a:extLst>
            </p:cNvPr>
            <p:cNvSpPr/>
            <p:nvPr/>
          </p:nvSpPr>
          <p:spPr>
            <a:xfrm>
              <a:off x="6553168" y="838518"/>
              <a:ext cx="2419350" cy="1587500"/>
            </a:xfrm>
            <a:custGeom>
              <a:avLst/>
              <a:gdLst>
                <a:gd name="connsiteX0" fmla="*/ 5112 w 2419350"/>
                <a:gd name="connsiteY0" fmla="*/ 1582103 h 1587500"/>
                <a:gd name="connsiteX1" fmla="*/ 1664367 w 2419350"/>
                <a:gd name="connsiteY1" fmla="*/ 136207 h 1587500"/>
                <a:gd name="connsiteX2" fmla="*/ 2411127 w 2419350"/>
                <a:gd name="connsiteY2" fmla="*/ 6032 h 1587500"/>
                <a:gd name="connsiteX3" fmla="*/ 2414938 w 2419350"/>
                <a:gd name="connsiteY3" fmla="*/ 4763 h 1587500"/>
                <a:gd name="connsiteX4" fmla="*/ 1981232 w 2419350"/>
                <a:gd name="connsiteY4" fmla="*/ 63182 h 1587500"/>
                <a:gd name="connsiteX5" fmla="*/ 1898682 w 2419350"/>
                <a:gd name="connsiteY5" fmla="*/ 86043 h 1587500"/>
                <a:gd name="connsiteX6" fmla="*/ 1834547 w 2419350"/>
                <a:gd name="connsiteY6" fmla="*/ 112713 h 1587500"/>
                <a:gd name="connsiteX7" fmla="*/ 1799622 w 2419350"/>
                <a:gd name="connsiteY7" fmla="*/ 119063 h 1587500"/>
                <a:gd name="connsiteX8" fmla="*/ 1763427 w 2419350"/>
                <a:gd name="connsiteY8" fmla="*/ 135572 h 1587500"/>
                <a:gd name="connsiteX9" fmla="*/ 1653572 w 2419350"/>
                <a:gd name="connsiteY9" fmla="*/ 173672 h 1587500"/>
                <a:gd name="connsiteX10" fmla="*/ 1625632 w 2419350"/>
                <a:gd name="connsiteY10" fmla="*/ 187643 h 1587500"/>
                <a:gd name="connsiteX11" fmla="*/ 1588167 w 2419350"/>
                <a:gd name="connsiteY11" fmla="*/ 193993 h 1587500"/>
                <a:gd name="connsiteX12" fmla="*/ 1536732 w 2419350"/>
                <a:gd name="connsiteY12" fmla="*/ 221932 h 1587500"/>
                <a:gd name="connsiteX13" fmla="*/ 1532922 w 2419350"/>
                <a:gd name="connsiteY13" fmla="*/ 228282 h 1587500"/>
                <a:gd name="connsiteX14" fmla="*/ 1492917 w 2419350"/>
                <a:gd name="connsiteY14" fmla="*/ 243522 h 1587500"/>
                <a:gd name="connsiteX15" fmla="*/ 1527842 w 2419350"/>
                <a:gd name="connsiteY15" fmla="*/ 248602 h 1587500"/>
                <a:gd name="connsiteX16" fmla="*/ 1435132 w 2419350"/>
                <a:gd name="connsiteY16" fmla="*/ 291782 h 1587500"/>
                <a:gd name="connsiteX17" fmla="*/ 1404652 w 2419350"/>
                <a:gd name="connsiteY17" fmla="*/ 318452 h 1587500"/>
                <a:gd name="connsiteX18" fmla="*/ 1385602 w 2419350"/>
                <a:gd name="connsiteY18" fmla="*/ 334327 h 1587500"/>
                <a:gd name="connsiteX19" fmla="*/ 1433227 w 2419350"/>
                <a:gd name="connsiteY19" fmla="*/ 317182 h 1587500"/>
                <a:gd name="connsiteX20" fmla="*/ 1411002 w 2419350"/>
                <a:gd name="connsiteY20" fmla="*/ 331788 h 1587500"/>
                <a:gd name="connsiteX21" fmla="*/ 1361472 w 2419350"/>
                <a:gd name="connsiteY21" fmla="*/ 347027 h 1587500"/>
                <a:gd name="connsiteX22" fmla="*/ 1327817 w 2419350"/>
                <a:gd name="connsiteY22" fmla="*/ 360363 h 1587500"/>
                <a:gd name="connsiteX23" fmla="*/ 1426242 w 2419350"/>
                <a:gd name="connsiteY23" fmla="*/ 344488 h 1587500"/>
                <a:gd name="connsiteX24" fmla="*/ 1417352 w 2419350"/>
                <a:gd name="connsiteY24" fmla="*/ 341947 h 1587500"/>
                <a:gd name="connsiteX25" fmla="*/ 1471327 w 2419350"/>
                <a:gd name="connsiteY25" fmla="*/ 320357 h 1587500"/>
                <a:gd name="connsiteX26" fmla="*/ 1495457 w 2419350"/>
                <a:gd name="connsiteY26" fmla="*/ 310197 h 1587500"/>
                <a:gd name="connsiteX27" fmla="*/ 1507522 w 2419350"/>
                <a:gd name="connsiteY27" fmla="*/ 328613 h 1587500"/>
                <a:gd name="connsiteX28" fmla="*/ 1464977 w 2419350"/>
                <a:gd name="connsiteY28" fmla="*/ 348932 h 1587500"/>
                <a:gd name="connsiteX29" fmla="*/ 1449102 w 2419350"/>
                <a:gd name="connsiteY29" fmla="*/ 343852 h 1587500"/>
                <a:gd name="connsiteX30" fmla="*/ 1433227 w 2419350"/>
                <a:gd name="connsiteY30" fmla="*/ 355282 h 1587500"/>
                <a:gd name="connsiteX31" fmla="*/ 1432592 w 2419350"/>
                <a:gd name="connsiteY31" fmla="*/ 357188 h 1587500"/>
                <a:gd name="connsiteX32" fmla="*/ 1395763 w 2419350"/>
                <a:gd name="connsiteY32" fmla="*/ 375602 h 1587500"/>
                <a:gd name="connsiteX33" fmla="*/ 1364647 w 2419350"/>
                <a:gd name="connsiteY33" fmla="*/ 386397 h 1587500"/>
                <a:gd name="connsiteX34" fmla="*/ 1358932 w 2419350"/>
                <a:gd name="connsiteY34" fmla="*/ 405447 h 1587500"/>
                <a:gd name="connsiteX35" fmla="*/ 1356392 w 2419350"/>
                <a:gd name="connsiteY35" fmla="*/ 401638 h 1587500"/>
                <a:gd name="connsiteX36" fmla="*/ 1299242 w 2419350"/>
                <a:gd name="connsiteY36" fmla="*/ 430847 h 1587500"/>
                <a:gd name="connsiteX37" fmla="*/ 1306227 w 2419350"/>
                <a:gd name="connsiteY37" fmla="*/ 430213 h 1587500"/>
                <a:gd name="connsiteX38" fmla="*/ 1365282 w 2419350"/>
                <a:gd name="connsiteY38" fmla="*/ 418782 h 1587500"/>
                <a:gd name="connsiteX39" fmla="*/ 1361472 w 2419350"/>
                <a:gd name="connsiteY39" fmla="*/ 426402 h 1587500"/>
                <a:gd name="connsiteX40" fmla="*/ 1373538 w 2419350"/>
                <a:gd name="connsiteY40" fmla="*/ 420052 h 1587500"/>
                <a:gd name="connsiteX41" fmla="*/ 1421163 w 2419350"/>
                <a:gd name="connsiteY41" fmla="*/ 401638 h 1587500"/>
                <a:gd name="connsiteX42" fmla="*/ 1397667 w 2419350"/>
                <a:gd name="connsiteY42" fmla="*/ 433388 h 1587500"/>
                <a:gd name="connsiteX43" fmla="*/ 1344327 w 2419350"/>
                <a:gd name="connsiteY43" fmla="*/ 459422 h 1587500"/>
                <a:gd name="connsiteX44" fmla="*/ 1338613 w 2419350"/>
                <a:gd name="connsiteY44" fmla="*/ 450532 h 1587500"/>
                <a:gd name="connsiteX45" fmla="*/ 1323372 w 2419350"/>
                <a:gd name="connsiteY45" fmla="*/ 458788 h 1587500"/>
                <a:gd name="connsiteX46" fmla="*/ 1285907 w 2419350"/>
                <a:gd name="connsiteY46" fmla="*/ 481647 h 1587500"/>
                <a:gd name="connsiteX47" fmla="*/ 1263682 w 2419350"/>
                <a:gd name="connsiteY47" fmla="*/ 487997 h 1587500"/>
                <a:gd name="connsiteX48" fmla="*/ 1274477 w 2419350"/>
                <a:gd name="connsiteY48" fmla="*/ 453707 h 1587500"/>
                <a:gd name="connsiteX49" fmla="*/ 1209707 w 2419350"/>
                <a:gd name="connsiteY49" fmla="*/ 461327 h 1587500"/>
                <a:gd name="connsiteX50" fmla="*/ 1252888 w 2419350"/>
                <a:gd name="connsiteY50" fmla="*/ 427672 h 1587500"/>
                <a:gd name="connsiteX51" fmla="*/ 1266222 w 2419350"/>
                <a:gd name="connsiteY51" fmla="*/ 409893 h 1587500"/>
                <a:gd name="connsiteX52" fmla="*/ 1247807 w 2419350"/>
                <a:gd name="connsiteY52" fmla="*/ 427672 h 1587500"/>
                <a:gd name="connsiteX53" fmla="*/ 1221138 w 2419350"/>
                <a:gd name="connsiteY53" fmla="*/ 444818 h 1587500"/>
                <a:gd name="connsiteX54" fmla="*/ 1203992 w 2419350"/>
                <a:gd name="connsiteY54" fmla="*/ 467043 h 1587500"/>
                <a:gd name="connsiteX55" fmla="*/ 1161447 w 2419350"/>
                <a:gd name="connsiteY55" fmla="*/ 476568 h 1587500"/>
                <a:gd name="connsiteX56" fmla="*/ 1205263 w 2419350"/>
                <a:gd name="connsiteY56" fmla="*/ 416877 h 1587500"/>
                <a:gd name="connsiteX57" fmla="*/ 1191292 w 2419350"/>
                <a:gd name="connsiteY57" fmla="*/ 423227 h 1587500"/>
                <a:gd name="connsiteX58" fmla="*/ 1171607 w 2419350"/>
                <a:gd name="connsiteY58" fmla="*/ 441643 h 1587500"/>
                <a:gd name="connsiteX59" fmla="*/ 1130967 w 2419350"/>
                <a:gd name="connsiteY59" fmla="*/ 469582 h 1587500"/>
                <a:gd name="connsiteX60" fmla="*/ 1124617 w 2419350"/>
                <a:gd name="connsiteY60" fmla="*/ 467043 h 1587500"/>
                <a:gd name="connsiteX61" fmla="*/ 1038257 w 2419350"/>
                <a:gd name="connsiteY61" fmla="*/ 482282 h 1587500"/>
                <a:gd name="connsiteX62" fmla="*/ 974122 w 2419350"/>
                <a:gd name="connsiteY62" fmla="*/ 517843 h 1587500"/>
                <a:gd name="connsiteX63" fmla="*/ 983647 w 2419350"/>
                <a:gd name="connsiteY63" fmla="*/ 513397 h 1587500"/>
                <a:gd name="connsiteX64" fmla="*/ 908717 w 2419350"/>
                <a:gd name="connsiteY64" fmla="*/ 565468 h 1587500"/>
                <a:gd name="connsiteX65" fmla="*/ 896652 w 2419350"/>
                <a:gd name="connsiteY65" fmla="*/ 569277 h 1587500"/>
                <a:gd name="connsiteX66" fmla="*/ 891572 w 2419350"/>
                <a:gd name="connsiteY66" fmla="*/ 585152 h 1587500"/>
                <a:gd name="connsiteX67" fmla="*/ 809657 w 2419350"/>
                <a:gd name="connsiteY67" fmla="*/ 660083 h 1587500"/>
                <a:gd name="connsiteX68" fmla="*/ 783622 w 2419350"/>
                <a:gd name="connsiteY68" fmla="*/ 690563 h 1587500"/>
                <a:gd name="connsiteX69" fmla="*/ 763302 w 2419350"/>
                <a:gd name="connsiteY69" fmla="*/ 710883 h 1587500"/>
                <a:gd name="connsiteX70" fmla="*/ 751238 w 2419350"/>
                <a:gd name="connsiteY70" fmla="*/ 716597 h 1587500"/>
                <a:gd name="connsiteX71" fmla="*/ 734727 w 2419350"/>
                <a:gd name="connsiteY71" fmla="*/ 757238 h 1587500"/>
                <a:gd name="connsiteX72" fmla="*/ 698532 w 2419350"/>
                <a:gd name="connsiteY72" fmla="*/ 780733 h 1587500"/>
                <a:gd name="connsiteX73" fmla="*/ 588677 w 2419350"/>
                <a:gd name="connsiteY73" fmla="*/ 882333 h 1587500"/>
                <a:gd name="connsiteX74" fmla="*/ 544227 w 2419350"/>
                <a:gd name="connsiteY74" fmla="*/ 932497 h 1587500"/>
                <a:gd name="connsiteX75" fmla="*/ 579788 w 2419350"/>
                <a:gd name="connsiteY75" fmla="*/ 903287 h 1587500"/>
                <a:gd name="connsiteX76" fmla="*/ 596297 w 2419350"/>
                <a:gd name="connsiteY76" fmla="*/ 901383 h 1587500"/>
                <a:gd name="connsiteX77" fmla="*/ 629952 w 2419350"/>
                <a:gd name="connsiteY77" fmla="*/ 868362 h 1587500"/>
                <a:gd name="connsiteX78" fmla="*/ 661067 w 2419350"/>
                <a:gd name="connsiteY78" fmla="*/ 846137 h 1587500"/>
                <a:gd name="connsiteX79" fmla="*/ 699167 w 2419350"/>
                <a:gd name="connsiteY79" fmla="*/ 808672 h 1587500"/>
                <a:gd name="connsiteX80" fmla="*/ 728377 w 2419350"/>
                <a:gd name="connsiteY80" fmla="*/ 818833 h 1587500"/>
                <a:gd name="connsiteX81" fmla="*/ 793782 w 2419350"/>
                <a:gd name="connsiteY81" fmla="*/ 781368 h 1587500"/>
                <a:gd name="connsiteX82" fmla="*/ 861092 w 2419350"/>
                <a:gd name="connsiteY82" fmla="*/ 715963 h 1587500"/>
                <a:gd name="connsiteX83" fmla="*/ 922688 w 2419350"/>
                <a:gd name="connsiteY83" fmla="*/ 689927 h 1587500"/>
                <a:gd name="connsiteX84" fmla="*/ 989363 w 2419350"/>
                <a:gd name="connsiteY84" fmla="*/ 654368 h 1587500"/>
                <a:gd name="connsiteX85" fmla="*/ 1028732 w 2419350"/>
                <a:gd name="connsiteY85" fmla="*/ 627063 h 1587500"/>
                <a:gd name="connsiteX86" fmla="*/ 1039527 w 2419350"/>
                <a:gd name="connsiteY86" fmla="*/ 628333 h 1587500"/>
                <a:gd name="connsiteX87" fmla="*/ 1020477 w 2419350"/>
                <a:gd name="connsiteY87" fmla="*/ 658177 h 1587500"/>
                <a:gd name="connsiteX88" fmla="*/ 1014763 w 2419350"/>
                <a:gd name="connsiteY88" fmla="*/ 658177 h 1587500"/>
                <a:gd name="connsiteX89" fmla="*/ 990632 w 2419350"/>
                <a:gd name="connsiteY89" fmla="*/ 715963 h 1587500"/>
                <a:gd name="connsiteX90" fmla="*/ 983013 w 2419350"/>
                <a:gd name="connsiteY90" fmla="*/ 717868 h 1587500"/>
                <a:gd name="connsiteX91" fmla="*/ 963327 w 2419350"/>
                <a:gd name="connsiteY91" fmla="*/ 738188 h 1587500"/>
                <a:gd name="connsiteX92" fmla="*/ 952532 w 2419350"/>
                <a:gd name="connsiteY92" fmla="*/ 773747 h 1587500"/>
                <a:gd name="connsiteX93" fmla="*/ 912527 w 2419350"/>
                <a:gd name="connsiteY93" fmla="*/ 776288 h 1587500"/>
                <a:gd name="connsiteX94" fmla="*/ 908717 w 2419350"/>
                <a:gd name="connsiteY94" fmla="*/ 796608 h 1587500"/>
                <a:gd name="connsiteX95" fmla="*/ 878872 w 2419350"/>
                <a:gd name="connsiteY95" fmla="*/ 815658 h 1587500"/>
                <a:gd name="connsiteX96" fmla="*/ 878872 w 2419350"/>
                <a:gd name="connsiteY96" fmla="*/ 822643 h 1587500"/>
                <a:gd name="connsiteX97" fmla="*/ 845217 w 2419350"/>
                <a:gd name="connsiteY97" fmla="*/ 860743 h 1587500"/>
                <a:gd name="connsiteX98" fmla="*/ 808388 w 2419350"/>
                <a:gd name="connsiteY98" fmla="*/ 868997 h 1587500"/>
                <a:gd name="connsiteX99" fmla="*/ 871252 w 2419350"/>
                <a:gd name="connsiteY99" fmla="*/ 878522 h 1587500"/>
                <a:gd name="connsiteX100" fmla="*/ 893477 w 2419350"/>
                <a:gd name="connsiteY100" fmla="*/ 867728 h 1587500"/>
                <a:gd name="connsiteX101" fmla="*/ 936657 w 2419350"/>
                <a:gd name="connsiteY101" fmla="*/ 849312 h 1587500"/>
                <a:gd name="connsiteX102" fmla="*/ 893477 w 2419350"/>
                <a:gd name="connsiteY102" fmla="*/ 891222 h 1587500"/>
                <a:gd name="connsiteX103" fmla="*/ 891572 w 2419350"/>
                <a:gd name="connsiteY103" fmla="*/ 903922 h 1587500"/>
                <a:gd name="connsiteX104" fmla="*/ 845852 w 2419350"/>
                <a:gd name="connsiteY104" fmla="*/ 933768 h 1587500"/>
                <a:gd name="connsiteX105" fmla="*/ 858552 w 2419350"/>
                <a:gd name="connsiteY105" fmla="*/ 942022 h 1587500"/>
                <a:gd name="connsiteX106" fmla="*/ 833152 w 2419350"/>
                <a:gd name="connsiteY106" fmla="*/ 959168 h 1587500"/>
                <a:gd name="connsiteX107" fmla="*/ 780447 w 2419350"/>
                <a:gd name="connsiteY107" fmla="*/ 1008062 h 1587500"/>
                <a:gd name="connsiteX108" fmla="*/ 782352 w 2419350"/>
                <a:gd name="connsiteY108" fmla="*/ 1001078 h 1587500"/>
                <a:gd name="connsiteX109" fmla="*/ 762667 w 2419350"/>
                <a:gd name="connsiteY109" fmla="*/ 1038543 h 1587500"/>
                <a:gd name="connsiteX110" fmla="*/ 713138 w 2419350"/>
                <a:gd name="connsiteY110" fmla="*/ 1093153 h 1587500"/>
                <a:gd name="connsiteX111" fmla="*/ 728377 w 2419350"/>
                <a:gd name="connsiteY111" fmla="*/ 1090612 h 1587500"/>
                <a:gd name="connsiteX112" fmla="*/ 706788 w 2419350"/>
                <a:gd name="connsiteY112" fmla="*/ 1114108 h 1587500"/>
                <a:gd name="connsiteX113" fmla="*/ 717582 w 2419350"/>
                <a:gd name="connsiteY113" fmla="*/ 1161098 h 1587500"/>
                <a:gd name="connsiteX114" fmla="*/ 692182 w 2419350"/>
                <a:gd name="connsiteY114" fmla="*/ 1174433 h 1587500"/>
                <a:gd name="connsiteX115" fmla="*/ 697263 w 2419350"/>
                <a:gd name="connsiteY115" fmla="*/ 1164273 h 1587500"/>
                <a:gd name="connsiteX116" fmla="*/ 668688 w 2419350"/>
                <a:gd name="connsiteY116" fmla="*/ 1206183 h 1587500"/>
                <a:gd name="connsiteX117" fmla="*/ 633127 w 2419350"/>
                <a:gd name="connsiteY117" fmla="*/ 1284287 h 1587500"/>
                <a:gd name="connsiteX118" fmla="*/ 570263 w 2419350"/>
                <a:gd name="connsiteY118" fmla="*/ 1270953 h 1587500"/>
                <a:gd name="connsiteX119" fmla="*/ 548038 w 2419350"/>
                <a:gd name="connsiteY119" fmla="*/ 1284923 h 1587500"/>
                <a:gd name="connsiteX120" fmla="*/ 519463 w 2419350"/>
                <a:gd name="connsiteY120" fmla="*/ 1286828 h 1587500"/>
                <a:gd name="connsiteX121" fmla="*/ 497872 w 2419350"/>
                <a:gd name="connsiteY121" fmla="*/ 1171258 h 1587500"/>
                <a:gd name="connsiteX122" fmla="*/ 461042 w 2419350"/>
                <a:gd name="connsiteY122" fmla="*/ 1189037 h 1587500"/>
                <a:gd name="connsiteX123" fmla="*/ 428657 w 2419350"/>
                <a:gd name="connsiteY123" fmla="*/ 1154112 h 1587500"/>
                <a:gd name="connsiteX124" fmla="*/ 415322 w 2419350"/>
                <a:gd name="connsiteY124" fmla="*/ 1190308 h 1587500"/>
                <a:gd name="connsiteX125" fmla="*/ 368332 w 2419350"/>
                <a:gd name="connsiteY125" fmla="*/ 1209993 h 1587500"/>
                <a:gd name="connsiteX126" fmla="*/ 376588 w 2419350"/>
                <a:gd name="connsiteY126" fmla="*/ 1215708 h 1587500"/>
                <a:gd name="connsiteX127" fmla="*/ 461677 w 2419350"/>
                <a:gd name="connsiteY127" fmla="*/ 1226503 h 1587500"/>
                <a:gd name="connsiteX128" fmla="*/ 453422 w 2419350"/>
                <a:gd name="connsiteY128" fmla="*/ 1258887 h 1587500"/>
                <a:gd name="connsiteX129" fmla="*/ 436277 w 2419350"/>
                <a:gd name="connsiteY129" fmla="*/ 1278573 h 1587500"/>
                <a:gd name="connsiteX130" fmla="*/ 412147 w 2419350"/>
                <a:gd name="connsiteY130" fmla="*/ 1248093 h 1587500"/>
                <a:gd name="connsiteX131" fmla="*/ 406432 w 2419350"/>
                <a:gd name="connsiteY131" fmla="*/ 1298893 h 1587500"/>
                <a:gd name="connsiteX132" fmla="*/ 381032 w 2419350"/>
                <a:gd name="connsiteY132" fmla="*/ 1310958 h 1587500"/>
                <a:gd name="connsiteX133" fmla="*/ 354997 w 2419350"/>
                <a:gd name="connsiteY133" fmla="*/ 1353503 h 1587500"/>
                <a:gd name="connsiteX134" fmla="*/ 341027 w 2419350"/>
                <a:gd name="connsiteY134" fmla="*/ 1391603 h 1587500"/>
                <a:gd name="connsiteX135" fmla="*/ 333407 w 2419350"/>
                <a:gd name="connsiteY135" fmla="*/ 1470343 h 1587500"/>
                <a:gd name="connsiteX136" fmla="*/ 306102 w 2419350"/>
                <a:gd name="connsiteY136" fmla="*/ 1455103 h 1587500"/>
                <a:gd name="connsiteX137" fmla="*/ 257207 w 2419350"/>
                <a:gd name="connsiteY137" fmla="*/ 1450658 h 1587500"/>
                <a:gd name="connsiteX138" fmla="*/ 287688 w 2419350"/>
                <a:gd name="connsiteY138" fmla="*/ 1398587 h 1587500"/>
                <a:gd name="connsiteX139" fmla="*/ 327057 w 2419350"/>
                <a:gd name="connsiteY139" fmla="*/ 1418273 h 1587500"/>
                <a:gd name="connsiteX140" fmla="*/ 321977 w 2419350"/>
                <a:gd name="connsiteY140" fmla="*/ 1387793 h 1587500"/>
                <a:gd name="connsiteX141" fmla="*/ 348013 w 2419350"/>
                <a:gd name="connsiteY141" fmla="*/ 1362393 h 1587500"/>
                <a:gd name="connsiteX142" fmla="*/ 317532 w 2419350"/>
                <a:gd name="connsiteY142" fmla="*/ 1375093 h 1587500"/>
                <a:gd name="connsiteX143" fmla="*/ 312452 w 2419350"/>
                <a:gd name="connsiteY143" fmla="*/ 1348423 h 1587500"/>
                <a:gd name="connsiteX144" fmla="*/ 295307 w 2419350"/>
                <a:gd name="connsiteY144" fmla="*/ 1368743 h 1587500"/>
                <a:gd name="connsiteX145" fmla="*/ 245142 w 2419350"/>
                <a:gd name="connsiteY145" fmla="*/ 1357312 h 1587500"/>
                <a:gd name="connsiteX146" fmla="*/ 197517 w 2419350"/>
                <a:gd name="connsiteY146" fmla="*/ 1408748 h 1587500"/>
                <a:gd name="connsiteX147" fmla="*/ 194342 w 2419350"/>
                <a:gd name="connsiteY147" fmla="*/ 1400493 h 1587500"/>
                <a:gd name="connsiteX148" fmla="*/ 179738 w 2419350"/>
                <a:gd name="connsiteY148" fmla="*/ 1379537 h 1587500"/>
                <a:gd name="connsiteX149" fmla="*/ 175292 w 2419350"/>
                <a:gd name="connsiteY149" fmla="*/ 1389698 h 1587500"/>
                <a:gd name="connsiteX150" fmla="*/ 139732 w 2419350"/>
                <a:gd name="connsiteY150" fmla="*/ 1423987 h 1587500"/>
                <a:gd name="connsiteX151" fmla="*/ 166402 w 2419350"/>
                <a:gd name="connsiteY151" fmla="*/ 1380173 h 1587500"/>
                <a:gd name="connsiteX152" fmla="*/ 127667 w 2419350"/>
                <a:gd name="connsiteY152" fmla="*/ 1438593 h 1587500"/>
                <a:gd name="connsiteX153" fmla="*/ 99092 w 2419350"/>
                <a:gd name="connsiteY153" fmla="*/ 1467168 h 1587500"/>
                <a:gd name="connsiteX154" fmla="*/ 162592 w 2419350"/>
                <a:gd name="connsiteY154" fmla="*/ 1378903 h 1587500"/>
                <a:gd name="connsiteX155" fmla="*/ 158782 w 2419350"/>
                <a:gd name="connsiteY155" fmla="*/ 1374458 h 1587500"/>
                <a:gd name="connsiteX156" fmla="*/ 133382 w 2419350"/>
                <a:gd name="connsiteY156" fmla="*/ 1412558 h 1587500"/>
                <a:gd name="connsiteX157" fmla="*/ 125127 w 2419350"/>
                <a:gd name="connsiteY157" fmla="*/ 1425258 h 1587500"/>
                <a:gd name="connsiteX158" fmla="*/ 149257 w 2419350"/>
                <a:gd name="connsiteY158" fmla="*/ 1383348 h 1587500"/>
                <a:gd name="connsiteX159" fmla="*/ 152432 w 2419350"/>
                <a:gd name="connsiteY159" fmla="*/ 1378268 h 1587500"/>
                <a:gd name="connsiteX160" fmla="*/ 112427 w 2419350"/>
                <a:gd name="connsiteY160" fmla="*/ 1444308 h 1587500"/>
                <a:gd name="connsiteX161" fmla="*/ 100362 w 2419350"/>
                <a:gd name="connsiteY161" fmla="*/ 1462723 h 1587500"/>
                <a:gd name="connsiteX162" fmla="*/ 113062 w 2419350"/>
                <a:gd name="connsiteY162" fmla="*/ 1431608 h 1587500"/>
                <a:gd name="connsiteX163" fmla="*/ 105442 w 2419350"/>
                <a:gd name="connsiteY163" fmla="*/ 1450023 h 1587500"/>
                <a:gd name="connsiteX164" fmla="*/ 84487 w 2419350"/>
                <a:gd name="connsiteY164" fmla="*/ 1492568 h 1587500"/>
                <a:gd name="connsiteX165" fmla="*/ 64167 w 2419350"/>
                <a:gd name="connsiteY165" fmla="*/ 1528762 h 1587500"/>
                <a:gd name="connsiteX166" fmla="*/ 89567 w 2419350"/>
                <a:gd name="connsiteY166" fmla="*/ 1484312 h 1587500"/>
                <a:gd name="connsiteX167" fmla="*/ 76867 w 2419350"/>
                <a:gd name="connsiteY167" fmla="*/ 1495108 h 1587500"/>
                <a:gd name="connsiteX168" fmla="*/ 62262 w 2419350"/>
                <a:gd name="connsiteY168" fmla="*/ 1530033 h 1587500"/>
                <a:gd name="connsiteX169" fmla="*/ 49562 w 2419350"/>
                <a:gd name="connsiteY169" fmla="*/ 1544637 h 1587500"/>
                <a:gd name="connsiteX170" fmla="*/ 44482 w 2419350"/>
                <a:gd name="connsiteY170" fmla="*/ 1531937 h 1587500"/>
                <a:gd name="connsiteX171" fmla="*/ 12732 w 2419350"/>
                <a:gd name="connsiteY171" fmla="*/ 1578928 h 1587500"/>
                <a:gd name="connsiteX172" fmla="*/ 8287 w 2419350"/>
                <a:gd name="connsiteY172" fmla="*/ 1587818 h 1587500"/>
                <a:gd name="connsiteX173" fmla="*/ 5112 w 2419350"/>
                <a:gd name="connsiteY173" fmla="*/ 1582103 h 1587500"/>
                <a:gd name="connsiteX174" fmla="*/ 5112 w 2419350"/>
                <a:gd name="connsiteY174" fmla="*/ 1582103 h 158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2419350" h="1587500">
                  <a:moveTo>
                    <a:pt x="5112" y="1582103"/>
                  </a:moveTo>
                  <a:cubicBezTo>
                    <a:pt x="334042" y="898843"/>
                    <a:pt x="940467" y="368618"/>
                    <a:pt x="1664367" y="136207"/>
                  </a:cubicBezTo>
                  <a:cubicBezTo>
                    <a:pt x="1907572" y="58102"/>
                    <a:pt x="2156492" y="18097"/>
                    <a:pt x="2411127" y="6032"/>
                  </a:cubicBezTo>
                  <a:lnTo>
                    <a:pt x="2414938" y="4763"/>
                  </a:lnTo>
                  <a:cubicBezTo>
                    <a:pt x="2291113" y="18732"/>
                    <a:pt x="2106963" y="31432"/>
                    <a:pt x="1981232" y="63182"/>
                  </a:cubicBezTo>
                  <a:cubicBezTo>
                    <a:pt x="1953292" y="70168"/>
                    <a:pt x="1925352" y="77152"/>
                    <a:pt x="1898682" y="86043"/>
                  </a:cubicBezTo>
                  <a:cubicBezTo>
                    <a:pt x="1811052" y="115252"/>
                    <a:pt x="1936147" y="86043"/>
                    <a:pt x="1834547" y="112713"/>
                  </a:cubicBezTo>
                  <a:cubicBezTo>
                    <a:pt x="1823117" y="115252"/>
                    <a:pt x="1810417" y="115252"/>
                    <a:pt x="1799622" y="119063"/>
                  </a:cubicBezTo>
                  <a:cubicBezTo>
                    <a:pt x="1786922" y="122872"/>
                    <a:pt x="1775492" y="131127"/>
                    <a:pt x="1763427" y="135572"/>
                  </a:cubicBezTo>
                  <a:cubicBezTo>
                    <a:pt x="1658652" y="175577"/>
                    <a:pt x="1766602" y="127952"/>
                    <a:pt x="1653572" y="173672"/>
                  </a:cubicBezTo>
                  <a:cubicBezTo>
                    <a:pt x="1644047" y="177482"/>
                    <a:pt x="1635157" y="184468"/>
                    <a:pt x="1625632" y="187643"/>
                  </a:cubicBezTo>
                  <a:cubicBezTo>
                    <a:pt x="1613567" y="191452"/>
                    <a:pt x="1600232" y="190182"/>
                    <a:pt x="1588167" y="193993"/>
                  </a:cubicBezTo>
                  <a:cubicBezTo>
                    <a:pt x="1578007" y="197168"/>
                    <a:pt x="1547527" y="213677"/>
                    <a:pt x="1536732" y="221932"/>
                  </a:cubicBezTo>
                  <a:cubicBezTo>
                    <a:pt x="1534827" y="223202"/>
                    <a:pt x="1534827" y="227013"/>
                    <a:pt x="1532922" y="228282"/>
                  </a:cubicBezTo>
                  <a:cubicBezTo>
                    <a:pt x="1520222" y="234632"/>
                    <a:pt x="1505617" y="237807"/>
                    <a:pt x="1492917" y="243522"/>
                  </a:cubicBezTo>
                  <a:cubicBezTo>
                    <a:pt x="1489742" y="244793"/>
                    <a:pt x="1537367" y="232727"/>
                    <a:pt x="1527842" y="248602"/>
                  </a:cubicBezTo>
                  <a:cubicBezTo>
                    <a:pt x="1524032" y="254318"/>
                    <a:pt x="1453547" y="278447"/>
                    <a:pt x="1435132" y="291782"/>
                  </a:cubicBezTo>
                  <a:cubicBezTo>
                    <a:pt x="1424338" y="299402"/>
                    <a:pt x="1414813" y="310197"/>
                    <a:pt x="1404652" y="318452"/>
                  </a:cubicBezTo>
                  <a:cubicBezTo>
                    <a:pt x="1398302" y="323532"/>
                    <a:pt x="1377982" y="334327"/>
                    <a:pt x="1385602" y="334327"/>
                  </a:cubicBezTo>
                  <a:cubicBezTo>
                    <a:pt x="1402113" y="333693"/>
                    <a:pt x="1416082" y="319088"/>
                    <a:pt x="1433227" y="317182"/>
                  </a:cubicBezTo>
                  <a:cubicBezTo>
                    <a:pt x="1442117" y="316547"/>
                    <a:pt x="1419257" y="327977"/>
                    <a:pt x="1411002" y="331788"/>
                  </a:cubicBezTo>
                  <a:cubicBezTo>
                    <a:pt x="1391952" y="340677"/>
                    <a:pt x="1380522" y="340677"/>
                    <a:pt x="1361472" y="347027"/>
                  </a:cubicBezTo>
                  <a:cubicBezTo>
                    <a:pt x="1350042" y="350838"/>
                    <a:pt x="1315752" y="360363"/>
                    <a:pt x="1327817" y="360363"/>
                  </a:cubicBezTo>
                  <a:cubicBezTo>
                    <a:pt x="1360838" y="359093"/>
                    <a:pt x="1393857" y="350838"/>
                    <a:pt x="1426242" y="344488"/>
                  </a:cubicBezTo>
                  <a:cubicBezTo>
                    <a:pt x="1429417" y="343852"/>
                    <a:pt x="1414177" y="343218"/>
                    <a:pt x="1417352" y="341947"/>
                  </a:cubicBezTo>
                  <a:cubicBezTo>
                    <a:pt x="1434497" y="333057"/>
                    <a:pt x="1453547" y="327977"/>
                    <a:pt x="1471327" y="320357"/>
                  </a:cubicBezTo>
                  <a:cubicBezTo>
                    <a:pt x="1479582" y="317182"/>
                    <a:pt x="1486567" y="308293"/>
                    <a:pt x="1495457" y="310197"/>
                  </a:cubicBezTo>
                  <a:cubicBezTo>
                    <a:pt x="1502442" y="311468"/>
                    <a:pt x="1511967" y="322897"/>
                    <a:pt x="1507522" y="328613"/>
                  </a:cubicBezTo>
                  <a:cubicBezTo>
                    <a:pt x="1497363" y="340677"/>
                    <a:pt x="1480217" y="344488"/>
                    <a:pt x="1464977" y="348932"/>
                  </a:cubicBezTo>
                  <a:cubicBezTo>
                    <a:pt x="1459897" y="350202"/>
                    <a:pt x="1454817" y="343218"/>
                    <a:pt x="1449102" y="343852"/>
                  </a:cubicBezTo>
                  <a:cubicBezTo>
                    <a:pt x="1442752" y="345122"/>
                    <a:pt x="1438307" y="351472"/>
                    <a:pt x="1433227" y="355282"/>
                  </a:cubicBezTo>
                  <a:cubicBezTo>
                    <a:pt x="1432592" y="355918"/>
                    <a:pt x="1433227" y="356552"/>
                    <a:pt x="1432592" y="357188"/>
                  </a:cubicBezTo>
                  <a:cubicBezTo>
                    <a:pt x="1420527" y="363538"/>
                    <a:pt x="1408463" y="369888"/>
                    <a:pt x="1395763" y="375602"/>
                  </a:cubicBezTo>
                  <a:cubicBezTo>
                    <a:pt x="1385602" y="380047"/>
                    <a:pt x="1372902" y="379413"/>
                    <a:pt x="1364647" y="386397"/>
                  </a:cubicBezTo>
                  <a:cubicBezTo>
                    <a:pt x="1359567" y="390843"/>
                    <a:pt x="1362107" y="399732"/>
                    <a:pt x="1358932" y="405447"/>
                  </a:cubicBezTo>
                  <a:cubicBezTo>
                    <a:pt x="1358297" y="406718"/>
                    <a:pt x="1357663" y="401002"/>
                    <a:pt x="1356392" y="401638"/>
                  </a:cubicBezTo>
                  <a:cubicBezTo>
                    <a:pt x="1336707" y="409893"/>
                    <a:pt x="1317657" y="420052"/>
                    <a:pt x="1299242" y="430847"/>
                  </a:cubicBezTo>
                  <a:cubicBezTo>
                    <a:pt x="1297338" y="432118"/>
                    <a:pt x="1303688" y="430847"/>
                    <a:pt x="1306227" y="430213"/>
                  </a:cubicBezTo>
                  <a:cubicBezTo>
                    <a:pt x="1325913" y="426402"/>
                    <a:pt x="1344963" y="420052"/>
                    <a:pt x="1365282" y="418782"/>
                  </a:cubicBezTo>
                  <a:cubicBezTo>
                    <a:pt x="1368457" y="418782"/>
                    <a:pt x="1358932" y="426402"/>
                    <a:pt x="1361472" y="426402"/>
                  </a:cubicBezTo>
                  <a:cubicBezTo>
                    <a:pt x="1365917" y="427038"/>
                    <a:pt x="1369727" y="421322"/>
                    <a:pt x="1373538" y="420052"/>
                  </a:cubicBezTo>
                  <a:cubicBezTo>
                    <a:pt x="1389413" y="413702"/>
                    <a:pt x="1405922" y="393382"/>
                    <a:pt x="1421163" y="401638"/>
                  </a:cubicBezTo>
                  <a:cubicBezTo>
                    <a:pt x="1432592" y="407988"/>
                    <a:pt x="1407192" y="424497"/>
                    <a:pt x="1397667" y="433388"/>
                  </a:cubicBezTo>
                  <a:cubicBezTo>
                    <a:pt x="1390047" y="441007"/>
                    <a:pt x="1355757" y="459422"/>
                    <a:pt x="1344327" y="459422"/>
                  </a:cubicBezTo>
                  <a:cubicBezTo>
                    <a:pt x="1340517" y="459422"/>
                    <a:pt x="1342422" y="450532"/>
                    <a:pt x="1338613" y="450532"/>
                  </a:cubicBezTo>
                  <a:cubicBezTo>
                    <a:pt x="1332897" y="450532"/>
                    <a:pt x="1328452" y="455613"/>
                    <a:pt x="1323372" y="458788"/>
                  </a:cubicBezTo>
                  <a:cubicBezTo>
                    <a:pt x="1310672" y="466407"/>
                    <a:pt x="1298607" y="475297"/>
                    <a:pt x="1285907" y="481647"/>
                  </a:cubicBezTo>
                  <a:cubicBezTo>
                    <a:pt x="1278922" y="484822"/>
                    <a:pt x="1266857" y="495618"/>
                    <a:pt x="1263682" y="487997"/>
                  </a:cubicBezTo>
                  <a:cubicBezTo>
                    <a:pt x="1259238" y="477202"/>
                    <a:pt x="1285907" y="455613"/>
                    <a:pt x="1274477" y="453707"/>
                  </a:cubicBezTo>
                  <a:cubicBezTo>
                    <a:pt x="1223042" y="444182"/>
                    <a:pt x="1245267" y="520382"/>
                    <a:pt x="1209707" y="461327"/>
                  </a:cubicBezTo>
                  <a:cubicBezTo>
                    <a:pt x="1204627" y="453072"/>
                    <a:pt x="1213517" y="461963"/>
                    <a:pt x="1252888" y="427672"/>
                  </a:cubicBezTo>
                  <a:cubicBezTo>
                    <a:pt x="1258602" y="422593"/>
                    <a:pt x="1273842" y="409893"/>
                    <a:pt x="1266222" y="409893"/>
                  </a:cubicBezTo>
                  <a:cubicBezTo>
                    <a:pt x="1257967" y="409257"/>
                    <a:pt x="1254792" y="422593"/>
                    <a:pt x="1247807" y="427672"/>
                  </a:cubicBezTo>
                  <a:cubicBezTo>
                    <a:pt x="1239552" y="434022"/>
                    <a:pt x="1228757" y="437832"/>
                    <a:pt x="1221138" y="444818"/>
                  </a:cubicBezTo>
                  <a:cubicBezTo>
                    <a:pt x="1214152" y="451168"/>
                    <a:pt x="1212247" y="462597"/>
                    <a:pt x="1203992" y="467043"/>
                  </a:cubicBezTo>
                  <a:cubicBezTo>
                    <a:pt x="1191292" y="474027"/>
                    <a:pt x="1160813" y="491172"/>
                    <a:pt x="1161447" y="476568"/>
                  </a:cubicBezTo>
                  <a:cubicBezTo>
                    <a:pt x="1162082" y="451802"/>
                    <a:pt x="1193197" y="438468"/>
                    <a:pt x="1205263" y="416877"/>
                  </a:cubicBezTo>
                  <a:cubicBezTo>
                    <a:pt x="1207802" y="412432"/>
                    <a:pt x="1195102" y="420052"/>
                    <a:pt x="1191292" y="423227"/>
                  </a:cubicBezTo>
                  <a:cubicBezTo>
                    <a:pt x="1183672" y="428943"/>
                    <a:pt x="1178592" y="435927"/>
                    <a:pt x="1171607" y="441643"/>
                  </a:cubicBezTo>
                  <a:cubicBezTo>
                    <a:pt x="1158272" y="451802"/>
                    <a:pt x="1145572" y="461963"/>
                    <a:pt x="1130967" y="469582"/>
                  </a:cubicBezTo>
                  <a:cubicBezTo>
                    <a:pt x="1129063" y="470852"/>
                    <a:pt x="1126522" y="467043"/>
                    <a:pt x="1124617" y="467043"/>
                  </a:cubicBezTo>
                  <a:cubicBezTo>
                    <a:pt x="1096042" y="470852"/>
                    <a:pt x="1066832" y="475297"/>
                    <a:pt x="1038257" y="482282"/>
                  </a:cubicBezTo>
                  <a:cubicBezTo>
                    <a:pt x="1020477" y="486727"/>
                    <a:pt x="989363" y="506413"/>
                    <a:pt x="974122" y="517843"/>
                  </a:cubicBezTo>
                  <a:cubicBezTo>
                    <a:pt x="970947" y="519747"/>
                    <a:pt x="986188" y="510857"/>
                    <a:pt x="983647" y="513397"/>
                  </a:cubicBezTo>
                  <a:cubicBezTo>
                    <a:pt x="965232" y="531813"/>
                    <a:pt x="930307" y="553402"/>
                    <a:pt x="908717" y="565468"/>
                  </a:cubicBezTo>
                  <a:cubicBezTo>
                    <a:pt x="904907" y="567372"/>
                    <a:pt x="899827" y="566102"/>
                    <a:pt x="896652" y="569277"/>
                  </a:cubicBezTo>
                  <a:cubicBezTo>
                    <a:pt x="892842" y="573722"/>
                    <a:pt x="894113" y="580072"/>
                    <a:pt x="891572" y="585152"/>
                  </a:cubicBezTo>
                  <a:cubicBezTo>
                    <a:pt x="874427" y="616902"/>
                    <a:pt x="834422" y="635318"/>
                    <a:pt x="809657" y="660083"/>
                  </a:cubicBezTo>
                  <a:cubicBezTo>
                    <a:pt x="800132" y="669608"/>
                    <a:pt x="792513" y="680402"/>
                    <a:pt x="783622" y="690563"/>
                  </a:cubicBezTo>
                  <a:cubicBezTo>
                    <a:pt x="777272" y="697547"/>
                    <a:pt x="770922" y="705168"/>
                    <a:pt x="763302" y="710883"/>
                  </a:cubicBezTo>
                  <a:cubicBezTo>
                    <a:pt x="760127" y="714058"/>
                    <a:pt x="753142" y="712788"/>
                    <a:pt x="751238" y="716597"/>
                  </a:cubicBezTo>
                  <a:cubicBezTo>
                    <a:pt x="743617" y="729297"/>
                    <a:pt x="742347" y="744538"/>
                    <a:pt x="734727" y="757238"/>
                  </a:cubicBezTo>
                  <a:cubicBezTo>
                    <a:pt x="727742" y="769938"/>
                    <a:pt x="709963" y="772477"/>
                    <a:pt x="698532" y="780733"/>
                  </a:cubicBezTo>
                  <a:cubicBezTo>
                    <a:pt x="652177" y="813753"/>
                    <a:pt x="626142" y="838518"/>
                    <a:pt x="588677" y="882333"/>
                  </a:cubicBezTo>
                  <a:cubicBezTo>
                    <a:pt x="572802" y="900747"/>
                    <a:pt x="553117" y="903287"/>
                    <a:pt x="544227" y="932497"/>
                  </a:cubicBezTo>
                  <a:cubicBezTo>
                    <a:pt x="539782" y="947103"/>
                    <a:pt x="564547" y="905828"/>
                    <a:pt x="579788" y="903287"/>
                  </a:cubicBezTo>
                  <a:cubicBezTo>
                    <a:pt x="585502" y="902653"/>
                    <a:pt x="591852" y="904558"/>
                    <a:pt x="596297" y="901383"/>
                  </a:cubicBezTo>
                  <a:cubicBezTo>
                    <a:pt x="608997" y="892493"/>
                    <a:pt x="617888" y="878522"/>
                    <a:pt x="629952" y="868362"/>
                  </a:cubicBezTo>
                  <a:cubicBezTo>
                    <a:pt x="639477" y="860108"/>
                    <a:pt x="650907" y="853758"/>
                    <a:pt x="661067" y="846137"/>
                  </a:cubicBezTo>
                  <a:cubicBezTo>
                    <a:pt x="675038" y="835343"/>
                    <a:pt x="682022" y="813118"/>
                    <a:pt x="699167" y="808672"/>
                  </a:cubicBezTo>
                  <a:cubicBezTo>
                    <a:pt x="709327" y="806133"/>
                    <a:pt x="718217" y="822008"/>
                    <a:pt x="728377" y="818833"/>
                  </a:cubicBezTo>
                  <a:cubicBezTo>
                    <a:pt x="752507" y="811847"/>
                    <a:pt x="772827" y="795337"/>
                    <a:pt x="793782" y="781368"/>
                  </a:cubicBezTo>
                  <a:cubicBezTo>
                    <a:pt x="839502" y="751522"/>
                    <a:pt x="822357" y="753427"/>
                    <a:pt x="861092" y="715963"/>
                  </a:cubicBezTo>
                  <a:cubicBezTo>
                    <a:pt x="873157" y="704533"/>
                    <a:pt x="918242" y="691833"/>
                    <a:pt x="922688" y="689927"/>
                  </a:cubicBezTo>
                  <a:cubicBezTo>
                    <a:pt x="943007" y="681672"/>
                    <a:pt x="974122" y="663893"/>
                    <a:pt x="989363" y="654368"/>
                  </a:cubicBezTo>
                  <a:cubicBezTo>
                    <a:pt x="1002697" y="646113"/>
                    <a:pt x="1014763" y="634047"/>
                    <a:pt x="1028732" y="627063"/>
                  </a:cubicBezTo>
                  <a:cubicBezTo>
                    <a:pt x="1031907" y="625158"/>
                    <a:pt x="1040163" y="624522"/>
                    <a:pt x="1039527" y="628333"/>
                  </a:cubicBezTo>
                  <a:cubicBezTo>
                    <a:pt x="1036352" y="639763"/>
                    <a:pt x="1028097" y="649288"/>
                    <a:pt x="1020477" y="658177"/>
                  </a:cubicBezTo>
                  <a:cubicBezTo>
                    <a:pt x="1019207" y="659447"/>
                    <a:pt x="1015397" y="656908"/>
                    <a:pt x="1014763" y="658177"/>
                  </a:cubicBezTo>
                  <a:cubicBezTo>
                    <a:pt x="1005238" y="676593"/>
                    <a:pt x="1000792" y="697547"/>
                    <a:pt x="990632" y="715963"/>
                  </a:cubicBezTo>
                  <a:cubicBezTo>
                    <a:pt x="989363" y="718502"/>
                    <a:pt x="984917" y="715963"/>
                    <a:pt x="983013" y="717868"/>
                  </a:cubicBezTo>
                  <a:cubicBezTo>
                    <a:pt x="975392" y="723583"/>
                    <a:pt x="967772" y="729933"/>
                    <a:pt x="963327" y="738188"/>
                  </a:cubicBezTo>
                  <a:cubicBezTo>
                    <a:pt x="956977" y="748983"/>
                    <a:pt x="962057" y="766127"/>
                    <a:pt x="952532" y="773747"/>
                  </a:cubicBezTo>
                  <a:cubicBezTo>
                    <a:pt x="941738" y="782002"/>
                    <a:pt x="924592" y="770572"/>
                    <a:pt x="912527" y="776288"/>
                  </a:cubicBezTo>
                  <a:cubicBezTo>
                    <a:pt x="906813" y="779463"/>
                    <a:pt x="913163" y="790893"/>
                    <a:pt x="908717" y="796608"/>
                  </a:cubicBezTo>
                  <a:cubicBezTo>
                    <a:pt x="901097" y="805497"/>
                    <a:pt x="887763" y="808037"/>
                    <a:pt x="878872" y="815658"/>
                  </a:cubicBezTo>
                  <a:cubicBezTo>
                    <a:pt x="876967" y="816928"/>
                    <a:pt x="880777" y="820737"/>
                    <a:pt x="878872" y="822643"/>
                  </a:cubicBezTo>
                  <a:cubicBezTo>
                    <a:pt x="868713" y="835978"/>
                    <a:pt x="859188" y="851218"/>
                    <a:pt x="845217" y="860743"/>
                  </a:cubicBezTo>
                  <a:cubicBezTo>
                    <a:pt x="835057" y="867728"/>
                    <a:pt x="798227" y="862012"/>
                    <a:pt x="808388" y="868997"/>
                  </a:cubicBezTo>
                  <a:cubicBezTo>
                    <a:pt x="826167" y="880428"/>
                    <a:pt x="849663" y="878522"/>
                    <a:pt x="871252" y="878522"/>
                  </a:cubicBezTo>
                  <a:cubicBezTo>
                    <a:pt x="879507" y="878522"/>
                    <a:pt x="885857" y="871537"/>
                    <a:pt x="893477" y="867728"/>
                  </a:cubicBezTo>
                  <a:cubicBezTo>
                    <a:pt x="908082" y="861378"/>
                    <a:pt x="932213" y="834708"/>
                    <a:pt x="936657" y="849312"/>
                  </a:cubicBezTo>
                  <a:cubicBezTo>
                    <a:pt x="961422" y="923608"/>
                    <a:pt x="903638" y="869633"/>
                    <a:pt x="893477" y="891222"/>
                  </a:cubicBezTo>
                  <a:cubicBezTo>
                    <a:pt x="891572" y="895033"/>
                    <a:pt x="894747" y="900747"/>
                    <a:pt x="891572" y="903922"/>
                  </a:cubicBezTo>
                  <a:cubicBezTo>
                    <a:pt x="877602" y="915987"/>
                    <a:pt x="857917" y="920433"/>
                    <a:pt x="845852" y="933768"/>
                  </a:cubicBezTo>
                  <a:cubicBezTo>
                    <a:pt x="842677" y="937578"/>
                    <a:pt x="860457" y="937578"/>
                    <a:pt x="858552" y="942022"/>
                  </a:cubicBezTo>
                  <a:cubicBezTo>
                    <a:pt x="854107" y="950912"/>
                    <a:pt x="840138" y="951547"/>
                    <a:pt x="833152" y="959168"/>
                  </a:cubicBezTo>
                  <a:cubicBezTo>
                    <a:pt x="812832" y="980122"/>
                    <a:pt x="812197" y="1007428"/>
                    <a:pt x="780447" y="1008062"/>
                  </a:cubicBezTo>
                  <a:cubicBezTo>
                    <a:pt x="777907" y="1008062"/>
                    <a:pt x="782988" y="999172"/>
                    <a:pt x="782352" y="1001078"/>
                  </a:cubicBezTo>
                  <a:cubicBezTo>
                    <a:pt x="775367" y="1013143"/>
                    <a:pt x="771557" y="1027112"/>
                    <a:pt x="762667" y="1038543"/>
                  </a:cubicBezTo>
                  <a:cubicBezTo>
                    <a:pt x="748063" y="1058228"/>
                    <a:pt x="727107" y="1072833"/>
                    <a:pt x="713138" y="1093153"/>
                  </a:cubicBezTo>
                  <a:cubicBezTo>
                    <a:pt x="709963" y="1097598"/>
                    <a:pt x="729647" y="1085533"/>
                    <a:pt x="728377" y="1090612"/>
                  </a:cubicBezTo>
                  <a:cubicBezTo>
                    <a:pt x="725202" y="1100773"/>
                    <a:pt x="708692" y="1103312"/>
                    <a:pt x="706788" y="1114108"/>
                  </a:cubicBezTo>
                  <a:cubicBezTo>
                    <a:pt x="704247" y="1129983"/>
                    <a:pt x="721392" y="1145858"/>
                    <a:pt x="717582" y="1161098"/>
                  </a:cubicBezTo>
                  <a:cubicBezTo>
                    <a:pt x="715042" y="1169353"/>
                    <a:pt x="678213" y="1142683"/>
                    <a:pt x="692182" y="1174433"/>
                  </a:cubicBezTo>
                  <a:cubicBezTo>
                    <a:pt x="694088" y="1178243"/>
                    <a:pt x="699802" y="1161098"/>
                    <a:pt x="697263" y="1164273"/>
                  </a:cubicBezTo>
                  <a:cubicBezTo>
                    <a:pt x="687102" y="1177608"/>
                    <a:pt x="673767" y="1190308"/>
                    <a:pt x="668688" y="1206183"/>
                  </a:cubicBezTo>
                  <a:cubicBezTo>
                    <a:pt x="650272" y="1261428"/>
                    <a:pt x="714407" y="1232853"/>
                    <a:pt x="633127" y="1284287"/>
                  </a:cubicBezTo>
                  <a:cubicBezTo>
                    <a:pt x="556292" y="1331912"/>
                    <a:pt x="614713" y="1281112"/>
                    <a:pt x="570263" y="1270953"/>
                  </a:cubicBezTo>
                  <a:cubicBezTo>
                    <a:pt x="562007" y="1269048"/>
                    <a:pt x="556292" y="1282383"/>
                    <a:pt x="548038" y="1284923"/>
                  </a:cubicBezTo>
                  <a:cubicBezTo>
                    <a:pt x="538513" y="1287462"/>
                    <a:pt x="527717" y="1291273"/>
                    <a:pt x="519463" y="1286828"/>
                  </a:cubicBezTo>
                  <a:cubicBezTo>
                    <a:pt x="493427" y="1273493"/>
                    <a:pt x="510572" y="1191578"/>
                    <a:pt x="497872" y="1171258"/>
                  </a:cubicBezTo>
                  <a:cubicBezTo>
                    <a:pt x="490888" y="1159828"/>
                    <a:pt x="474377" y="1192848"/>
                    <a:pt x="461042" y="1189037"/>
                  </a:cubicBezTo>
                  <a:cubicBezTo>
                    <a:pt x="445802" y="1185228"/>
                    <a:pt x="444532" y="1153478"/>
                    <a:pt x="428657" y="1154112"/>
                  </a:cubicBezTo>
                  <a:cubicBezTo>
                    <a:pt x="415957" y="1154112"/>
                    <a:pt x="424847" y="1181418"/>
                    <a:pt x="415322" y="1190308"/>
                  </a:cubicBezTo>
                  <a:cubicBezTo>
                    <a:pt x="402622" y="1201737"/>
                    <a:pt x="382302" y="1201103"/>
                    <a:pt x="368332" y="1209993"/>
                  </a:cubicBezTo>
                  <a:cubicBezTo>
                    <a:pt x="365792" y="1211898"/>
                    <a:pt x="373413" y="1215073"/>
                    <a:pt x="376588" y="1215708"/>
                  </a:cubicBezTo>
                  <a:cubicBezTo>
                    <a:pt x="405163" y="1220787"/>
                    <a:pt x="436913" y="1212533"/>
                    <a:pt x="461677" y="1226503"/>
                  </a:cubicBezTo>
                  <a:cubicBezTo>
                    <a:pt x="471202" y="1232218"/>
                    <a:pt x="458502" y="1248728"/>
                    <a:pt x="453422" y="1258887"/>
                  </a:cubicBezTo>
                  <a:cubicBezTo>
                    <a:pt x="449613" y="1266508"/>
                    <a:pt x="444532" y="1280478"/>
                    <a:pt x="436277" y="1278573"/>
                  </a:cubicBezTo>
                  <a:cubicBezTo>
                    <a:pt x="423577" y="1275398"/>
                    <a:pt x="422942" y="1241108"/>
                    <a:pt x="412147" y="1248093"/>
                  </a:cubicBezTo>
                  <a:cubicBezTo>
                    <a:pt x="398177" y="1257618"/>
                    <a:pt x="414052" y="1283653"/>
                    <a:pt x="406432" y="1298893"/>
                  </a:cubicBezTo>
                  <a:cubicBezTo>
                    <a:pt x="401988" y="1307148"/>
                    <a:pt x="387382" y="1303973"/>
                    <a:pt x="381032" y="1310958"/>
                  </a:cubicBezTo>
                  <a:cubicBezTo>
                    <a:pt x="369602" y="1323023"/>
                    <a:pt x="362617" y="1338898"/>
                    <a:pt x="354997" y="1353503"/>
                  </a:cubicBezTo>
                  <a:cubicBezTo>
                    <a:pt x="349282" y="1365568"/>
                    <a:pt x="343567" y="1378268"/>
                    <a:pt x="341027" y="1391603"/>
                  </a:cubicBezTo>
                  <a:cubicBezTo>
                    <a:pt x="335947" y="1417637"/>
                    <a:pt x="346107" y="1447483"/>
                    <a:pt x="333407" y="1470343"/>
                  </a:cubicBezTo>
                  <a:cubicBezTo>
                    <a:pt x="328327" y="1479233"/>
                    <a:pt x="316263" y="1457643"/>
                    <a:pt x="306102" y="1455103"/>
                  </a:cubicBezTo>
                  <a:cubicBezTo>
                    <a:pt x="290227" y="1451293"/>
                    <a:pt x="269272" y="1462087"/>
                    <a:pt x="257207" y="1450658"/>
                  </a:cubicBezTo>
                  <a:cubicBezTo>
                    <a:pt x="250857" y="1444943"/>
                    <a:pt x="281972" y="1398587"/>
                    <a:pt x="287688" y="1398587"/>
                  </a:cubicBezTo>
                  <a:cubicBezTo>
                    <a:pt x="302292" y="1397953"/>
                    <a:pt x="313088" y="1422718"/>
                    <a:pt x="327057" y="1418273"/>
                  </a:cubicBezTo>
                  <a:cubicBezTo>
                    <a:pt x="337217" y="1415098"/>
                    <a:pt x="318167" y="1397318"/>
                    <a:pt x="321977" y="1387793"/>
                  </a:cubicBezTo>
                  <a:cubicBezTo>
                    <a:pt x="326422" y="1376362"/>
                    <a:pt x="351822" y="1373823"/>
                    <a:pt x="348013" y="1362393"/>
                  </a:cubicBezTo>
                  <a:cubicBezTo>
                    <a:pt x="344202" y="1352233"/>
                    <a:pt x="327692" y="1378903"/>
                    <a:pt x="317532" y="1375093"/>
                  </a:cubicBezTo>
                  <a:cubicBezTo>
                    <a:pt x="309277" y="1371918"/>
                    <a:pt x="321342" y="1350962"/>
                    <a:pt x="312452" y="1348423"/>
                  </a:cubicBezTo>
                  <a:cubicBezTo>
                    <a:pt x="304197" y="1345883"/>
                    <a:pt x="304197" y="1367473"/>
                    <a:pt x="295307" y="1368743"/>
                  </a:cubicBezTo>
                  <a:cubicBezTo>
                    <a:pt x="278163" y="1370648"/>
                    <a:pt x="262288" y="1354773"/>
                    <a:pt x="245142" y="1357312"/>
                  </a:cubicBezTo>
                  <a:cubicBezTo>
                    <a:pt x="241332" y="1357948"/>
                    <a:pt x="203867" y="1404303"/>
                    <a:pt x="197517" y="1408748"/>
                  </a:cubicBezTo>
                  <a:cubicBezTo>
                    <a:pt x="194977" y="1410653"/>
                    <a:pt x="195613" y="1403033"/>
                    <a:pt x="194342" y="1400493"/>
                  </a:cubicBezTo>
                  <a:cubicBezTo>
                    <a:pt x="189897" y="1393508"/>
                    <a:pt x="187357" y="1383983"/>
                    <a:pt x="179738" y="1379537"/>
                  </a:cubicBezTo>
                  <a:cubicBezTo>
                    <a:pt x="176563" y="1377633"/>
                    <a:pt x="177832" y="1387158"/>
                    <a:pt x="175292" y="1389698"/>
                  </a:cubicBezTo>
                  <a:cubicBezTo>
                    <a:pt x="164497" y="1401762"/>
                    <a:pt x="149257" y="1437958"/>
                    <a:pt x="139732" y="1423987"/>
                  </a:cubicBezTo>
                  <a:cubicBezTo>
                    <a:pt x="130207" y="1410018"/>
                    <a:pt x="177197" y="1366837"/>
                    <a:pt x="166402" y="1380173"/>
                  </a:cubicBezTo>
                  <a:cubicBezTo>
                    <a:pt x="111792" y="1446848"/>
                    <a:pt x="164497" y="1387793"/>
                    <a:pt x="127667" y="1438593"/>
                  </a:cubicBezTo>
                  <a:cubicBezTo>
                    <a:pt x="119412" y="1449387"/>
                    <a:pt x="97822" y="1480503"/>
                    <a:pt x="99092" y="1467168"/>
                  </a:cubicBezTo>
                  <a:cubicBezTo>
                    <a:pt x="99727" y="1460818"/>
                    <a:pt x="157513" y="1386523"/>
                    <a:pt x="162592" y="1378903"/>
                  </a:cubicBezTo>
                  <a:cubicBezTo>
                    <a:pt x="163863" y="1376998"/>
                    <a:pt x="160052" y="1372553"/>
                    <a:pt x="158782" y="1374458"/>
                  </a:cubicBezTo>
                  <a:cubicBezTo>
                    <a:pt x="148622" y="1385887"/>
                    <a:pt x="142272" y="1399858"/>
                    <a:pt x="133382" y="1412558"/>
                  </a:cubicBezTo>
                  <a:cubicBezTo>
                    <a:pt x="130842" y="1417003"/>
                    <a:pt x="122587" y="1429703"/>
                    <a:pt x="125127" y="1425258"/>
                  </a:cubicBezTo>
                  <a:cubicBezTo>
                    <a:pt x="132747" y="1410653"/>
                    <a:pt x="141002" y="1396683"/>
                    <a:pt x="149257" y="1383348"/>
                  </a:cubicBezTo>
                  <a:cubicBezTo>
                    <a:pt x="150527" y="1381443"/>
                    <a:pt x="153702" y="1376362"/>
                    <a:pt x="152432" y="1378268"/>
                  </a:cubicBezTo>
                  <a:cubicBezTo>
                    <a:pt x="139097" y="1400493"/>
                    <a:pt x="126397" y="1422083"/>
                    <a:pt x="112427" y="1444308"/>
                  </a:cubicBezTo>
                  <a:cubicBezTo>
                    <a:pt x="108617" y="1450658"/>
                    <a:pt x="99727" y="1469708"/>
                    <a:pt x="100362" y="1462723"/>
                  </a:cubicBezTo>
                  <a:cubicBezTo>
                    <a:pt x="100997" y="1451293"/>
                    <a:pt x="109252" y="1441768"/>
                    <a:pt x="113062" y="1431608"/>
                  </a:cubicBezTo>
                  <a:cubicBezTo>
                    <a:pt x="115602" y="1425258"/>
                    <a:pt x="107982" y="1444308"/>
                    <a:pt x="105442" y="1450023"/>
                  </a:cubicBezTo>
                  <a:cubicBezTo>
                    <a:pt x="98457" y="1463993"/>
                    <a:pt x="91472" y="1478598"/>
                    <a:pt x="84487" y="1492568"/>
                  </a:cubicBezTo>
                  <a:cubicBezTo>
                    <a:pt x="78137" y="1504633"/>
                    <a:pt x="57182" y="1540828"/>
                    <a:pt x="64167" y="1528762"/>
                  </a:cubicBezTo>
                  <a:cubicBezTo>
                    <a:pt x="72422" y="1514158"/>
                    <a:pt x="83852" y="1500187"/>
                    <a:pt x="89567" y="1484312"/>
                  </a:cubicBezTo>
                  <a:cubicBezTo>
                    <a:pt x="91472" y="1479233"/>
                    <a:pt x="79407" y="1490028"/>
                    <a:pt x="76867" y="1495108"/>
                  </a:cubicBezTo>
                  <a:cubicBezTo>
                    <a:pt x="70517" y="1505903"/>
                    <a:pt x="68612" y="1519237"/>
                    <a:pt x="62262" y="1530033"/>
                  </a:cubicBezTo>
                  <a:cubicBezTo>
                    <a:pt x="59087" y="1535748"/>
                    <a:pt x="55912" y="1544003"/>
                    <a:pt x="49562" y="1544637"/>
                  </a:cubicBezTo>
                  <a:cubicBezTo>
                    <a:pt x="45117" y="1545273"/>
                    <a:pt x="47657" y="1528762"/>
                    <a:pt x="44482" y="1531937"/>
                  </a:cubicBezTo>
                  <a:cubicBezTo>
                    <a:pt x="31147" y="1544637"/>
                    <a:pt x="22892" y="1563053"/>
                    <a:pt x="12732" y="1578928"/>
                  </a:cubicBezTo>
                  <a:cubicBezTo>
                    <a:pt x="10827" y="1581468"/>
                    <a:pt x="10192" y="1584643"/>
                    <a:pt x="8287" y="1587818"/>
                  </a:cubicBezTo>
                  <a:cubicBezTo>
                    <a:pt x="3207" y="1585912"/>
                    <a:pt x="5112" y="1582737"/>
                    <a:pt x="5112" y="1582103"/>
                  </a:cubicBezTo>
                  <a:lnTo>
                    <a:pt x="5112" y="1582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8" name="任意多边形: 形状 9827">
              <a:extLst>
                <a:ext uri="{FF2B5EF4-FFF2-40B4-BE49-F238E27FC236}">
                  <a16:creationId xmlns:a16="http://schemas.microsoft.com/office/drawing/2014/main" id="{AC7B06DD-CA36-4777-8D70-946EDC687A09}"/>
                </a:ext>
              </a:extLst>
            </p:cNvPr>
            <p:cNvSpPr/>
            <p:nvPr/>
          </p:nvSpPr>
          <p:spPr>
            <a:xfrm>
              <a:off x="7440027" y="3797728"/>
              <a:ext cx="3765550" cy="2603500"/>
            </a:xfrm>
            <a:custGeom>
              <a:avLst/>
              <a:gdLst>
                <a:gd name="connsiteX0" fmla="*/ 2756803 w 3765550"/>
                <a:gd name="connsiteY0" fmla="*/ 242142 h 2603500"/>
                <a:gd name="connsiteX1" fmla="*/ 2712988 w 3765550"/>
                <a:gd name="connsiteY1" fmla="*/ 249127 h 2603500"/>
                <a:gd name="connsiteX2" fmla="*/ 2678698 w 3765550"/>
                <a:gd name="connsiteY2" fmla="*/ 281512 h 2603500"/>
                <a:gd name="connsiteX3" fmla="*/ 2662188 w 3765550"/>
                <a:gd name="connsiteY3" fmla="*/ 284687 h 2603500"/>
                <a:gd name="connsiteX4" fmla="*/ 2622817 w 3765550"/>
                <a:gd name="connsiteY4" fmla="*/ 322152 h 2603500"/>
                <a:gd name="connsiteX5" fmla="*/ 2473592 w 3765550"/>
                <a:gd name="connsiteY5" fmla="*/ 308182 h 2603500"/>
                <a:gd name="connsiteX6" fmla="*/ 2448828 w 3765550"/>
                <a:gd name="connsiteY6" fmla="*/ 306277 h 2603500"/>
                <a:gd name="connsiteX7" fmla="*/ 2418348 w 3765550"/>
                <a:gd name="connsiteY7" fmla="*/ 319612 h 2603500"/>
                <a:gd name="connsiteX8" fmla="*/ 2343417 w 3765550"/>
                <a:gd name="connsiteY8" fmla="*/ 296752 h 2603500"/>
                <a:gd name="connsiteX9" fmla="*/ 2342783 w 3765550"/>
                <a:gd name="connsiteY9" fmla="*/ 293577 h 2603500"/>
                <a:gd name="connsiteX10" fmla="*/ 2306588 w 3765550"/>
                <a:gd name="connsiteY10" fmla="*/ 296117 h 2603500"/>
                <a:gd name="connsiteX11" fmla="*/ 2292617 w 3765550"/>
                <a:gd name="connsiteY11" fmla="*/ 266907 h 2603500"/>
                <a:gd name="connsiteX12" fmla="*/ 2239278 w 3765550"/>
                <a:gd name="connsiteY12" fmla="*/ 253572 h 2603500"/>
                <a:gd name="connsiteX13" fmla="*/ 2156092 w 3765550"/>
                <a:gd name="connsiteY13" fmla="*/ 289132 h 2603500"/>
                <a:gd name="connsiteX14" fmla="*/ 2098942 w 3765550"/>
                <a:gd name="connsiteY14" fmla="*/ 442802 h 2603500"/>
                <a:gd name="connsiteX15" fmla="*/ 2034173 w 3765550"/>
                <a:gd name="connsiteY15" fmla="*/ 416767 h 2603500"/>
                <a:gd name="connsiteX16" fmla="*/ 1986548 w 3765550"/>
                <a:gd name="connsiteY16" fmla="*/ 401527 h 2603500"/>
                <a:gd name="connsiteX17" fmla="*/ 1881138 w 3765550"/>
                <a:gd name="connsiteY17" fmla="*/ 371682 h 2603500"/>
                <a:gd name="connsiteX18" fmla="*/ 1861453 w 3765550"/>
                <a:gd name="connsiteY18" fmla="*/ 324057 h 2603500"/>
                <a:gd name="connsiteX19" fmla="*/ 1702703 w 3765550"/>
                <a:gd name="connsiteY19" fmla="*/ 301197 h 2603500"/>
                <a:gd name="connsiteX20" fmla="*/ 1613167 w 3765550"/>
                <a:gd name="connsiteY20" fmla="*/ 245317 h 2603500"/>
                <a:gd name="connsiteX21" fmla="*/ 1592213 w 3765550"/>
                <a:gd name="connsiteY21" fmla="*/ 245317 h 2603500"/>
                <a:gd name="connsiteX22" fmla="*/ 1636663 w 3765550"/>
                <a:gd name="connsiteY22" fmla="*/ 144987 h 2603500"/>
                <a:gd name="connsiteX23" fmla="*/ 1599198 w 3765550"/>
                <a:gd name="connsiteY23" fmla="*/ 87202 h 2603500"/>
                <a:gd name="connsiteX24" fmla="*/ 1568082 w 3765550"/>
                <a:gd name="connsiteY24" fmla="*/ 6557 h 2603500"/>
                <a:gd name="connsiteX25" fmla="*/ 1502678 w 3765550"/>
                <a:gd name="connsiteY25" fmla="*/ 31322 h 2603500"/>
                <a:gd name="connsiteX26" fmla="*/ 1457592 w 3765550"/>
                <a:gd name="connsiteY26" fmla="*/ 30052 h 2603500"/>
                <a:gd name="connsiteX27" fmla="*/ 1425842 w 3765550"/>
                <a:gd name="connsiteY27" fmla="*/ 30052 h 2603500"/>
                <a:gd name="connsiteX28" fmla="*/ 1389648 w 3765550"/>
                <a:gd name="connsiteY28" fmla="*/ 17352 h 2603500"/>
                <a:gd name="connsiteX29" fmla="*/ 1376948 w 3765550"/>
                <a:gd name="connsiteY29" fmla="*/ 27512 h 2603500"/>
                <a:gd name="connsiteX30" fmla="*/ 1328688 w 3765550"/>
                <a:gd name="connsiteY30" fmla="*/ 43387 h 2603500"/>
                <a:gd name="connsiteX31" fmla="*/ 1246773 w 3765550"/>
                <a:gd name="connsiteY31" fmla="*/ 20527 h 2603500"/>
                <a:gd name="connsiteX32" fmla="*/ 1066432 w 3765550"/>
                <a:gd name="connsiteY32" fmla="*/ 46562 h 2603500"/>
                <a:gd name="connsiteX33" fmla="*/ 1045478 w 3765550"/>
                <a:gd name="connsiteY33" fmla="*/ 68152 h 2603500"/>
                <a:gd name="connsiteX34" fmla="*/ 1002932 w 3765550"/>
                <a:gd name="connsiteY34" fmla="*/ 66882 h 2603500"/>
                <a:gd name="connsiteX35" fmla="*/ 948323 w 3765550"/>
                <a:gd name="connsiteY35" fmla="*/ 101807 h 2603500"/>
                <a:gd name="connsiteX36" fmla="*/ 890538 w 3765550"/>
                <a:gd name="connsiteY36" fmla="*/ 71327 h 2603500"/>
                <a:gd name="connsiteX37" fmla="*/ 869582 w 3765550"/>
                <a:gd name="connsiteY37" fmla="*/ 84027 h 2603500"/>
                <a:gd name="connsiteX38" fmla="*/ 800367 w 3765550"/>
                <a:gd name="connsiteY38" fmla="*/ 69422 h 2603500"/>
                <a:gd name="connsiteX39" fmla="*/ 776238 w 3765550"/>
                <a:gd name="connsiteY39" fmla="*/ 40847 h 2603500"/>
                <a:gd name="connsiteX40" fmla="*/ 745123 w 3765550"/>
                <a:gd name="connsiteY40" fmla="*/ 21162 h 2603500"/>
                <a:gd name="connsiteX41" fmla="*/ 675273 w 3765550"/>
                <a:gd name="connsiteY41" fmla="*/ 127842 h 2603500"/>
                <a:gd name="connsiteX42" fmla="*/ 589548 w 3765550"/>
                <a:gd name="connsiteY42" fmla="*/ 151337 h 2603500"/>
                <a:gd name="connsiteX43" fmla="*/ 567323 w 3765550"/>
                <a:gd name="connsiteY43" fmla="*/ 171657 h 2603500"/>
                <a:gd name="connsiteX44" fmla="*/ 543828 w 3765550"/>
                <a:gd name="connsiteY44" fmla="*/ 186262 h 2603500"/>
                <a:gd name="connsiteX45" fmla="*/ 540017 w 3765550"/>
                <a:gd name="connsiteY45" fmla="*/ 209122 h 2603500"/>
                <a:gd name="connsiteX46" fmla="*/ 513982 w 3765550"/>
                <a:gd name="connsiteY46" fmla="*/ 238332 h 2603500"/>
                <a:gd name="connsiteX47" fmla="*/ 472707 w 3765550"/>
                <a:gd name="connsiteY47" fmla="*/ 363427 h 2603500"/>
                <a:gd name="connsiteX48" fmla="*/ 359678 w 3765550"/>
                <a:gd name="connsiteY48" fmla="*/ 421212 h 2603500"/>
                <a:gd name="connsiteX49" fmla="*/ 301257 w 3765550"/>
                <a:gd name="connsiteY49" fmla="*/ 428832 h 2603500"/>
                <a:gd name="connsiteX50" fmla="*/ 278398 w 3765550"/>
                <a:gd name="connsiteY50" fmla="*/ 469472 h 2603500"/>
                <a:gd name="connsiteX51" fmla="*/ 222517 w 3765550"/>
                <a:gd name="connsiteY51" fmla="*/ 496142 h 2603500"/>
                <a:gd name="connsiteX52" fmla="*/ 197753 w 3765550"/>
                <a:gd name="connsiteY52" fmla="*/ 539957 h 2603500"/>
                <a:gd name="connsiteX53" fmla="*/ 188863 w 3765550"/>
                <a:gd name="connsiteY53" fmla="*/ 575517 h 2603500"/>
                <a:gd name="connsiteX54" fmla="*/ 148223 w 3765550"/>
                <a:gd name="connsiteY54" fmla="*/ 600917 h 2603500"/>
                <a:gd name="connsiteX55" fmla="*/ 126632 w 3765550"/>
                <a:gd name="connsiteY55" fmla="*/ 613617 h 2603500"/>
                <a:gd name="connsiteX56" fmla="*/ 139332 w 3765550"/>
                <a:gd name="connsiteY56" fmla="*/ 606632 h 2603500"/>
                <a:gd name="connsiteX57" fmla="*/ 111392 w 3765550"/>
                <a:gd name="connsiteY57" fmla="*/ 651717 h 2603500"/>
                <a:gd name="connsiteX58" fmla="*/ 103773 w 3765550"/>
                <a:gd name="connsiteY58" fmla="*/ 658702 h 2603500"/>
                <a:gd name="connsiteX59" fmla="*/ 93613 w 3765550"/>
                <a:gd name="connsiteY59" fmla="*/ 680292 h 2603500"/>
                <a:gd name="connsiteX60" fmla="*/ 70117 w 3765550"/>
                <a:gd name="connsiteY60" fmla="*/ 693627 h 2603500"/>
                <a:gd name="connsiteX61" fmla="*/ 66942 w 3765550"/>
                <a:gd name="connsiteY61" fmla="*/ 705057 h 2603500"/>
                <a:gd name="connsiteX62" fmla="*/ 55513 w 3765550"/>
                <a:gd name="connsiteY62" fmla="*/ 756492 h 2603500"/>
                <a:gd name="connsiteX63" fmla="*/ 72657 w 3765550"/>
                <a:gd name="connsiteY63" fmla="*/ 768557 h 2603500"/>
                <a:gd name="connsiteX64" fmla="*/ 92978 w 3765550"/>
                <a:gd name="connsiteY64" fmla="*/ 803482 h 2603500"/>
                <a:gd name="connsiteX65" fmla="*/ 72023 w 3765550"/>
                <a:gd name="connsiteY65" fmla="*/ 842217 h 2603500"/>
                <a:gd name="connsiteX66" fmla="*/ 88532 w 3765550"/>
                <a:gd name="connsiteY66" fmla="*/ 940642 h 2603500"/>
                <a:gd name="connsiteX67" fmla="*/ 63132 w 3765550"/>
                <a:gd name="connsiteY67" fmla="*/ 990807 h 2603500"/>
                <a:gd name="connsiteX68" fmla="*/ 38367 w 3765550"/>
                <a:gd name="connsiteY68" fmla="*/ 1054307 h 2603500"/>
                <a:gd name="connsiteX69" fmla="*/ 5348 w 3765550"/>
                <a:gd name="connsiteY69" fmla="*/ 1064467 h 2603500"/>
                <a:gd name="connsiteX70" fmla="*/ 21857 w 3765550"/>
                <a:gd name="connsiteY70" fmla="*/ 1077167 h 2603500"/>
                <a:gd name="connsiteX71" fmla="*/ 60592 w 3765550"/>
                <a:gd name="connsiteY71" fmla="*/ 1118442 h 2603500"/>
                <a:gd name="connsiteX72" fmla="*/ 54242 w 3765550"/>
                <a:gd name="connsiteY72" fmla="*/ 1126697 h 2603500"/>
                <a:gd name="connsiteX73" fmla="*/ 49798 w 3765550"/>
                <a:gd name="connsiteY73" fmla="*/ 1143207 h 2603500"/>
                <a:gd name="connsiteX74" fmla="*/ 57417 w 3765550"/>
                <a:gd name="connsiteY74" fmla="*/ 1159082 h 2603500"/>
                <a:gd name="connsiteX75" fmla="*/ 68848 w 3765550"/>
                <a:gd name="connsiteY75" fmla="*/ 1167337 h 2603500"/>
                <a:gd name="connsiteX76" fmla="*/ 41542 w 3765550"/>
                <a:gd name="connsiteY76" fmla="*/ 1146382 h 2603500"/>
                <a:gd name="connsiteX77" fmla="*/ 40273 w 3765550"/>
                <a:gd name="connsiteY77" fmla="*/ 1166702 h 2603500"/>
                <a:gd name="connsiteX78" fmla="*/ 94882 w 3765550"/>
                <a:gd name="connsiteY78" fmla="*/ 1214327 h 2603500"/>
                <a:gd name="connsiteX79" fmla="*/ 75832 w 3765550"/>
                <a:gd name="connsiteY79" fmla="*/ 1201627 h 2603500"/>
                <a:gd name="connsiteX80" fmla="*/ 40907 w 3765550"/>
                <a:gd name="connsiteY80" fmla="*/ 1202262 h 2603500"/>
                <a:gd name="connsiteX81" fmla="*/ 69482 w 3765550"/>
                <a:gd name="connsiteY81" fmla="*/ 1235282 h 2603500"/>
                <a:gd name="connsiteX82" fmla="*/ 91073 w 3765550"/>
                <a:gd name="connsiteY82" fmla="*/ 1237822 h 2603500"/>
                <a:gd name="connsiteX83" fmla="*/ 77738 w 3765550"/>
                <a:gd name="connsiteY83" fmla="*/ 1246077 h 2603500"/>
                <a:gd name="connsiteX84" fmla="*/ 125998 w 3765550"/>
                <a:gd name="connsiteY84" fmla="*/ 1254332 h 2603500"/>
                <a:gd name="connsiteX85" fmla="*/ 101232 w 3765550"/>
                <a:gd name="connsiteY85" fmla="*/ 1272747 h 2603500"/>
                <a:gd name="connsiteX86" fmla="*/ 124728 w 3765550"/>
                <a:gd name="connsiteY86" fmla="*/ 1302592 h 2603500"/>
                <a:gd name="connsiteX87" fmla="*/ 142507 w 3765550"/>
                <a:gd name="connsiteY87" fmla="*/ 1331802 h 2603500"/>
                <a:gd name="connsiteX88" fmla="*/ 176798 w 3765550"/>
                <a:gd name="connsiteY88" fmla="*/ 1358472 h 2603500"/>
                <a:gd name="connsiteX89" fmla="*/ 213628 w 3765550"/>
                <a:gd name="connsiteY89" fmla="*/ 1411812 h 2603500"/>
                <a:gd name="connsiteX90" fmla="*/ 213628 w 3765550"/>
                <a:gd name="connsiteY90" fmla="*/ 1426417 h 2603500"/>
                <a:gd name="connsiteX91" fmla="*/ 236488 w 3765550"/>
                <a:gd name="connsiteY91" fmla="*/ 1476582 h 2603500"/>
                <a:gd name="connsiteX92" fmla="*/ 232678 w 3765550"/>
                <a:gd name="connsiteY92" fmla="*/ 1484202 h 2603500"/>
                <a:gd name="connsiteX93" fmla="*/ 273953 w 3765550"/>
                <a:gd name="connsiteY93" fmla="*/ 1512142 h 2603500"/>
                <a:gd name="connsiteX94" fmla="*/ 258078 w 3765550"/>
                <a:gd name="connsiteY94" fmla="*/ 1515952 h 2603500"/>
                <a:gd name="connsiteX95" fmla="*/ 293638 w 3765550"/>
                <a:gd name="connsiteY95" fmla="*/ 1538812 h 2603500"/>
                <a:gd name="connsiteX96" fmla="*/ 319038 w 3765550"/>
                <a:gd name="connsiteY96" fmla="*/ 1566752 h 2603500"/>
                <a:gd name="connsiteX97" fmla="*/ 375553 w 3765550"/>
                <a:gd name="connsiteY97" fmla="*/ 1609932 h 2603500"/>
                <a:gd name="connsiteX98" fmla="*/ 509538 w 3765550"/>
                <a:gd name="connsiteY98" fmla="*/ 1718517 h 2603500"/>
                <a:gd name="connsiteX99" fmla="*/ 795923 w 3765550"/>
                <a:gd name="connsiteY99" fmla="*/ 1760427 h 2603500"/>
                <a:gd name="connsiteX100" fmla="*/ 781317 w 3765550"/>
                <a:gd name="connsiteY100" fmla="*/ 1761062 h 2603500"/>
                <a:gd name="connsiteX101" fmla="*/ 887998 w 3765550"/>
                <a:gd name="connsiteY101" fmla="*/ 1781382 h 2603500"/>
                <a:gd name="connsiteX102" fmla="*/ 939432 w 3765550"/>
                <a:gd name="connsiteY102" fmla="*/ 1773127 h 2603500"/>
                <a:gd name="connsiteX103" fmla="*/ 1205498 w 3765550"/>
                <a:gd name="connsiteY103" fmla="*/ 1768047 h 2603500"/>
                <a:gd name="connsiteX104" fmla="*/ 1264553 w 3765550"/>
                <a:gd name="connsiteY104" fmla="*/ 1802337 h 2603500"/>
                <a:gd name="connsiteX105" fmla="*/ 1278523 w 3765550"/>
                <a:gd name="connsiteY105" fmla="*/ 1797257 h 2603500"/>
                <a:gd name="connsiteX106" fmla="*/ 1329323 w 3765550"/>
                <a:gd name="connsiteY106" fmla="*/ 1870282 h 2603500"/>
                <a:gd name="connsiteX107" fmla="*/ 1366153 w 3765550"/>
                <a:gd name="connsiteY107" fmla="*/ 1848692 h 2603500"/>
                <a:gd name="connsiteX108" fmla="*/ 1423938 w 3765550"/>
                <a:gd name="connsiteY108" fmla="*/ 1865837 h 2603500"/>
                <a:gd name="connsiteX109" fmla="*/ 1462673 w 3765550"/>
                <a:gd name="connsiteY109" fmla="*/ 1865202 h 2603500"/>
                <a:gd name="connsiteX110" fmla="*/ 1455053 w 3765550"/>
                <a:gd name="connsiteY110" fmla="*/ 1846787 h 2603500"/>
                <a:gd name="connsiteX111" fmla="*/ 1512203 w 3765550"/>
                <a:gd name="connsiteY111" fmla="*/ 1889332 h 2603500"/>
                <a:gd name="connsiteX112" fmla="*/ 1550938 w 3765550"/>
                <a:gd name="connsiteY112" fmla="*/ 1885522 h 2603500"/>
                <a:gd name="connsiteX113" fmla="*/ 1555382 w 3765550"/>
                <a:gd name="connsiteY113" fmla="*/ 1957277 h 2603500"/>
                <a:gd name="connsiteX114" fmla="*/ 1554748 w 3765550"/>
                <a:gd name="connsiteY114" fmla="*/ 2009347 h 2603500"/>
                <a:gd name="connsiteX115" fmla="*/ 1489978 w 3765550"/>
                <a:gd name="connsiteY115" fmla="*/ 2067767 h 2603500"/>
                <a:gd name="connsiteX116" fmla="*/ 1506488 w 3765550"/>
                <a:gd name="connsiteY116" fmla="*/ 2089357 h 2603500"/>
                <a:gd name="connsiteX117" fmla="*/ 1522998 w 3765550"/>
                <a:gd name="connsiteY117" fmla="*/ 2110947 h 2603500"/>
                <a:gd name="connsiteX118" fmla="*/ 1540142 w 3765550"/>
                <a:gd name="connsiteY118" fmla="*/ 2118567 h 2603500"/>
                <a:gd name="connsiteX119" fmla="*/ 1524267 w 3765550"/>
                <a:gd name="connsiteY119" fmla="*/ 2111582 h 2603500"/>
                <a:gd name="connsiteX120" fmla="*/ 1576338 w 3765550"/>
                <a:gd name="connsiteY120" fmla="*/ 2134442 h 2603500"/>
                <a:gd name="connsiteX121" fmla="*/ 1550303 w 3765550"/>
                <a:gd name="connsiteY121" fmla="*/ 2131902 h 2603500"/>
                <a:gd name="connsiteX122" fmla="*/ 1672857 w 3765550"/>
                <a:gd name="connsiteY122" fmla="*/ 2199847 h 2603500"/>
                <a:gd name="connsiteX123" fmla="*/ 1700798 w 3765550"/>
                <a:gd name="connsiteY123" fmla="*/ 2246202 h 2603500"/>
                <a:gd name="connsiteX124" fmla="*/ 1764298 w 3765550"/>
                <a:gd name="connsiteY124" fmla="*/ 2317322 h 2603500"/>
                <a:gd name="connsiteX125" fmla="*/ 1740803 w 3765550"/>
                <a:gd name="connsiteY125" fmla="*/ 2327482 h 2603500"/>
                <a:gd name="connsiteX126" fmla="*/ 1783982 w 3765550"/>
                <a:gd name="connsiteY126" fmla="*/ 2390982 h 2603500"/>
                <a:gd name="connsiteX127" fmla="*/ 1734453 w 3765550"/>
                <a:gd name="connsiteY127" fmla="*/ 2418922 h 2603500"/>
                <a:gd name="connsiteX128" fmla="*/ 1710957 w 3765550"/>
                <a:gd name="connsiteY128" fmla="*/ 2428447 h 2603500"/>
                <a:gd name="connsiteX129" fmla="*/ 1690003 w 3765550"/>
                <a:gd name="connsiteY129" fmla="*/ 2462737 h 2603500"/>
                <a:gd name="connsiteX130" fmla="*/ 1667142 w 3765550"/>
                <a:gd name="connsiteY130" fmla="*/ 2475437 h 2603500"/>
                <a:gd name="connsiteX131" fmla="*/ 1668413 w 3765550"/>
                <a:gd name="connsiteY131" fmla="*/ 2498932 h 2603500"/>
                <a:gd name="connsiteX132" fmla="*/ 1669682 w 3765550"/>
                <a:gd name="connsiteY132" fmla="*/ 2511632 h 2603500"/>
                <a:gd name="connsiteX133" fmla="*/ 1709053 w 3765550"/>
                <a:gd name="connsiteY133" fmla="*/ 2525602 h 2603500"/>
                <a:gd name="connsiteX134" fmla="*/ 1796682 w 3765550"/>
                <a:gd name="connsiteY134" fmla="*/ 2561162 h 2603500"/>
                <a:gd name="connsiteX135" fmla="*/ 1803032 w 3765550"/>
                <a:gd name="connsiteY135" fmla="*/ 2564972 h 2603500"/>
                <a:gd name="connsiteX136" fmla="*/ 1797953 w 3765550"/>
                <a:gd name="connsiteY136" fmla="*/ 2569417 h 2603500"/>
                <a:gd name="connsiteX137" fmla="*/ 1942098 w 3765550"/>
                <a:gd name="connsiteY137" fmla="*/ 2600532 h 2603500"/>
                <a:gd name="connsiteX138" fmla="*/ 1931938 w 3765550"/>
                <a:gd name="connsiteY138" fmla="*/ 2599897 h 2603500"/>
                <a:gd name="connsiteX139" fmla="*/ 2081798 w 3765550"/>
                <a:gd name="connsiteY139" fmla="*/ 2581482 h 2603500"/>
                <a:gd name="connsiteX140" fmla="*/ 2474228 w 3765550"/>
                <a:gd name="connsiteY140" fmla="*/ 2485597 h 2603500"/>
                <a:gd name="connsiteX141" fmla="*/ 2479308 w 3765550"/>
                <a:gd name="connsiteY141" fmla="*/ 2485597 h 2603500"/>
                <a:gd name="connsiteX142" fmla="*/ 2697113 w 3765550"/>
                <a:gd name="connsiteY142" fmla="*/ 2396697 h 2603500"/>
                <a:gd name="connsiteX143" fmla="*/ 2761248 w 3765550"/>
                <a:gd name="connsiteY143" fmla="*/ 2367487 h 2603500"/>
                <a:gd name="connsiteX144" fmla="*/ 2783473 w 3765550"/>
                <a:gd name="connsiteY144" fmla="*/ 2323672 h 2603500"/>
                <a:gd name="connsiteX145" fmla="*/ 2812683 w 3765550"/>
                <a:gd name="connsiteY145" fmla="*/ 2311607 h 2603500"/>
                <a:gd name="connsiteX146" fmla="*/ 2906028 w 3765550"/>
                <a:gd name="connsiteY146" fmla="*/ 2253822 h 2603500"/>
                <a:gd name="connsiteX147" fmla="*/ 3114942 w 3765550"/>
                <a:gd name="connsiteY147" fmla="*/ 2110947 h 2603500"/>
                <a:gd name="connsiteX148" fmla="*/ 3139708 w 3765550"/>
                <a:gd name="connsiteY148" fmla="*/ 2069672 h 2603500"/>
                <a:gd name="connsiteX149" fmla="*/ 3145423 w 3765550"/>
                <a:gd name="connsiteY149" fmla="*/ 2041097 h 2603500"/>
                <a:gd name="connsiteX150" fmla="*/ 3166378 w 3765550"/>
                <a:gd name="connsiteY150" fmla="*/ 2018237 h 2603500"/>
                <a:gd name="connsiteX151" fmla="*/ 3159392 w 3765550"/>
                <a:gd name="connsiteY151" fmla="*/ 2018237 h 2603500"/>
                <a:gd name="connsiteX152" fmla="*/ 3136533 w 3765550"/>
                <a:gd name="connsiteY152" fmla="*/ 1971882 h 2603500"/>
                <a:gd name="connsiteX153" fmla="*/ 3158758 w 3765550"/>
                <a:gd name="connsiteY153" fmla="*/ 1941402 h 2603500"/>
                <a:gd name="connsiteX154" fmla="*/ 3132723 w 3765550"/>
                <a:gd name="connsiteY154" fmla="*/ 1929972 h 2603500"/>
                <a:gd name="connsiteX155" fmla="*/ 3194317 w 3765550"/>
                <a:gd name="connsiteY155" fmla="*/ 1846152 h 2603500"/>
                <a:gd name="connsiteX156" fmla="*/ 3210192 w 3765550"/>
                <a:gd name="connsiteY156" fmla="*/ 1818212 h 2603500"/>
                <a:gd name="connsiteX157" fmla="*/ 3219083 w 3765550"/>
                <a:gd name="connsiteY157" fmla="*/ 1811862 h 2603500"/>
                <a:gd name="connsiteX158" fmla="*/ 3227338 w 3765550"/>
                <a:gd name="connsiteY158" fmla="*/ 1790907 h 2603500"/>
                <a:gd name="connsiteX159" fmla="*/ 3265438 w 3765550"/>
                <a:gd name="connsiteY159" fmla="*/ 1760427 h 2603500"/>
                <a:gd name="connsiteX160" fmla="*/ 3264167 w 3765550"/>
                <a:gd name="connsiteY160" fmla="*/ 1750902 h 2603500"/>
                <a:gd name="connsiteX161" fmla="*/ 3284488 w 3765550"/>
                <a:gd name="connsiteY161" fmla="*/ 1740742 h 2603500"/>
                <a:gd name="connsiteX162" fmla="*/ 3321317 w 3765550"/>
                <a:gd name="connsiteY162" fmla="*/ 1688037 h 2603500"/>
                <a:gd name="connsiteX163" fmla="*/ 3443873 w 3765550"/>
                <a:gd name="connsiteY163" fmla="*/ 1544527 h 2603500"/>
                <a:gd name="connsiteX164" fmla="*/ 3521342 w 3765550"/>
                <a:gd name="connsiteY164" fmla="*/ 1461977 h 2603500"/>
                <a:gd name="connsiteX165" fmla="*/ 3612148 w 3765550"/>
                <a:gd name="connsiteY165" fmla="*/ 1329897 h 2603500"/>
                <a:gd name="connsiteX166" fmla="*/ 3662948 w 3765550"/>
                <a:gd name="connsiteY166" fmla="*/ 1230837 h 2603500"/>
                <a:gd name="connsiteX167" fmla="*/ 3699142 w 3765550"/>
                <a:gd name="connsiteY167" fmla="*/ 1133047 h 2603500"/>
                <a:gd name="connsiteX168" fmla="*/ 3739783 w 3765550"/>
                <a:gd name="connsiteY168" fmla="*/ 1040337 h 2603500"/>
                <a:gd name="connsiteX169" fmla="*/ 3742958 w 3765550"/>
                <a:gd name="connsiteY169" fmla="*/ 997792 h 2603500"/>
                <a:gd name="connsiteX170" fmla="*/ 3762008 w 3765550"/>
                <a:gd name="connsiteY170" fmla="*/ 977472 h 2603500"/>
                <a:gd name="connsiteX171" fmla="*/ 3747403 w 3765550"/>
                <a:gd name="connsiteY171" fmla="*/ 988902 h 2603500"/>
                <a:gd name="connsiteX172" fmla="*/ 3749942 w 3765550"/>
                <a:gd name="connsiteY172" fmla="*/ 945722 h 2603500"/>
                <a:gd name="connsiteX173" fmla="*/ 3756928 w 3765550"/>
                <a:gd name="connsiteY173" fmla="*/ 917147 h 2603500"/>
                <a:gd name="connsiteX174" fmla="*/ 3737878 w 3765550"/>
                <a:gd name="connsiteY174" fmla="*/ 922862 h 2603500"/>
                <a:gd name="connsiteX175" fmla="*/ 3711842 w 3765550"/>
                <a:gd name="connsiteY175" fmla="*/ 964137 h 2603500"/>
                <a:gd name="connsiteX176" fmla="*/ 3678823 w 3765550"/>
                <a:gd name="connsiteY176" fmla="*/ 997157 h 2603500"/>
                <a:gd name="connsiteX177" fmla="*/ 3650248 w 3765550"/>
                <a:gd name="connsiteY177" fmla="*/ 1015572 h 2603500"/>
                <a:gd name="connsiteX178" fmla="*/ 3635008 w 3765550"/>
                <a:gd name="connsiteY178" fmla="*/ 1033987 h 2603500"/>
                <a:gd name="connsiteX179" fmla="*/ 3605163 w 3765550"/>
                <a:gd name="connsiteY179" fmla="*/ 1050497 h 2603500"/>
                <a:gd name="connsiteX180" fmla="*/ 3565792 w 3765550"/>
                <a:gd name="connsiteY180" fmla="*/ 1098122 h 2603500"/>
                <a:gd name="connsiteX181" fmla="*/ 3537217 w 3765550"/>
                <a:gd name="connsiteY181" fmla="*/ 1106377 h 2603500"/>
                <a:gd name="connsiteX182" fmla="*/ 3427998 w 3765550"/>
                <a:gd name="connsiteY182" fmla="*/ 1138762 h 2603500"/>
                <a:gd name="connsiteX183" fmla="*/ 3394342 w 3765550"/>
                <a:gd name="connsiteY183" fmla="*/ 1154637 h 2603500"/>
                <a:gd name="connsiteX184" fmla="*/ 3433713 w 3765550"/>
                <a:gd name="connsiteY184" fmla="*/ 1110187 h 2603500"/>
                <a:gd name="connsiteX185" fmla="*/ 3327033 w 3765550"/>
                <a:gd name="connsiteY185" fmla="*/ 1034622 h 2603500"/>
                <a:gd name="connsiteX186" fmla="*/ 3279408 w 3765550"/>
                <a:gd name="connsiteY186" fmla="*/ 1039702 h 2603500"/>
                <a:gd name="connsiteX187" fmla="*/ 3264167 w 3765550"/>
                <a:gd name="connsiteY187" fmla="*/ 1018747 h 2603500"/>
                <a:gd name="connsiteX188" fmla="*/ 3257183 w 3765550"/>
                <a:gd name="connsiteY188" fmla="*/ 1043512 h 2603500"/>
                <a:gd name="connsiteX189" fmla="*/ 3192413 w 3765550"/>
                <a:gd name="connsiteY189" fmla="*/ 914607 h 2603500"/>
                <a:gd name="connsiteX190" fmla="*/ 3148598 w 3765550"/>
                <a:gd name="connsiteY190" fmla="*/ 894922 h 2603500"/>
                <a:gd name="connsiteX191" fmla="*/ 3131453 w 3765550"/>
                <a:gd name="connsiteY191" fmla="*/ 893017 h 2603500"/>
                <a:gd name="connsiteX192" fmla="*/ 3118753 w 3765550"/>
                <a:gd name="connsiteY192" fmla="*/ 842852 h 2603500"/>
                <a:gd name="connsiteX193" fmla="*/ 3100973 w 3765550"/>
                <a:gd name="connsiteY193" fmla="*/ 780622 h 2603500"/>
                <a:gd name="connsiteX194" fmla="*/ 3110498 w 3765550"/>
                <a:gd name="connsiteY194" fmla="*/ 774907 h 2603500"/>
                <a:gd name="connsiteX195" fmla="*/ 3088908 w 3765550"/>
                <a:gd name="connsiteY195" fmla="*/ 750777 h 2603500"/>
                <a:gd name="connsiteX196" fmla="*/ 3086367 w 3765550"/>
                <a:gd name="connsiteY196" fmla="*/ 727282 h 2603500"/>
                <a:gd name="connsiteX197" fmla="*/ 3048903 w 3765550"/>
                <a:gd name="connsiteY197" fmla="*/ 705692 h 2603500"/>
                <a:gd name="connsiteX198" fmla="*/ 3014613 w 3765550"/>
                <a:gd name="connsiteY198" fmla="*/ 687912 h 2603500"/>
                <a:gd name="connsiteX199" fmla="*/ 3019058 w 3765550"/>
                <a:gd name="connsiteY199" fmla="*/ 639652 h 2603500"/>
                <a:gd name="connsiteX200" fmla="*/ 2980323 w 3765550"/>
                <a:gd name="connsiteY200" fmla="*/ 616792 h 2603500"/>
                <a:gd name="connsiteX201" fmla="*/ 2940953 w 3765550"/>
                <a:gd name="connsiteY201" fmla="*/ 555832 h 2603500"/>
                <a:gd name="connsiteX202" fmla="*/ 2902217 w 3765550"/>
                <a:gd name="connsiteY202" fmla="*/ 510747 h 2603500"/>
                <a:gd name="connsiteX203" fmla="*/ 2903488 w 3765550"/>
                <a:gd name="connsiteY203" fmla="*/ 494872 h 2603500"/>
                <a:gd name="connsiteX204" fmla="*/ 2867928 w 3765550"/>
                <a:gd name="connsiteY204" fmla="*/ 447247 h 2603500"/>
                <a:gd name="connsiteX205" fmla="*/ 2873642 w 3765550"/>
                <a:gd name="connsiteY205" fmla="*/ 444707 h 2603500"/>
                <a:gd name="connsiteX206" fmla="*/ 2794267 w 3765550"/>
                <a:gd name="connsiteY206" fmla="*/ 356442 h 26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3765550" h="2603500">
                  <a:moveTo>
                    <a:pt x="2756803" y="242142"/>
                  </a:moveTo>
                  <a:cubicBezTo>
                    <a:pt x="2742198" y="244682"/>
                    <a:pt x="2726323" y="242777"/>
                    <a:pt x="2712988" y="249127"/>
                  </a:cubicBezTo>
                  <a:cubicBezTo>
                    <a:pt x="2699017" y="256112"/>
                    <a:pt x="2692033" y="272622"/>
                    <a:pt x="2678698" y="281512"/>
                  </a:cubicBezTo>
                  <a:cubicBezTo>
                    <a:pt x="2674253" y="284687"/>
                    <a:pt x="2666633" y="280877"/>
                    <a:pt x="2662188" y="284687"/>
                  </a:cubicBezTo>
                  <a:cubicBezTo>
                    <a:pt x="2659013" y="287227"/>
                    <a:pt x="2635517" y="322152"/>
                    <a:pt x="2622817" y="322152"/>
                  </a:cubicBezTo>
                  <a:cubicBezTo>
                    <a:pt x="2572653" y="321517"/>
                    <a:pt x="2523758" y="312627"/>
                    <a:pt x="2473592" y="308182"/>
                  </a:cubicBezTo>
                  <a:cubicBezTo>
                    <a:pt x="2465338" y="307547"/>
                    <a:pt x="2457083" y="305007"/>
                    <a:pt x="2448828" y="306277"/>
                  </a:cubicBezTo>
                  <a:cubicBezTo>
                    <a:pt x="2438033" y="308817"/>
                    <a:pt x="2429142" y="320247"/>
                    <a:pt x="2418348" y="319612"/>
                  </a:cubicBezTo>
                  <a:cubicBezTo>
                    <a:pt x="2392313" y="317072"/>
                    <a:pt x="2368183" y="305007"/>
                    <a:pt x="2343417" y="296752"/>
                  </a:cubicBezTo>
                  <a:cubicBezTo>
                    <a:pt x="2342148" y="296117"/>
                    <a:pt x="2344053" y="294212"/>
                    <a:pt x="2342783" y="293577"/>
                  </a:cubicBezTo>
                  <a:cubicBezTo>
                    <a:pt x="2331353" y="289132"/>
                    <a:pt x="2316748" y="302467"/>
                    <a:pt x="2306588" y="296117"/>
                  </a:cubicBezTo>
                  <a:cubicBezTo>
                    <a:pt x="2297698" y="289767"/>
                    <a:pt x="2302142" y="272622"/>
                    <a:pt x="2292617" y="266907"/>
                  </a:cubicBezTo>
                  <a:cubicBezTo>
                    <a:pt x="2276742" y="257382"/>
                    <a:pt x="2257058" y="256112"/>
                    <a:pt x="2239278" y="253572"/>
                  </a:cubicBezTo>
                  <a:cubicBezTo>
                    <a:pt x="2224673" y="251667"/>
                    <a:pt x="2160538" y="277067"/>
                    <a:pt x="2156092" y="289132"/>
                  </a:cubicBezTo>
                  <a:cubicBezTo>
                    <a:pt x="2123073" y="384382"/>
                    <a:pt x="2171333" y="384382"/>
                    <a:pt x="2098942" y="442802"/>
                  </a:cubicBezTo>
                  <a:cubicBezTo>
                    <a:pt x="2077353" y="459947"/>
                    <a:pt x="2042428" y="421212"/>
                    <a:pt x="2034173" y="416767"/>
                  </a:cubicBezTo>
                  <a:cubicBezTo>
                    <a:pt x="2018932" y="409782"/>
                    <a:pt x="2003057" y="404702"/>
                    <a:pt x="1986548" y="401527"/>
                  </a:cubicBezTo>
                  <a:cubicBezTo>
                    <a:pt x="1954163" y="395812"/>
                    <a:pt x="1903363" y="407242"/>
                    <a:pt x="1881138" y="371682"/>
                  </a:cubicBezTo>
                  <a:cubicBezTo>
                    <a:pt x="1871613" y="357077"/>
                    <a:pt x="1876692" y="332947"/>
                    <a:pt x="1861453" y="324057"/>
                  </a:cubicBezTo>
                  <a:cubicBezTo>
                    <a:pt x="1712863" y="233887"/>
                    <a:pt x="1803032" y="316437"/>
                    <a:pt x="1702703" y="301197"/>
                  </a:cubicBezTo>
                  <a:cubicBezTo>
                    <a:pt x="1662063" y="294847"/>
                    <a:pt x="1647457" y="263097"/>
                    <a:pt x="1613167" y="245317"/>
                  </a:cubicBezTo>
                  <a:cubicBezTo>
                    <a:pt x="1606817" y="242142"/>
                    <a:pt x="1597928" y="249762"/>
                    <a:pt x="1592213" y="245317"/>
                  </a:cubicBezTo>
                  <a:cubicBezTo>
                    <a:pt x="1533157" y="198327"/>
                    <a:pt x="1638567" y="193882"/>
                    <a:pt x="1636663" y="144987"/>
                  </a:cubicBezTo>
                  <a:cubicBezTo>
                    <a:pt x="1636028" y="133557"/>
                    <a:pt x="1596657" y="94187"/>
                    <a:pt x="1599198" y="87202"/>
                  </a:cubicBezTo>
                  <a:cubicBezTo>
                    <a:pt x="1619517" y="25607"/>
                    <a:pt x="1688732" y="37037"/>
                    <a:pt x="1568082" y="6557"/>
                  </a:cubicBezTo>
                  <a:cubicBezTo>
                    <a:pt x="1531888" y="-2333"/>
                    <a:pt x="1533157" y="24337"/>
                    <a:pt x="1502678" y="31322"/>
                  </a:cubicBezTo>
                  <a:cubicBezTo>
                    <a:pt x="1488073" y="34497"/>
                    <a:pt x="1472832" y="30052"/>
                    <a:pt x="1457592" y="30052"/>
                  </a:cubicBezTo>
                  <a:cubicBezTo>
                    <a:pt x="1446798" y="29417"/>
                    <a:pt x="1436003" y="31957"/>
                    <a:pt x="1425842" y="30052"/>
                  </a:cubicBezTo>
                  <a:cubicBezTo>
                    <a:pt x="1413142" y="27512"/>
                    <a:pt x="1402348" y="17987"/>
                    <a:pt x="1389648" y="17352"/>
                  </a:cubicBezTo>
                  <a:cubicBezTo>
                    <a:pt x="1384567" y="17352"/>
                    <a:pt x="1382028" y="25607"/>
                    <a:pt x="1376948" y="27512"/>
                  </a:cubicBezTo>
                  <a:cubicBezTo>
                    <a:pt x="1361073" y="33862"/>
                    <a:pt x="1345198" y="44022"/>
                    <a:pt x="1328688" y="43387"/>
                  </a:cubicBezTo>
                  <a:cubicBezTo>
                    <a:pt x="1300113" y="42117"/>
                    <a:pt x="1274713" y="25607"/>
                    <a:pt x="1246773" y="20527"/>
                  </a:cubicBezTo>
                  <a:cubicBezTo>
                    <a:pt x="1208673" y="14177"/>
                    <a:pt x="1097548" y="26877"/>
                    <a:pt x="1066432" y="46562"/>
                  </a:cubicBezTo>
                  <a:cubicBezTo>
                    <a:pt x="1058178" y="52277"/>
                    <a:pt x="1055003" y="64977"/>
                    <a:pt x="1045478" y="68152"/>
                  </a:cubicBezTo>
                  <a:cubicBezTo>
                    <a:pt x="1032142" y="72597"/>
                    <a:pt x="1016267" y="61802"/>
                    <a:pt x="1002932" y="66882"/>
                  </a:cubicBezTo>
                  <a:cubicBezTo>
                    <a:pt x="982613" y="73867"/>
                    <a:pt x="968007" y="92917"/>
                    <a:pt x="948323" y="101807"/>
                  </a:cubicBezTo>
                  <a:cubicBezTo>
                    <a:pt x="922288" y="113237"/>
                    <a:pt x="907682" y="76407"/>
                    <a:pt x="890538" y="71327"/>
                  </a:cubicBezTo>
                  <a:cubicBezTo>
                    <a:pt x="882917" y="68787"/>
                    <a:pt x="877838" y="83392"/>
                    <a:pt x="869582" y="84027"/>
                  </a:cubicBezTo>
                  <a:cubicBezTo>
                    <a:pt x="867042" y="84027"/>
                    <a:pt x="813703" y="80852"/>
                    <a:pt x="800367" y="69422"/>
                  </a:cubicBezTo>
                  <a:cubicBezTo>
                    <a:pt x="790842" y="61167"/>
                    <a:pt x="782588" y="51642"/>
                    <a:pt x="776238" y="40847"/>
                  </a:cubicBezTo>
                  <a:cubicBezTo>
                    <a:pt x="771792" y="32592"/>
                    <a:pt x="776238" y="-9953"/>
                    <a:pt x="745123" y="21162"/>
                  </a:cubicBezTo>
                  <a:cubicBezTo>
                    <a:pt x="725438" y="40212"/>
                    <a:pt x="705753" y="117682"/>
                    <a:pt x="675273" y="127842"/>
                  </a:cubicBezTo>
                  <a:cubicBezTo>
                    <a:pt x="647332" y="137367"/>
                    <a:pt x="613042" y="133557"/>
                    <a:pt x="589548" y="151337"/>
                  </a:cubicBezTo>
                  <a:cubicBezTo>
                    <a:pt x="581292" y="157687"/>
                    <a:pt x="574942" y="165942"/>
                    <a:pt x="567323" y="171657"/>
                  </a:cubicBezTo>
                  <a:cubicBezTo>
                    <a:pt x="560338" y="177372"/>
                    <a:pt x="549542" y="179277"/>
                    <a:pt x="543828" y="186262"/>
                  </a:cubicBezTo>
                  <a:cubicBezTo>
                    <a:pt x="539382" y="192612"/>
                    <a:pt x="543828" y="202772"/>
                    <a:pt x="540017" y="209122"/>
                  </a:cubicBezTo>
                  <a:cubicBezTo>
                    <a:pt x="533667" y="220552"/>
                    <a:pt x="518428" y="225632"/>
                    <a:pt x="513982" y="238332"/>
                  </a:cubicBezTo>
                  <a:cubicBezTo>
                    <a:pt x="484773" y="326597"/>
                    <a:pt x="531128" y="305007"/>
                    <a:pt x="472707" y="363427"/>
                  </a:cubicBezTo>
                  <a:cubicBezTo>
                    <a:pt x="450482" y="385652"/>
                    <a:pt x="387617" y="416132"/>
                    <a:pt x="359678" y="421212"/>
                  </a:cubicBezTo>
                  <a:cubicBezTo>
                    <a:pt x="324753" y="428197"/>
                    <a:pt x="321578" y="400892"/>
                    <a:pt x="301257" y="428832"/>
                  </a:cubicBezTo>
                  <a:cubicBezTo>
                    <a:pt x="291732" y="441532"/>
                    <a:pt x="290463" y="459312"/>
                    <a:pt x="278398" y="469472"/>
                  </a:cubicBezTo>
                  <a:cubicBezTo>
                    <a:pt x="262523" y="482807"/>
                    <a:pt x="233313" y="478362"/>
                    <a:pt x="222517" y="496142"/>
                  </a:cubicBezTo>
                  <a:cubicBezTo>
                    <a:pt x="214263" y="510747"/>
                    <a:pt x="204103" y="524082"/>
                    <a:pt x="197753" y="539957"/>
                  </a:cubicBezTo>
                  <a:cubicBezTo>
                    <a:pt x="193307" y="551387"/>
                    <a:pt x="196482" y="565992"/>
                    <a:pt x="188863" y="575517"/>
                  </a:cubicBezTo>
                  <a:cubicBezTo>
                    <a:pt x="178703" y="587582"/>
                    <a:pt x="162192" y="593297"/>
                    <a:pt x="148223" y="600917"/>
                  </a:cubicBezTo>
                  <a:cubicBezTo>
                    <a:pt x="141238" y="604727"/>
                    <a:pt x="113932" y="605362"/>
                    <a:pt x="126632" y="613617"/>
                  </a:cubicBezTo>
                  <a:cubicBezTo>
                    <a:pt x="130442" y="616157"/>
                    <a:pt x="141238" y="602187"/>
                    <a:pt x="139332" y="606632"/>
                  </a:cubicBezTo>
                  <a:cubicBezTo>
                    <a:pt x="132982" y="623142"/>
                    <a:pt x="120917" y="637112"/>
                    <a:pt x="111392" y="651717"/>
                  </a:cubicBezTo>
                  <a:cubicBezTo>
                    <a:pt x="109488" y="654892"/>
                    <a:pt x="105678" y="655527"/>
                    <a:pt x="103773" y="658702"/>
                  </a:cubicBezTo>
                  <a:cubicBezTo>
                    <a:pt x="99328" y="665687"/>
                    <a:pt x="98692" y="674577"/>
                    <a:pt x="93613" y="680292"/>
                  </a:cubicBezTo>
                  <a:cubicBezTo>
                    <a:pt x="87263" y="686642"/>
                    <a:pt x="76467" y="687277"/>
                    <a:pt x="70117" y="693627"/>
                  </a:cubicBezTo>
                  <a:cubicBezTo>
                    <a:pt x="67578" y="696167"/>
                    <a:pt x="67578" y="701247"/>
                    <a:pt x="66942" y="705057"/>
                  </a:cubicBezTo>
                  <a:cubicBezTo>
                    <a:pt x="63132" y="722202"/>
                    <a:pt x="54242" y="739347"/>
                    <a:pt x="55513" y="756492"/>
                  </a:cubicBezTo>
                  <a:cubicBezTo>
                    <a:pt x="56148" y="763477"/>
                    <a:pt x="68213" y="762842"/>
                    <a:pt x="72657" y="768557"/>
                  </a:cubicBezTo>
                  <a:cubicBezTo>
                    <a:pt x="80913" y="779352"/>
                    <a:pt x="92978" y="790147"/>
                    <a:pt x="92978" y="803482"/>
                  </a:cubicBezTo>
                  <a:cubicBezTo>
                    <a:pt x="92978" y="818087"/>
                    <a:pt x="72657" y="827612"/>
                    <a:pt x="72023" y="842217"/>
                  </a:cubicBezTo>
                  <a:cubicBezTo>
                    <a:pt x="71388" y="875237"/>
                    <a:pt x="100598" y="909527"/>
                    <a:pt x="88532" y="940642"/>
                  </a:cubicBezTo>
                  <a:cubicBezTo>
                    <a:pt x="81548" y="957787"/>
                    <a:pt x="69482" y="973027"/>
                    <a:pt x="63132" y="990807"/>
                  </a:cubicBezTo>
                  <a:cubicBezTo>
                    <a:pt x="51703" y="1021287"/>
                    <a:pt x="70753" y="1027002"/>
                    <a:pt x="38367" y="1054307"/>
                  </a:cubicBezTo>
                  <a:cubicBezTo>
                    <a:pt x="29478" y="1061927"/>
                    <a:pt x="12332" y="1054942"/>
                    <a:pt x="5348" y="1064467"/>
                  </a:cubicBezTo>
                  <a:cubicBezTo>
                    <a:pt x="1538" y="1070182"/>
                    <a:pt x="17413" y="1072087"/>
                    <a:pt x="21857" y="1077167"/>
                  </a:cubicBezTo>
                  <a:cubicBezTo>
                    <a:pt x="35192" y="1090502"/>
                    <a:pt x="50432" y="1102567"/>
                    <a:pt x="60592" y="1118442"/>
                  </a:cubicBezTo>
                  <a:cubicBezTo>
                    <a:pt x="62498" y="1120982"/>
                    <a:pt x="56148" y="1123522"/>
                    <a:pt x="54242" y="1126697"/>
                  </a:cubicBezTo>
                  <a:cubicBezTo>
                    <a:pt x="51703" y="1131777"/>
                    <a:pt x="49163" y="1137492"/>
                    <a:pt x="49798" y="1143207"/>
                  </a:cubicBezTo>
                  <a:cubicBezTo>
                    <a:pt x="50432" y="1148922"/>
                    <a:pt x="53607" y="1154637"/>
                    <a:pt x="57417" y="1159082"/>
                  </a:cubicBezTo>
                  <a:cubicBezTo>
                    <a:pt x="60592" y="1162892"/>
                    <a:pt x="69482" y="1162892"/>
                    <a:pt x="68848" y="1167337"/>
                  </a:cubicBezTo>
                  <a:cubicBezTo>
                    <a:pt x="64403" y="1194642"/>
                    <a:pt x="51703" y="1145747"/>
                    <a:pt x="41542" y="1146382"/>
                  </a:cubicBezTo>
                  <a:cubicBezTo>
                    <a:pt x="34557" y="1147017"/>
                    <a:pt x="35828" y="1160987"/>
                    <a:pt x="40273" y="1166702"/>
                  </a:cubicBezTo>
                  <a:cubicBezTo>
                    <a:pt x="54878" y="1185752"/>
                    <a:pt x="77738" y="1197182"/>
                    <a:pt x="94882" y="1214327"/>
                  </a:cubicBezTo>
                  <a:cubicBezTo>
                    <a:pt x="100598" y="1219407"/>
                    <a:pt x="82817" y="1205437"/>
                    <a:pt x="75832" y="1201627"/>
                  </a:cubicBezTo>
                  <a:cubicBezTo>
                    <a:pt x="72657" y="1199722"/>
                    <a:pt x="28207" y="1174957"/>
                    <a:pt x="40907" y="1202262"/>
                  </a:cubicBezTo>
                  <a:cubicBezTo>
                    <a:pt x="47257" y="1215597"/>
                    <a:pt x="57417" y="1227027"/>
                    <a:pt x="69482" y="1235282"/>
                  </a:cubicBezTo>
                  <a:cubicBezTo>
                    <a:pt x="75198" y="1239727"/>
                    <a:pt x="86628" y="1232107"/>
                    <a:pt x="91073" y="1237822"/>
                  </a:cubicBezTo>
                  <a:cubicBezTo>
                    <a:pt x="94248" y="1242267"/>
                    <a:pt x="73292" y="1243537"/>
                    <a:pt x="77738" y="1246077"/>
                  </a:cubicBezTo>
                  <a:cubicBezTo>
                    <a:pt x="92342" y="1253062"/>
                    <a:pt x="115203" y="1242267"/>
                    <a:pt x="125998" y="1254332"/>
                  </a:cubicBezTo>
                  <a:cubicBezTo>
                    <a:pt x="132982" y="1261952"/>
                    <a:pt x="101867" y="1262587"/>
                    <a:pt x="101232" y="1272747"/>
                  </a:cubicBezTo>
                  <a:cubicBezTo>
                    <a:pt x="100598" y="1285447"/>
                    <a:pt x="117107" y="1292432"/>
                    <a:pt x="124728" y="1302592"/>
                  </a:cubicBezTo>
                  <a:cubicBezTo>
                    <a:pt x="131078" y="1312117"/>
                    <a:pt x="134888" y="1323547"/>
                    <a:pt x="142507" y="1331802"/>
                  </a:cubicBezTo>
                  <a:cubicBezTo>
                    <a:pt x="152032" y="1342597"/>
                    <a:pt x="167273" y="1347677"/>
                    <a:pt x="176798" y="1358472"/>
                  </a:cubicBezTo>
                  <a:cubicBezTo>
                    <a:pt x="191403" y="1374347"/>
                    <a:pt x="202832" y="1392762"/>
                    <a:pt x="213628" y="1411812"/>
                  </a:cubicBezTo>
                  <a:cubicBezTo>
                    <a:pt x="216167" y="1416257"/>
                    <a:pt x="212357" y="1421972"/>
                    <a:pt x="213628" y="1426417"/>
                  </a:cubicBezTo>
                  <a:cubicBezTo>
                    <a:pt x="219978" y="1443562"/>
                    <a:pt x="230773" y="1459437"/>
                    <a:pt x="236488" y="1476582"/>
                  </a:cubicBezTo>
                  <a:cubicBezTo>
                    <a:pt x="237123" y="1479122"/>
                    <a:pt x="230138" y="1482297"/>
                    <a:pt x="232678" y="1484202"/>
                  </a:cubicBezTo>
                  <a:cubicBezTo>
                    <a:pt x="244107" y="1495632"/>
                    <a:pt x="274588" y="1501347"/>
                    <a:pt x="273953" y="1512142"/>
                  </a:cubicBezTo>
                  <a:cubicBezTo>
                    <a:pt x="273953" y="1517857"/>
                    <a:pt x="254267" y="1511507"/>
                    <a:pt x="258078" y="1515952"/>
                  </a:cubicBezTo>
                  <a:cubicBezTo>
                    <a:pt x="266332" y="1527382"/>
                    <a:pt x="282207" y="1530557"/>
                    <a:pt x="293638" y="1538812"/>
                  </a:cubicBezTo>
                  <a:cubicBezTo>
                    <a:pt x="350788" y="1580087"/>
                    <a:pt x="290463" y="1536907"/>
                    <a:pt x="319038" y="1566752"/>
                  </a:cubicBezTo>
                  <a:cubicBezTo>
                    <a:pt x="416192" y="1667717"/>
                    <a:pt x="303798" y="1548972"/>
                    <a:pt x="375553" y="1609932"/>
                  </a:cubicBezTo>
                  <a:cubicBezTo>
                    <a:pt x="408573" y="1637872"/>
                    <a:pt x="463817" y="1712167"/>
                    <a:pt x="509538" y="1718517"/>
                  </a:cubicBezTo>
                  <a:cubicBezTo>
                    <a:pt x="602882" y="1730582"/>
                    <a:pt x="705117" y="1728677"/>
                    <a:pt x="795923" y="1760427"/>
                  </a:cubicBezTo>
                  <a:cubicBezTo>
                    <a:pt x="800367" y="1762332"/>
                    <a:pt x="776873" y="1759792"/>
                    <a:pt x="781317" y="1761062"/>
                  </a:cubicBezTo>
                  <a:cubicBezTo>
                    <a:pt x="816878" y="1769317"/>
                    <a:pt x="851803" y="1778842"/>
                    <a:pt x="887998" y="1781382"/>
                  </a:cubicBezTo>
                  <a:cubicBezTo>
                    <a:pt x="905142" y="1782652"/>
                    <a:pt x="922288" y="1773762"/>
                    <a:pt x="939432" y="1773127"/>
                  </a:cubicBezTo>
                  <a:cubicBezTo>
                    <a:pt x="1028332" y="1769317"/>
                    <a:pt x="1116598" y="1768047"/>
                    <a:pt x="1205498" y="1768047"/>
                  </a:cubicBezTo>
                  <a:cubicBezTo>
                    <a:pt x="1235978" y="1768047"/>
                    <a:pt x="1232803" y="1787732"/>
                    <a:pt x="1264553" y="1802337"/>
                  </a:cubicBezTo>
                  <a:cubicBezTo>
                    <a:pt x="1268998" y="1804242"/>
                    <a:pt x="1275982" y="1792812"/>
                    <a:pt x="1278523" y="1797257"/>
                  </a:cubicBezTo>
                  <a:cubicBezTo>
                    <a:pt x="1297573" y="1826467"/>
                    <a:pt x="1274713" y="1865837"/>
                    <a:pt x="1329323" y="1870282"/>
                  </a:cubicBezTo>
                  <a:cubicBezTo>
                    <a:pt x="1343292" y="1871552"/>
                    <a:pt x="1352182" y="1849327"/>
                    <a:pt x="1366153" y="1848692"/>
                  </a:cubicBezTo>
                  <a:cubicBezTo>
                    <a:pt x="1386473" y="1848057"/>
                    <a:pt x="1404253" y="1862662"/>
                    <a:pt x="1423938" y="1865837"/>
                  </a:cubicBezTo>
                  <a:cubicBezTo>
                    <a:pt x="1436638" y="1868377"/>
                    <a:pt x="1451242" y="1872187"/>
                    <a:pt x="1462673" y="1865202"/>
                  </a:cubicBezTo>
                  <a:cubicBezTo>
                    <a:pt x="1468388" y="1861392"/>
                    <a:pt x="1449338" y="1849962"/>
                    <a:pt x="1455053" y="1846787"/>
                  </a:cubicBezTo>
                  <a:cubicBezTo>
                    <a:pt x="1477278" y="1834087"/>
                    <a:pt x="1486803" y="1878537"/>
                    <a:pt x="1512203" y="1889332"/>
                  </a:cubicBezTo>
                  <a:cubicBezTo>
                    <a:pt x="1524267" y="1894412"/>
                    <a:pt x="1540142" y="1877902"/>
                    <a:pt x="1550938" y="1885522"/>
                  </a:cubicBezTo>
                  <a:cubicBezTo>
                    <a:pt x="1582688" y="1909652"/>
                    <a:pt x="1557923" y="1933147"/>
                    <a:pt x="1555382" y="1957277"/>
                  </a:cubicBezTo>
                  <a:cubicBezTo>
                    <a:pt x="1553478" y="1974422"/>
                    <a:pt x="1560463" y="1992837"/>
                    <a:pt x="1554748" y="2009347"/>
                  </a:cubicBezTo>
                  <a:cubicBezTo>
                    <a:pt x="1468388" y="2248107"/>
                    <a:pt x="1587767" y="1812497"/>
                    <a:pt x="1489978" y="2067767"/>
                  </a:cubicBezTo>
                  <a:cubicBezTo>
                    <a:pt x="1486803" y="2076022"/>
                    <a:pt x="1500773" y="2082372"/>
                    <a:pt x="1506488" y="2089357"/>
                  </a:cubicBezTo>
                  <a:cubicBezTo>
                    <a:pt x="1512203" y="2096342"/>
                    <a:pt x="1516013" y="2105232"/>
                    <a:pt x="1522998" y="2110947"/>
                  </a:cubicBezTo>
                  <a:cubicBezTo>
                    <a:pt x="1527442" y="2114757"/>
                    <a:pt x="1534428" y="2115392"/>
                    <a:pt x="1540142" y="2118567"/>
                  </a:cubicBezTo>
                  <a:cubicBezTo>
                    <a:pt x="1545223" y="2121742"/>
                    <a:pt x="1518553" y="2109042"/>
                    <a:pt x="1524267" y="2111582"/>
                  </a:cubicBezTo>
                  <a:cubicBezTo>
                    <a:pt x="1541413" y="2119202"/>
                    <a:pt x="1561098" y="2123012"/>
                    <a:pt x="1576338" y="2134442"/>
                  </a:cubicBezTo>
                  <a:cubicBezTo>
                    <a:pt x="1583323" y="2139522"/>
                    <a:pt x="1543953" y="2126187"/>
                    <a:pt x="1550303" y="2131902"/>
                  </a:cubicBezTo>
                  <a:cubicBezTo>
                    <a:pt x="1573163" y="2152222"/>
                    <a:pt x="1643013" y="2180162"/>
                    <a:pt x="1672857" y="2199847"/>
                  </a:cubicBezTo>
                  <a:cubicBezTo>
                    <a:pt x="1703338" y="2220167"/>
                    <a:pt x="1671588" y="2214452"/>
                    <a:pt x="1700798" y="2246202"/>
                  </a:cubicBezTo>
                  <a:cubicBezTo>
                    <a:pt x="1710957" y="2257632"/>
                    <a:pt x="1761757" y="2300812"/>
                    <a:pt x="1764298" y="2317322"/>
                  </a:cubicBezTo>
                  <a:cubicBezTo>
                    <a:pt x="1765567" y="2325577"/>
                    <a:pt x="1739532" y="2318592"/>
                    <a:pt x="1740803" y="2327482"/>
                  </a:cubicBezTo>
                  <a:cubicBezTo>
                    <a:pt x="1743342" y="2342087"/>
                    <a:pt x="1804938" y="2368122"/>
                    <a:pt x="1783982" y="2390982"/>
                  </a:cubicBezTo>
                  <a:cubicBezTo>
                    <a:pt x="1771282" y="2404952"/>
                    <a:pt x="1751598" y="2410032"/>
                    <a:pt x="1734453" y="2418922"/>
                  </a:cubicBezTo>
                  <a:cubicBezTo>
                    <a:pt x="1726832" y="2422732"/>
                    <a:pt x="1717307" y="2422732"/>
                    <a:pt x="1710957" y="2428447"/>
                  </a:cubicBezTo>
                  <a:cubicBezTo>
                    <a:pt x="1701432" y="2437972"/>
                    <a:pt x="1698892" y="2452577"/>
                    <a:pt x="1690003" y="2462737"/>
                  </a:cubicBezTo>
                  <a:cubicBezTo>
                    <a:pt x="1684288" y="2469087"/>
                    <a:pt x="1671588" y="2467817"/>
                    <a:pt x="1667142" y="2475437"/>
                  </a:cubicBezTo>
                  <a:cubicBezTo>
                    <a:pt x="1663332" y="2482422"/>
                    <a:pt x="1667778" y="2491312"/>
                    <a:pt x="1668413" y="2498932"/>
                  </a:cubicBezTo>
                  <a:cubicBezTo>
                    <a:pt x="1668413" y="2503377"/>
                    <a:pt x="1665873" y="2509727"/>
                    <a:pt x="1669682" y="2511632"/>
                  </a:cubicBezTo>
                  <a:cubicBezTo>
                    <a:pt x="1681113" y="2519252"/>
                    <a:pt x="1695717" y="2520522"/>
                    <a:pt x="1709053" y="2525602"/>
                  </a:cubicBezTo>
                  <a:cubicBezTo>
                    <a:pt x="1738263" y="2537032"/>
                    <a:pt x="1767473" y="2549097"/>
                    <a:pt x="1796682" y="2561162"/>
                  </a:cubicBezTo>
                  <a:cubicBezTo>
                    <a:pt x="1799223" y="2562432"/>
                    <a:pt x="1803032" y="2562432"/>
                    <a:pt x="1803032" y="2564972"/>
                  </a:cubicBezTo>
                  <a:cubicBezTo>
                    <a:pt x="1803667" y="2567512"/>
                    <a:pt x="1796048" y="2568782"/>
                    <a:pt x="1797953" y="2569417"/>
                  </a:cubicBezTo>
                  <a:cubicBezTo>
                    <a:pt x="1845578" y="2581482"/>
                    <a:pt x="1893838" y="2589737"/>
                    <a:pt x="1942098" y="2600532"/>
                  </a:cubicBezTo>
                  <a:lnTo>
                    <a:pt x="1931938" y="2599897"/>
                  </a:lnTo>
                  <a:cubicBezTo>
                    <a:pt x="1982103" y="2595452"/>
                    <a:pt x="2032267" y="2589737"/>
                    <a:pt x="2081798" y="2581482"/>
                  </a:cubicBezTo>
                  <a:cubicBezTo>
                    <a:pt x="2215148" y="2558622"/>
                    <a:pt x="2345958" y="2526872"/>
                    <a:pt x="2474228" y="2485597"/>
                  </a:cubicBezTo>
                  <a:lnTo>
                    <a:pt x="2479308" y="2485597"/>
                  </a:lnTo>
                  <a:cubicBezTo>
                    <a:pt x="2554238" y="2460197"/>
                    <a:pt x="2624088" y="2426542"/>
                    <a:pt x="2697113" y="2396697"/>
                  </a:cubicBezTo>
                  <a:cubicBezTo>
                    <a:pt x="2709178" y="2391617"/>
                    <a:pt x="2752358" y="2377012"/>
                    <a:pt x="2761248" y="2367487"/>
                  </a:cubicBezTo>
                  <a:cubicBezTo>
                    <a:pt x="2771408" y="2355422"/>
                    <a:pt x="2772042" y="2335737"/>
                    <a:pt x="2783473" y="2323672"/>
                  </a:cubicBezTo>
                  <a:cubicBezTo>
                    <a:pt x="2790458" y="2316052"/>
                    <a:pt x="2803158" y="2316687"/>
                    <a:pt x="2812683" y="2311607"/>
                  </a:cubicBezTo>
                  <a:cubicBezTo>
                    <a:pt x="2854592" y="2290652"/>
                    <a:pt x="2870467" y="2276682"/>
                    <a:pt x="2906028" y="2253822"/>
                  </a:cubicBezTo>
                  <a:cubicBezTo>
                    <a:pt x="2970798" y="2211912"/>
                    <a:pt x="3071763" y="2178892"/>
                    <a:pt x="3114942" y="2110947"/>
                  </a:cubicBezTo>
                  <a:cubicBezTo>
                    <a:pt x="3123198" y="2097612"/>
                    <a:pt x="3133358" y="2084277"/>
                    <a:pt x="3139708" y="2069672"/>
                  </a:cubicBezTo>
                  <a:cubicBezTo>
                    <a:pt x="3143517" y="2060782"/>
                    <a:pt x="3140978" y="2049987"/>
                    <a:pt x="3145423" y="2041097"/>
                  </a:cubicBezTo>
                  <a:cubicBezTo>
                    <a:pt x="3149867" y="2032207"/>
                    <a:pt x="3160663" y="2027127"/>
                    <a:pt x="3166378" y="2018237"/>
                  </a:cubicBezTo>
                  <a:cubicBezTo>
                    <a:pt x="3167648" y="2016332"/>
                    <a:pt x="3160663" y="2020142"/>
                    <a:pt x="3159392" y="2018237"/>
                  </a:cubicBezTo>
                  <a:cubicBezTo>
                    <a:pt x="3149867" y="2003632"/>
                    <a:pt x="3136533" y="1989027"/>
                    <a:pt x="3136533" y="1971882"/>
                  </a:cubicBezTo>
                  <a:cubicBezTo>
                    <a:pt x="3136533" y="1959182"/>
                    <a:pt x="3160028" y="1954102"/>
                    <a:pt x="3158758" y="1941402"/>
                  </a:cubicBezTo>
                  <a:cubicBezTo>
                    <a:pt x="3158123" y="1931877"/>
                    <a:pt x="3132088" y="1939497"/>
                    <a:pt x="3132723" y="1929972"/>
                  </a:cubicBezTo>
                  <a:cubicBezTo>
                    <a:pt x="3135898" y="1900762"/>
                    <a:pt x="3177808" y="1868377"/>
                    <a:pt x="3194317" y="1846152"/>
                  </a:cubicBezTo>
                  <a:cubicBezTo>
                    <a:pt x="3200667" y="1837262"/>
                    <a:pt x="3203842" y="1827102"/>
                    <a:pt x="3210192" y="1818212"/>
                  </a:cubicBezTo>
                  <a:cubicBezTo>
                    <a:pt x="3212098" y="1815037"/>
                    <a:pt x="3217178" y="1815037"/>
                    <a:pt x="3219083" y="1811862"/>
                  </a:cubicBezTo>
                  <a:cubicBezTo>
                    <a:pt x="3222892" y="1805512"/>
                    <a:pt x="3222258" y="1796622"/>
                    <a:pt x="3227338" y="1790907"/>
                  </a:cubicBezTo>
                  <a:cubicBezTo>
                    <a:pt x="3238133" y="1778842"/>
                    <a:pt x="3254642" y="1772492"/>
                    <a:pt x="3265438" y="1760427"/>
                  </a:cubicBezTo>
                  <a:cubicBezTo>
                    <a:pt x="3267342" y="1757887"/>
                    <a:pt x="3262263" y="1753442"/>
                    <a:pt x="3264167" y="1750902"/>
                  </a:cubicBezTo>
                  <a:cubicBezTo>
                    <a:pt x="3269248" y="1745187"/>
                    <a:pt x="3278773" y="1745187"/>
                    <a:pt x="3284488" y="1740742"/>
                  </a:cubicBezTo>
                  <a:cubicBezTo>
                    <a:pt x="3300998" y="1727407"/>
                    <a:pt x="3308617" y="1705182"/>
                    <a:pt x="3321317" y="1688037"/>
                  </a:cubicBezTo>
                  <a:cubicBezTo>
                    <a:pt x="3358783" y="1639142"/>
                    <a:pt x="3403233" y="1592152"/>
                    <a:pt x="3443873" y="1544527"/>
                  </a:cubicBezTo>
                  <a:cubicBezTo>
                    <a:pt x="3468638" y="1515952"/>
                    <a:pt x="3497213" y="1491187"/>
                    <a:pt x="3521342" y="1461977"/>
                  </a:cubicBezTo>
                  <a:cubicBezTo>
                    <a:pt x="3554998" y="1422607"/>
                    <a:pt x="3586113" y="1375617"/>
                    <a:pt x="3612148" y="1329897"/>
                  </a:cubicBezTo>
                  <a:cubicBezTo>
                    <a:pt x="3629928" y="1298147"/>
                    <a:pt x="3648978" y="1263857"/>
                    <a:pt x="3662948" y="1230837"/>
                  </a:cubicBezTo>
                  <a:cubicBezTo>
                    <a:pt x="3676283" y="1199087"/>
                    <a:pt x="3684538" y="1164797"/>
                    <a:pt x="3699142" y="1133047"/>
                  </a:cubicBezTo>
                  <a:cubicBezTo>
                    <a:pt x="3712478" y="1103837"/>
                    <a:pt x="3732798" y="1072087"/>
                    <a:pt x="3739783" y="1040337"/>
                  </a:cubicBezTo>
                  <a:cubicBezTo>
                    <a:pt x="3742958" y="1026367"/>
                    <a:pt x="3738513" y="1011127"/>
                    <a:pt x="3742958" y="997792"/>
                  </a:cubicBezTo>
                  <a:cubicBezTo>
                    <a:pt x="3746133" y="988902"/>
                    <a:pt x="3758198" y="985727"/>
                    <a:pt x="3762008" y="977472"/>
                  </a:cubicBezTo>
                  <a:cubicBezTo>
                    <a:pt x="3765183" y="971757"/>
                    <a:pt x="3749308" y="995252"/>
                    <a:pt x="3747403" y="988902"/>
                  </a:cubicBezTo>
                  <a:cubicBezTo>
                    <a:pt x="3742323" y="975567"/>
                    <a:pt x="3748038" y="960327"/>
                    <a:pt x="3749942" y="945722"/>
                  </a:cubicBezTo>
                  <a:cubicBezTo>
                    <a:pt x="3751213" y="936197"/>
                    <a:pt x="3761373" y="926037"/>
                    <a:pt x="3756928" y="917147"/>
                  </a:cubicBezTo>
                  <a:cubicBezTo>
                    <a:pt x="3753753" y="911432"/>
                    <a:pt x="3742958" y="918417"/>
                    <a:pt x="3737878" y="922862"/>
                  </a:cubicBezTo>
                  <a:cubicBezTo>
                    <a:pt x="3726448" y="934292"/>
                    <a:pt x="3722003" y="951437"/>
                    <a:pt x="3711842" y="964137"/>
                  </a:cubicBezTo>
                  <a:cubicBezTo>
                    <a:pt x="3702317" y="976202"/>
                    <a:pt x="3690253" y="986362"/>
                    <a:pt x="3678823" y="997157"/>
                  </a:cubicBezTo>
                  <a:cubicBezTo>
                    <a:pt x="3640723" y="1034622"/>
                    <a:pt x="3709303" y="967312"/>
                    <a:pt x="3650248" y="1015572"/>
                  </a:cubicBezTo>
                  <a:cubicBezTo>
                    <a:pt x="3643898" y="1020652"/>
                    <a:pt x="3641358" y="1029542"/>
                    <a:pt x="3635008" y="1033987"/>
                  </a:cubicBezTo>
                  <a:cubicBezTo>
                    <a:pt x="3626117" y="1040972"/>
                    <a:pt x="3613417" y="1042877"/>
                    <a:pt x="3605163" y="1050497"/>
                  </a:cubicBezTo>
                  <a:cubicBezTo>
                    <a:pt x="3589923" y="1064467"/>
                    <a:pt x="3581667" y="1084787"/>
                    <a:pt x="3565792" y="1098122"/>
                  </a:cubicBezTo>
                  <a:cubicBezTo>
                    <a:pt x="3558173" y="1104472"/>
                    <a:pt x="3546742" y="1103202"/>
                    <a:pt x="3537217" y="1106377"/>
                  </a:cubicBezTo>
                  <a:cubicBezTo>
                    <a:pt x="3501023" y="1117172"/>
                    <a:pt x="3463558" y="1126062"/>
                    <a:pt x="3427998" y="1138762"/>
                  </a:cubicBezTo>
                  <a:cubicBezTo>
                    <a:pt x="3415933" y="1142572"/>
                    <a:pt x="3391803" y="1167337"/>
                    <a:pt x="3394342" y="1154637"/>
                  </a:cubicBezTo>
                  <a:cubicBezTo>
                    <a:pt x="3398153" y="1134952"/>
                    <a:pt x="3426728" y="1128602"/>
                    <a:pt x="3433713" y="1110187"/>
                  </a:cubicBezTo>
                  <a:cubicBezTo>
                    <a:pt x="3441967" y="1088597"/>
                    <a:pt x="3336558" y="1036527"/>
                    <a:pt x="3327033" y="1034622"/>
                  </a:cubicBezTo>
                  <a:cubicBezTo>
                    <a:pt x="3311158" y="1030812"/>
                    <a:pt x="3294648" y="1043512"/>
                    <a:pt x="3279408" y="1039702"/>
                  </a:cubicBezTo>
                  <a:cubicBezTo>
                    <a:pt x="3271153" y="1037797"/>
                    <a:pt x="3273058" y="1017477"/>
                    <a:pt x="3264167" y="1018747"/>
                  </a:cubicBezTo>
                  <a:cubicBezTo>
                    <a:pt x="3255913" y="1020017"/>
                    <a:pt x="3265438" y="1046687"/>
                    <a:pt x="3257183" y="1043512"/>
                  </a:cubicBezTo>
                  <a:cubicBezTo>
                    <a:pt x="3226703" y="1032082"/>
                    <a:pt x="3223528" y="941912"/>
                    <a:pt x="3192413" y="914607"/>
                  </a:cubicBezTo>
                  <a:cubicBezTo>
                    <a:pt x="3180348" y="903812"/>
                    <a:pt x="3163838" y="900002"/>
                    <a:pt x="3148598" y="894922"/>
                  </a:cubicBezTo>
                  <a:cubicBezTo>
                    <a:pt x="3143517" y="893017"/>
                    <a:pt x="3134628" y="898097"/>
                    <a:pt x="3131453" y="893017"/>
                  </a:cubicBezTo>
                  <a:cubicBezTo>
                    <a:pt x="3123198" y="877777"/>
                    <a:pt x="3123198" y="859362"/>
                    <a:pt x="3118753" y="842852"/>
                  </a:cubicBezTo>
                  <a:cubicBezTo>
                    <a:pt x="3113038" y="821897"/>
                    <a:pt x="3103513" y="802212"/>
                    <a:pt x="3100973" y="780622"/>
                  </a:cubicBezTo>
                  <a:cubicBezTo>
                    <a:pt x="3100338" y="776812"/>
                    <a:pt x="3111767" y="778717"/>
                    <a:pt x="3110498" y="774907"/>
                  </a:cubicBezTo>
                  <a:cubicBezTo>
                    <a:pt x="3106688" y="764747"/>
                    <a:pt x="3093988" y="760302"/>
                    <a:pt x="3088908" y="750777"/>
                  </a:cubicBezTo>
                  <a:cubicBezTo>
                    <a:pt x="3085098" y="743792"/>
                    <a:pt x="3091448" y="733632"/>
                    <a:pt x="3086367" y="727282"/>
                  </a:cubicBezTo>
                  <a:cubicBezTo>
                    <a:pt x="3076842" y="716487"/>
                    <a:pt x="3061603" y="712677"/>
                    <a:pt x="3048903" y="705692"/>
                  </a:cubicBezTo>
                  <a:cubicBezTo>
                    <a:pt x="3037473" y="699342"/>
                    <a:pt x="3020328" y="699977"/>
                    <a:pt x="3014613" y="687912"/>
                  </a:cubicBezTo>
                  <a:cubicBezTo>
                    <a:pt x="3007628" y="673307"/>
                    <a:pt x="3026042" y="654257"/>
                    <a:pt x="3019058" y="639652"/>
                  </a:cubicBezTo>
                  <a:cubicBezTo>
                    <a:pt x="3012708" y="626317"/>
                    <a:pt x="2991117" y="626952"/>
                    <a:pt x="2980323" y="616792"/>
                  </a:cubicBezTo>
                  <a:cubicBezTo>
                    <a:pt x="2942223" y="579327"/>
                    <a:pt x="2962542" y="583772"/>
                    <a:pt x="2940953" y="555832"/>
                  </a:cubicBezTo>
                  <a:cubicBezTo>
                    <a:pt x="2921903" y="531702"/>
                    <a:pt x="2922538" y="550752"/>
                    <a:pt x="2902217" y="510747"/>
                  </a:cubicBezTo>
                  <a:cubicBezTo>
                    <a:pt x="2899678" y="505667"/>
                    <a:pt x="2906028" y="499317"/>
                    <a:pt x="2903488" y="494872"/>
                  </a:cubicBezTo>
                  <a:cubicBezTo>
                    <a:pt x="2893963" y="477727"/>
                    <a:pt x="2878088" y="464392"/>
                    <a:pt x="2867928" y="447247"/>
                  </a:cubicBezTo>
                  <a:cubicBezTo>
                    <a:pt x="2866658" y="445342"/>
                    <a:pt x="2874913" y="445977"/>
                    <a:pt x="2873642" y="444707"/>
                  </a:cubicBezTo>
                  <a:cubicBezTo>
                    <a:pt x="2839988" y="407877"/>
                    <a:pt x="2811413" y="414862"/>
                    <a:pt x="2794267" y="35644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9" name="任意多边形: 形状 9828">
              <a:extLst>
                <a:ext uri="{FF2B5EF4-FFF2-40B4-BE49-F238E27FC236}">
                  <a16:creationId xmlns:a16="http://schemas.microsoft.com/office/drawing/2014/main" id="{64A3391D-BC39-4C2C-B041-A147846BB912}"/>
                </a:ext>
              </a:extLst>
            </p:cNvPr>
            <p:cNvSpPr/>
            <p:nvPr/>
          </p:nvSpPr>
          <p:spPr>
            <a:xfrm>
              <a:off x="8040537" y="839152"/>
              <a:ext cx="3790950" cy="4038600"/>
            </a:xfrm>
            <a:custGeom>
              <a:avLst/>
              <a:gdLst>
                <a:gd name="connsiteX0" fmla="*/ 2197568 w 3790950"/>
                <a:gd name="connsiteY0" fmla="*/ 3313748 h 4038600"/>
                <a:gd name="connsiteX1" fmla="*/ 2217253 w 3790950"/>
                <a:gd name="connsiteY1" fmla="*/ 3309303 h 4038600"/>
                <a:gd name="connsiteX2" fmla="*/ 2308058 w 3790950"/>
                <a:gd name="connsiteY2" fmla="*/ 3396298 h 4038600"/>
                <a:gd name="connsiteX3" fmla="*/ 2330918 w 3790950"/>
                <a:gd name="connsiteY3" fmla="*/ 3341688 h 4038600"/>
                <a:gd name="connsiteX4" fmla="*/ 2323933 w 3790950"/>
                <a:gd name="connsiteY4" fmla="*/ 3372168 h 4038600"/>
                <a:gd name="connsiteX5" fmla="*/ 2356318 w 3790950"/>
                <a:gd name="connsiteY5" fmla="*/ 3363913 h 4038600"/>
                <a:gd name="connsiteX6" fmla="*/ 2410293 w 3790950"/>
                <a:gd name="connsiteY6" fmla="*/ 3427413 h 4038600"/>
                <a:gd name="connsiteX7" fmla="*/ 2434423 w 3790950"/>
                <a:gd name="connsiteY7" fmla="*/ 3455988 h 4038600"/>
                <a:gd name="connsiteX8" fmla="*/ 2445218 w 3790950"/>
                <a:gd name="connsiteY8" fmla="*/ 3457258 h 4038600"/>
                <a:gd name="connsiteX9" fmla="*/ 2448393 w 3790950"/>
                <a:gd name="connsiteY9" fmla="*/ 3473768 h 4038600"/>
                <a:gd name="connsiteX10" fmla="*/ 2478238 w 3790950"/>
                <a:gd name="connsiteY10" fmla="*/ 3497898 h 4038600"/>
                <a:gd name="connsiteX11" fmla="*/ 2523323 w 3790950"/>
                <a:gd name="connsiteY11" fmla="*/ 3541713 h 4038600"/>
                <a:gd name="connsiteX12" fmla="*/ 2551898 w 3790950"/>
                <a:gd name="connsiteY12" fmla="*/ 3556953 h 4038600"/>
                <a:gd name="connsiteX13" fmla="*/ 2596348 w 3790950"/>
                <a:gd name="connsiteY13" fmla="*/ 3621723 h 4038600"/>
                <a:gd name="connsiteX14" fmla="*/ 2590633 w 3790950"/>
                <a:gd name="connsiteY14" fmla="*/ 3652838 h 4038600"/>
                <a:gd name="connsiteX15" fmla="*/ 2607143 w 3790950"/>
                <a:gd name="connsiteY15" fmla="*/ 3693478 h 4038600"/>
                <a:gd name="connsiteX16" fmla="*/ 2689693 w 3790950"/>
                <a:gd name="connsiteY16" fmla="*/ 3734118 h 4038600"/>
                <a:gd name="connsiteX17" fmla="*/ 2748113 w 3790950"/>
                <a:gd name="connsiteY17" fmla="*/ 3814763 h 4038600"/>
                <a:gd name="connsiteX18" fmla="*/ 2773513 w 3790950"/>
                <a:gd name="connsiteY18" fmla="*/ 3823653 h 4038600"/>
                <a:gd name="connsiteX19" fmla="*/ 2796373 w 3790950"/>
                <a:gd name="connsiteY19" fmla="*/ 3929698 h 4038600"/>
                <a:gd name="connsiteX20" fmla="*/ 2811613 w 3790950"/>
                <a:gd name="connsiteY20" fmla="*/ 3936683 h 4038600"/>
                <a:gd name="connsiteX21" fmla="*/ 2830028 w 3790950"/>
                <a:gd name="connsiteY21" fmla="*/ 3990023 h 4038600"/>
                <a:gd name="connsiteX22" fmla="*/ 2842728 w 3790950"/>
                <a:gd name="connsiteY22" fmla="*/ 4034473 h 4038600"/>
                <a:gd name="connsiteX23" fmla="*/ 2934168 w 3790950"/>
                <a:gd name="connsiteY23" fmla="*/ 3951923 h 4038600"/>
                <a:gd name="connsiteX24" fmla="*/ 2977348 w 3790950"/>
                <a:gd name="connsiteY24" fmla="*/ 3921443 h 4038600"/>
                <a:gd name="connsiteX25" fmla="*/ 3030053 w 3790950"/>
                <a:gd name="connsiteY25" fmla="*/ 3857943 h 4038600"/>
                <a:gd name="connsiteX26" fmla="*/ 3057993 w 3790950"/>
                <a:gd name="connsiteY26" fmla="*/ 3840798 h 4038600"/>
                <a:gd name="connsiteX27" fmla="*/ 3082758 w 3790950"/>
                <a:gd name="connsiteY27" fmla="*/ 3794443 h 4038600"/>
                <a:gd name="connsiteX28" fmla="*/ 3126573 w 3790950"/>
                <a:gd name="connsiteY28" fmla="*/ 3743008 h 4038600"/>
                <a:gd name="connsiteX29" fmla="*/ 3186263 w 3790950"/>
                <a:gd name="connsiteY29" fmla="*/ 3670618 h 4038600"/>
                <a:gd name="connsiteX30" fmla="*/ 3186263 w 3790950"/>
                <a:gd name="connsiteY30" fmla="*/ 3636328 h 4038600"/>
                <a:gd name="connsiteX31" fmla="*/ 3245318 w 3790950"/>
                <a:gd name="connsiteY31" fmla="*/ 3550603 h 4038600"/>
                <a:gd name="connsiteX32" fmla="*/ 3277703 w 3790950"/>
                <a:gd name="connsiteY32" fmla="*/ 3523933 h 4038600"/>
                <a:gd name="connsiteX33" fmla="*/ 3285323 w 3790950"/>
                <a:gd name="connsiteY33" fmla="*/ 3473768 h 4038600"/>
                <a:gd name="connsiteX34" fmla="*/ 3313898 w 3790950"/>
                <a:gd name="connsiteY34" fmla="*/ 3443288 h 4038600"/>
                <a:gd name="connsiteX35" fmla="*/ 3323423 w 3790950"/>
                <a:gd name="connsiteY35" fmla="*/ 3389948 h 4038600"/>
                <a:gd name="connsiteX36" fmla="*/ 3380573 w 3790950"/>
                <a:gd name="connsiteY36" fmla="*/ 3134043 h 4038600"/>
                <a:gd name="connsiteX37" fmla="*/ 3285323 w 3790950"/>
                <a:gd name="connsiteY37" fmla="*/ 3117533 h 4038600"/>
                <a:gd name="connsiteX38" fmla="*/ 3235793 w 3790950"/>
                <a:gd name="connsiteY38" fmla="*/ 3050223 h 4038600"/>
                <a:gd name="connsiteX39" fmla="*/ 3214203 w 3790950"/>
                <a:gd name="connsiteY39" fmla="*/ 3073083 h 4038600"/>
                <a:gd name="connsiteX40" fmla="*/ 3212298 w 3790950"/>
                <a:gd name="connsiteY40" fmla="*/ 3099118 h 4038600"/>
                <a:gd name="connsiteX41" fmla="*/ 3193883 w 3790950"/>
                <a:gd name="connsiteY41" fmla="*/ 3170873 h 4038600"/>
                <a:gd name="connsiteX42" fmla="*/ 3104983 w 3790950"/>
                <a:gd name="connsiteY42" fmla="*/ 3246438 h 4038600"/>
                <a:gd name="connsiteX43" fmla="*/ 3089108 w 3790950"/>
                <a:gd name="connsiteY43" fmla="*/ 3201988 h 4038600"/>
                <a:gd name="connsiteX44" fmla="*/ 3052278 w 3790950"/>
                <a:gd name="connsiteY44" fmla="*/ 3197543 h 4038600"/>
                <a:gd name="connsiteX45" fmla="*/ 3064343 w 3790950"/>
                <a:gd name="connsiteY45" fmla="*/ 3235008 h 4038600"/>
                <a:gd name="connsiteX46" fmla="*/ 3016083 w 3790950"/>
                <a:gd name="connsiteY46" fmla="*/ 3147378 h 4038600"/>
                <a:gd name="connsiteX47" fmla="*/ 2970363 w 3790950"/>
                <a:gd name="connsiteY47" fmla="*/ 3119438 h 4038600"/>
                <a:gd name="connsiteX48" fmla="*/ 2953853 w 3790950"/>
                <a:gd name="connsiteY48" fmla="*/ 3123883 h 4038600"/>
                <a:gd name="connsiteX49" fmla="*/ 2925278 w 3790950"/>
                <a:gd name="connsiteY49" fmla="*/ 3080703 h 4038600"/>
                <a:gd name="connsiteX50" fmla="*/ 2885273 w 3790950"/>
                <a:gd name="connsiteY50" fmla="*/ 3049588 h 4038600"/>
                <a:gd name="connsiteX51" fmla="*/ 2901148 w 3790950"/>
                <a:gd name="connsiteY51" fmla="*/ 3029903 h 4038600"/>
                <a:gd name="connsiteX52" fmla="*/ 2885908 w 3790950"/>
                <a:gd name="connsiteY52" fmla="*/ 3008313 h 4038600"/>
                <a:gd name="connsiteX53" fmla="*/ 2908768 w 3790950"/>
                <a:gd name="connsiteY53" fmla="*/ 2998788 h 4038600"/>
                <a:gd name="connsiteX54" fmla="*/ 2963378 w 3790950"/>
                <a:gd name="connsiteY54" fmla="*/ 2954338 h 4038600"/>
                <a:gd name="connsiteX55" fmla="*/ 3019258 w 3790950"/>
                <a:gd name="connsiteY55" fmla="*/ 3012123 h 4038600"/>
                <a:gd name="connsiteX56" fmla="*/ 3038308 w 3790950"/>
                <a:gd name="connsiteY56" fmla="*/ 3042603 h 4038600"/>
                <a:gd name="connsiteX57" fmla="*/ 3085933 w 3790950"/>
                <a:gd name="connsiteY57" fmla="*/ 3039428 h 4038600"/>
                <a:gd name="connsiteX58" fmla="*/ 3172928 w 3790950"/>
                <a:gd name="connsiteY58" fmla="*/ 3047683 h 4038600"/>
                <a:gd name="connsiteX59" fmla="*/ 3231983 w 3790950"/>
                <a:gd name="connsiteY59" fmla="*/ 2959418 h 4038600"/>
                <a:gd name="connsiteX60" fmla="*/ 3266273 w 3790950"/>
                <a:gd name="connsiteY60" fmla="*/ 3017838 h 4038600"/>
                <a:gd name="connsiteX61" fmla="*/ 3321518 w 3790950"/>
                <a:gd name="connsiteY61" fmla="*/ 2992438 h 4038600"/>
                <a:gd name="connsiteX62" fmla="*/ 3362158 w 3790950"/>
                <a:gd name="connsiteY62" fmla="*/ 2951163 h 4038600"/>
                <a:gd name="connsiteX63" fmla="*/ 3393273 w 3790950"/>
                <a:gd name="connsiteY63" fmla="*/ 2934653 h 4038600"/>
                <a:gd name="connsiteX64" fmla="*/ 3466933 w 3790950"/>
                <a:gd name="connsiteY64" fmla="*/ 2852738 h 4038600"/>
                <a:gd name="connsiteX65" fmla="*/ 3466933 w 3790950"/>
                <a:gd name="connsiteY65" fmla="*/ 2843213 h 4038600"/>
                <a:gd name="connsiteX66" fmla="*/ 3489158 w 3790950"/>
                <a:gd name="connsiteY66" fmla="*/ 2807653 h 4038600"/>
                <a:gd name="connsiteX67" fmla="*/ 3497413 w 3790950"/>
                <a:gd name="connsiteY67" fmla="*/ 2783523 h 4038600"/>
                <a:gd name="connsiteX68" fmla="*/ 3511383 w 3790950"/>
                <a:gd name="connsiteY68" fmla="*/ 2798763 h 4038600"/>
                <a:gd name="connsiteX69" fmla="*/ 3558373 w 3790950"/>
                <a:gd name="connsiteY69" fmla="*/ 2822258 h 4038600"/>
                <a:gd name="connsiteX70" fmla="*/ 3588218 w 3790950"/>
                <a:gd name="connsiteY70" fmla="*/ 2838133 h 4038600"/>
                <a:gd name="connsiteX71" fmla="*/ 3607268 w 3790950"/>
                <a:gd name="connsiteY71" fmla="*/ 2788603 h 4038600"/>
                <a:gd name="connsiteX72" fmla="*/ 3607903 w 3790950"/>
                <a:gd name="connsiteY72" fmla="*/ 2824163 h 4038600"/>
                <a:gd name="connsiteX73" fmla="*/ 3594568 w 3790950"/>
                <a:gd name="connsiteY73" fmla="*/ 2864803 h 4038600"/>
                <a:gd name="connsiteX74" fmla="*/ 3588853 w 3790950"/>
                <a:gd name="connsiteY74" fmla="*/ 2871153 h 4038600"/>
                <a:gd name="connsiteX75" fmla="*/ 3652988 w 3790950"/>
                <a:gd name="connsiteY75" fmla="*/ 2756853 h 4038600"/>
                <a:gd name="connsiteX76" fmla="*/ 3657433 w 3790950"/>
                <a:gd name="connsiteY76" fmla="*/ 2807653 h 4038600"/>
                <a:gd name="connsiteX77" fmla="*/ 3682198 w 3790950"/>
                <a:gd name="connsiteY77" fmla="*/ 2913063 h 4038600"/>
                <a:gd name="connsiteX78" fmla="*/ 3683468 w 3790950"/>
                <a:gd name="connsiteY78" fmla="*/ 2897188 h 4038600"/>
                <a:gd name="connsiteX79" fmla="*/ 3698073 w 3790950"/>
                <a:gd name="connsiteY79" fmla="*/ 2961323 h 4038600"/>
                <a:gd name="connsiteX80" fmla="*/ 3705693 w 3790950"/>
                <a:gd name="connsiteY80" fmla="*/ 3005773 h 4038600"/>
                <a:gd name="connsiteX81" fmla="*/ 3735538 w 3790950"/>
                <a:gd name="connsiteY81" fmla="*/ 3086418 h 4038600"/>
                <a:gd name="connsiteX82" fmla="*/ 3757128 w 3790950"/>
                <a:gd name="connsiteY82" fmla="*/ 3226118 h 4038600"/>
                <a:gd name="connsiteX83" fmla="*/ 3760303 w 3790950"/>
                <a:gd name="connsiteY83" fmla="*/ 3233738 h 4038600"/>
                <a:gd name="connsiteX84" fmla="*/ 3771098 w 3790950"/>
                <a:gd name="connsiteY84" fmla="*/ 2408873 h 4038600"/>
                <a:gd name="connsiteX85" fmla="*/ 3764113 w 3790950"/>
                <a:gd name="connsiteY85" fmla="*/ 2382838 h 4038600"/>
                <a:gd name="connsiteX86" fmla="*/ 3756493 w 3790950"/>
                <a:gd name="connsiteY86" fmla="*/ 2265363 h 4038600"/>
                <a:gd name="connsiteX87" fmla="*/ 3759668 w 3790950"/>
                <a:gd name="connsiteY87" fmla="*/ 2229803 h 4038600"/>
                <a:gd name="connsiteX88" fmla="*/ 3753318 w 3790950"/>
                <a:gd name="connsiteY88" fmla="*/ 2200593 h 4038600"/>
                <a:gd name="connsiteX89" fmla="*/ 3586313 w 3790950"/>
                <a:gd name="connsiteY89" fmla="*/ 1680528 h 4038600"/>
                <a:gd name="connsiteX90" fmla="*/ 3031958 w 3790950"/>
                <a:gd name="connsiteY90" fmla="*/ 851218 h 4038600"/>
                <a:gd name="connsiteX91" fmla="*/ 1617813 w 3790950"/>
                <a:gd name="connsiteY91" fmla="*/ 65088 h 4038600"/>
                <a:gd name="connsiteX92" fmla="*/ 1144103 w 3790950"/>
                <a:gd name="connsiteY92" fmla="*/ 8573 h 4038600"/>
                <a:gd name="connsiteX93" fmla="*/ 1145373 w 3790950"/>
                <a:gd name="connsiteY93" fmla="*/ 4763 h 4038600"/>
                <a:gd name="connsiteX94" fmla="*/ 1550503 w 3790950"/>
                <a:gd name="connsiteY94" fmla="*/ 68263 h 4038600"/>
                <a:gd name="connsiteX95" fmla="*/ 1650198 w 3790950"/>
                <a:gd name="connsiteY95" fmla="*/ 95568 h 4038600"/>
                <a:gd name="connsiteX96" fmla="*/ 1677503 w 3790950"/>
                <a:gd name="connsiteY96" fmla="*/ 120968 h 4038600"/>
                <a:gd name="connsiteX97" fmla="*/ 1779738 w 3790950"/>
                <a:gd name="connsiteY97" fmla="*/ 159703 h 4038600"/>
                <a:gd name="connsiteX98" fmla="*/ 1789263 w 3790950"/>
                <a:gd name="connsiteY98" fmla="*/ 157163 h 4038600"/>
                <a:gd name="connsiteX99" fmla="*/ 1829268 w 3790950"/>
                <a:gd name="connsiteY99" fmla="*/ 180023 h 4038600"/>
                <a:gd name="connsiteX100" fmla="*/ 1848953 w 3790950"/>
                <a:gd name="connsiteY100" fmla="*/ 197168 h 4038600"/>
                <a:gd name="connsiteX101" fmla="*/ 1916263 w 3790950"/>
                <a:gd name="connsiteY101" fmla="*/ 214313 h 4038600"/>
                <a:gd name="connsiteX102" fmla="*/ 1895308 w 3790950"/>
                <a:gd name="connsiteY102" fmla="*/ 258763 h 4038600"/>
                <a:gd name="connsiteX103" fmla="*/ 1904833 w 3790950"/>
                <a:gd name="connsiteY103" fmla="*/ 279083 h 4038600"/>
                <a:gd name="connsiteX104" fmla="*/ 1887053 w 3790950"/>
                <a:gd name="connsiteY104" fmla="*/ 274638 h 4038600"/>
                <a:gd name="connsiteX105" fmla="*/ 1937218 w 3790950"/>
                <a:gd name="connsiteY105" fmla="*/ 312738 h 4038600"/>
                <a:gd name="connsiteX106" fmla="*/ 1899753 w 3790950"/>
                <a:gd name="connsiteY106" fmla="*/ 307023 h 4038600"/>
                <a:gd name="connsiteX107" fmla="*/ 1908008 w 3790950"/>
                <a:gd name="connsiteY107" fmla="*/ 319088 h 4038600"/>
                <a:gd name="connsiteX108" fmla="*/ 1931503 w 3790950"/>
                <a:gd name="connsiteY108" fmla="*/ 331153 h 4038600"/>
                <a:gd name="connsiteX109" fmla="*/ 1960078 w 3790950"/>
                <a:gd name="connsiteY109" fmla="*/ 360998 h 4038600"/>
                <a:gd name="connsiteX110" fmla="*/ 1984208 w 3790950"/>
                <a:gd name="connsiteY110" fmla="*/ 375603 h 4038600"/>
                <a:gd name="connsiteX111" fmla="*/ 1819108 w 3790950"/>
                <a:gd name="connsiteY111" fmla="*/ 289243 h 4038600"/>
                <a:gd name="connsiteX112" fmla="*/ 1720683 w 3790950"/>
                <a:gd name="connsiteY112" fmla="*/ 321628 h 4038600"/>
                <a:gd name="connsiteX113" fmla="*/ 1864828 w 3790950"/>
                <a:gd name="connsiteY113" fmla="*/ 374968 h 4038600"/>
                <a:gd name="connsiteX114" fmla="*/ 1844508 w 3790950"/>
                <a:gd name="connsiteY114" fmla="*/ 376238 h 4038600"/>
                <a:gd name="connsiteX115" fmla="*/ 1805138 w 3790950"/>
                <a:gd name="connsiteY115" fmla="*/ 367983 h 4038600"/>
                <a:gd name="connsiteX116" fmla="*/ 1823553 w 3790950"/>
                <a:gd name="connsiteY116" fmla="*/ 401638 h 4038600"/>
                <a:gd name="connsiteX117" fmla="*/ 1840063 w 3790950"/>
                <a:gd name="connsiteY117" fmla="*/ 438468 h 4038600"/>
                <a:gd name="connsiteX118" fmla="*/ 1883878 w 3790950"/>
                <a:gd name="connsiteY118" fmla="*/ 470853 h 4038600"/>
                <a:gd name="connsiteX119" fmla="*/ 1874353 w 3790950"/>
                <a:gd name="connsiteY119" fmla="*/ 475933 h 4038600"/>
                <a:gd name="connsiteX120" fmla="*/ 1970873 w 3790950"/>
                <a:gd name="connsiteY120" fmla="*/ 506413 h 4038600"/>
                <a:gd name="connsiteX121" fmla="*/ 1941663 w 3790950"/>
                <a:gd name="connsiteY121" fmla="*/ 503238 h 4038600"/>
                <a:gd name="connsiteX122" fmla="*/ 1921343 w 3790950"/>
                <a:gd name="connsiteY122" fmla="*/ 486728 h 4038600"/>
                <a:gd name="connsiteX123" fmla="*/ 1916263 w 3790950"/>
                <a:gd name="connsiteY123" fmla="*/ 538163 h 4038600"/>
                <a:gd name="connsiteX124" fmla="*/ 1949283 w 3790950"/>
                <a:gd name="connsiteY124" fmla="*/ 550863 h 4038600"/>
                <a:gd name="connsiteX125" fmla="*/ 2033103 w 3790950"/>
                <a:gd name="connsiteY125" fmla="*/ 562293 h 4038600"/>
                <a:gd name="connsiteX126" fmla="*/ 2057233 w 3790950"/>
                <a:gd name="connsiteY126" fmla="*/ 578803 h 4038600"/>
                <a:gd name="connsiteX127" fmla="*/ 2111843 w 3790950"/>
                <a:gd name="connsiteY127" fmla="*/ 604838 h 4038600"/>
                <a:gd name="connsiteX128" fmla="*/ 2081998 w 3790950"/>
                <a:gd name="connsiteY128" fmla="*/ 601663 h 4038600"/>
                <a:gd name="connsiteX129" fmla="*/ 1967698 w 3790950"/>
                <a:gd name="connsiteY129" fmla="*/ 581978 h 4038600"/>
                <a:gd name="connsiteX130" fmla="*/ 2046438 w 3790950"/>
                <a:gd name="connsiteY130" fmla="*/ 623253 h 4038600"/>
                <a:gd name="connsiteX131" fmla="*/ 2005798 w 3790950"/>
                <a:gd name="connsiteY131" fmla="*/ 635318 h 4038600"/>
                <a:gd name="connsiteX132" fmla="*/ 1943568 w 3790950"/>
                <a:gd name="connsiteY132" fmla="*/ 598488 h 4038600"/>
                <a:gd name="connsiteX133" fmla="*/ 1921978 w 3790950"/>
                <a:gd name="connsiteY133" fmla="*/ 594678 h 4038600"/>
                <a:gd name="connsiteX134" fmla="*/ 1961348 w 3790950"/>
                <a:gd name="connsiteY134" fmla="*/ 616268 h 4038600"/>
                <a:gd name="connsiteX135" fmla="*/ 1982938 w 3790950"/>
                <a:gd name="connsiteY135" fmla="*/ 651193 h 4038600"/>
                <a:gd name="connsiteX136" fmla="*/ 2029293 w 3790950"/>
                <a:gd name="connsiteY136" fmla="*/ 662623 h 4038600"/>
                <a:gd name="connsiteX137" fmla="*/ 2041358 w 3790950"/>
                <a:gd name="connsiteY137" fmla="*/ 671513 h 4038600"/>
                <a:gd name="connsiteX138" fmla="*/ 2102953 w 3790950"/>
                <a:gd name="connsiteY138" fmla="*/ 713423 h 4038600"/>
                <a:gd name="connsiteX139" fmla="*/ 2142323 w 3790950"/>
                <a:gd name="connsiteY139" fmla="*/ 686753 h 4038600"/>
                <a:gd name="connsiteX140" fmla="*/ 2198838 w 3790950"/>
                <a:gd name="connsiteY140" fmla="*/ 722313 h 4038600"/>
                <a:gd name="connsiteX141" fmla="*/ 2219158 w 3790950"/>
                <a:gd name="connsiteY141" fmla="*/ 713423 h 4038600"/>
                <a:gd name="connsiteX142" fmla="*/ 2195028 w 3790950"/>
                <a:gd name="connsiteY142" fmla="*/ 725488 h 4038600"/>
                <a:gd name="connsiteX143" fmla="*/ 2130893 w 3790950"/>
                <a:gd name="connsiteY143" fmla="*/ 694373 h 4038600"/>
                <a:gd name="connsiteX144" fmla="*/ 2128988 w 3790950"/>
                <a:gd name="connsiteY144" fmla="*/ 721043 h 4038600"/>
                <a:gd name="connsiteX145" fmla="*/ 2182328 w 3790950"/>
                <a:gd name="connsiteY145" fmla="*/ 751523 h 4038600"/>
                <a:gd name="connsiteX146" fmla="*/ 2215983 w 3790950"/>
                <a:gd name="connsiteY146" fmla="*/ 808673 h 4038600"/>
                <a:gd name="connsiteX147" fmla="*/ 2229318 w 3790950"/>
                <a:gd name="connsiteY147" fmla="*/ 820102 h 4038600"/>
                <a:gd name="connsiteX148" fmla="*/ 2171533 w 3790950"/>
                <a:gd name="connsiteY148" fmla="*/ 835977 h 4038600"/>
                <a:gd name="connsiteX149" fmla="*/ 2188043 w 3790950"/>
                <a:gd name="connsiteY149" fmla="*/ 808673 h 4038600"/>
                <a:gd name="connsiteX150" fmla="*/ 2133433 w 3790950"/>
                <a:gd name="connsiteY150" fmla="*/ 736918 h 4038600"/>
                <a:gd name="connsiteX151" fmla="*/ 2099778 w 3790950"/>
                <a:gd name="connsiteY151" fmla="*/ 730568 h 4038600"/>
                <a:gd name="connsiteX152" fmla="*/ 2035008 w 3790950"/>
                <a:gd name="connsiteY152" fmla="*/ 691833 h 4038600"/>
                <a:gd name="connsiteX153" fmla="*/ 2008338 w 3790950"/>
                <a:gd name="connsiteY153" fmla="*/ 670243 h 4038600"/>
                <a:gd name="connsiteX154" fmla="*/ 1970238 w 3790950"/>
                <a:gd name="connsiteY154" fmla="*/ 660083 h 4038600"/>
                <a:gd name="connsiteX155" fmla="*/ 1916263 w 3790950"/>
                <a:gd name="connsiteY155" fmla="*/ 616903 h 4038600"/>
                <a:gd name="connsiteX156" fmla="*/ 1931503 w 3790950"/>
                <a:gd name="connsiteY156" fmla="*/ 679768 h 4038600"/>
                <a:gd name="connsiteX157" fmla="*/ 1945473 w 3790950"/>
                <a:gd name="connsiteY157" fmla="*/ 712153 h 4038600"/>
                <a:gd name="connsiteX158" fmla="*/ 1967063 w 3790950"/>
                <a:gd name="connsiteY158" fmla="*/ 716598 h 4038600"/>
                <a:gd name="connsiteX159" fmla="*/ 2062948 w 3790950"/>
                <a:gd name="connsiteY159" fmla="*/ 766128 h 4038600"/>
                <a:gd name="connsiteX160" fmla="*/ 2071838 w 3790950"/>
                <a:gd name="connsiteY160" fmla="*/ 761048 h 4038600"/>
                <a:gd name="connsiteX161" fmla="*/ 2013418 w 3790950"/>
                <a:gd name="connsiteY161" fmla="*/ 785178 h 4038600"/>
                <a:gd name="connsiteX162" fmla="*/ 1937218 w 3790950"/>
                <a:gd name="connsiteY162" fmla="*/ 796608 h 4038600"/>
                <a:gd name="connsiteX163" fmla="*/ 1963253 w 3790950"/>
                <a:gd name="connsiteY163" fmla="*/ 822643 h 4038600"/>
                <a:gd name="connsiteX164" fmla="*/ 1976588 w 3790950"/>
                <a:gd name="connsiteY164" fmla="*/ 848677 h 4038600"/>
                <a:gd name="connsiteX165" fmla="*/ 1989923 w 3790950"/>
                <a:gd name="connsiteY165" fmla="*/ 863283 h 4038600"/>
                <a:gd name="connsiteX166" fmla="*/ 1948013 w 3790950"/>
                <a:gd name="connsiteY166" fmla="*/ 873443 h 4038600"/>
                <a:gd name="connsiteX167" fmla="*/ 1902293 w 3790950"/>
                <a:gd name="connsiteY167" fmla="*/ 915352 h 4038600"/>
                <a:gd name="connsiteX168" fmla="*/ 1905468 w 3790950"/>
                <a:gd name="connsiteY168" fmla="*/ 903923 h 4038600"/>
                <a:gd name="connsiteX169" fmla="*/ 1890228 w 3790950"/>
                <a:gd name="connsiteY169" fmla="*/ 875348 h 4038600"/>
                <a:gd name="connsiteX170" fmla="*/ 1875623 w 3790950"/>
                <a:gd name="connsiteY170" fmla="*/ 890588 h 4038600"/>
                <a:gd name="connsiteX171" fmla="*/ 1871178 w 3790950"/>
                <a:gd name="connsiteY171" fmla="*/ 909002 h 4038600"/>
                <a:gd name="connsiteX172" fmla="*/ 1835618 w 3790950"/>
                <a:gd name="connsiteY172" fmla="*/ 981393 h 4038600"/>
                <a:gd name="connsiteX173" fmla="*/ 1827363 w 3790950"/>
                <a:gd name="connsiteY173" fmla="*/ 1026477 h 4038600"/>
                <a:gd name="connsiteX174" fmla="*/ 1789898 w 3790950"/>
                <a:gd name="connsiteY174" fmla="*/ 1011238 h 4038600"/>
                <a:gd name="connsiteX175" fmla="*/ 1807043 w 3790950"/>
                <a:gd name="connsiteY175" fmla="*/ 978852 h 4038600"/>
                <a:gd name="connsiteX176" fmla="*/ 1754973 w 3790950"/>
                <a:gd name="connsiteY176" fmla="*/ 989648 h 4038600"/>
                <a:gd name="connsiteX177" fmla="*/ 1805773 w 3790950"/>
                <a:gd name="connsiteY177" fmla="*/ 1044258 h 4038600"/>
                <a:gd name="connsiteX178" fmla="*/ 1763228 w 3790950"/>
                <a:gd name="connsiteY178" fmla="*/ 1065848 h 4038600"/>
                <a:gd name="connsiteX179" fmla="*/ 1763228 w 3790950"/>
                <a:gd name="connsiteY179" fmla="*/ 1086803 h 4038600"/>
                <a:gd name="connsiteX180" fmla="*/ 1741003 w 3790950"/>
                <a:gd name="connsiteY180" fmla="*/ 1124268 h 4038600"/>
                <a:gd name="connsiteX181" fmla="*/ 1781008 w 3790950"/>
                <a:gd name="connsiteY181" fmla="*/ 1161098 h 4038600"/>
                <a:gd name="connsiteX182" fmla="*/ 1728303 w 3790950"/>
                <a:gd name="connsiteY182" fmla="*/ 1183323 h 4038600"/>
                <a:gd name="connsiteX183" fmla="*/ 1730208 w 3790950"/>
                <a:gd name="connsiteY183" fmla="*/ 1169353 h 4038600"/>
                <a:gd name="connsiteX184" fmla="*/ 1685758 w 3790950"/>
                <a:gd name="connsiteY184" fmla="*/ 1163003 h 4038600"/>
                <a:gd name="connsiteX185" fmla="*/ 1690203 w 3790950"/>
                <a:gd name="connsiteY185" fmla="*/ 1185863 h 4038600"/>
                <a:gd name="connsiteX186" fmla="*/ 1736558 w 3790950"/>
                <a:gd name="connsiteY186" fmla="*/ 1199198 h 4038600"/>
                <a:gd name="connsiteX187" fmla="*/ 1738463 w 3790950"/>
                <a:gd name="connsiteY187" fmla="*/ 1226503 h 4038600"/>
                <a:gd name="connsiteX188" fmla="*/ 1674328 w 3790950"/>
                <a:gd name="connsiteY188" fmla="*/ 1213168 h 4038600"/>
                <a:gd name="connsiteX189" fmla="*/ 1652103 w 3790950"/>
                <a:gd name="connsiteY189" fmla="*/ 1206183 h 4038600"/>
                <a:gd name="connsiteX190" fmla="*/ 1620988 w 3790950"/>
                <a:gd name="connsiteY190" fmla="*/ 1166813 h 4038600"/>
                <a:gd name="connsiteX191" fmla="*/ 1627973 w 3790950"/>
                <a:gd name="connsiteY191" fmla="*/ 1147128 h 4038600"/>
                <a:gd name="connsiteX192" fmla="*/ 1597493 w 3790950"/>
                <a:gd name="connsiteY192" fmla="*/ 1127443 h 4038600"/>
                <a:gd name="connsiteX193" fmla="*/ 1662898 w 3790950"/>
                <a:gd name="connsiteY193" fmla="*/ 1109028 h 4038600"/>
                <a:gd name="connsiteX194" fmla="*/ 1676233 w 3790950"/>
                <a:gd name="connsiteY194" fmla="*/ 1112203 h 4038600"/>
                <a:gd name="connsiteX195" fmla="*/ 1685758 w 3790950"/>
                <a:gd name="connsiteY195" fmla="*/ 1112203 h 4038600"/>
                <a:gd name="connsiteX196" fmla="*/ 1701633 w 3790950"/>
                <a:gd name="connsiteY196" fmla="*/ 1018223 h 4038600"/>
                <a:gd name="connsiteX197" fmla="*/ 1669248 w 3790950"/>
                <a:gd name="connsiteY197" fmla="*/ 1009968 h 4038600"/>
                <a:gd name="connsiteX198" fmla="*/ 1561298 w 3790950"/>
                <a:gd name="connsiteY198" fmla="*/ 977583 h 4038600"/>
                <a:gd name="connsiteX199" fmla="*/ 1516848 w 3790950"/>
                <a:gd name="connsiteY199" fmla="*/ 978852 h 4038600"/>
                <a:gd name="connsiteX200" fmla="*/ 1509863 w 3790950"/>
                <a:gd name="connsiteY200" fmla="*/ 989648 h 4038600"/>
                <a:gd name="connsiteX201" fmla="*/ 1465413 w 3790950"/>
                <a:gd name="connsiteY201" fmla="*/ 971233 h 4038600"/>
                <a:gd name="connsiteX202" fmla="*/ 1443188 w 3790950"/>
                <a:gd name="connsiteY202" fmla="*/ 970598 h 4038600"/>
                <a:gd name="connsiteX203" fmla="*/ 1410168 w 3790950"/>
                <a:gd name="connsiteY203" fmla="*/ 930593 h 4038600"/>
                <a:gd name="connsiteX204" fmla="*/ 1387943 w 3790950"/>
                <a:gd name="connsiteY204" fmla="*/ 927418 h 4038600"/>
                <a:gd name="connsiteX205" fmla="*/ 1355558 w 3790950"/>
                <a:gd name="connsiteY205" fmla="*/ 920433 h 4038600"/>
                <a:gd name="connsiteX206" fmla="*/ 1287613 w 3790950"/>
                <a:gd name="connsiteY206" fmla="*/ 985838 h 4038600"/>
                <a:gd name="connsiteX207" fmla="*/ 1239988 w 3790950"/>
                <a:gd name="connsiteY207" fmla="*/ 977583 h 4038600"/>
                <a:gd name="connsiteX208" fmla="*/ 1264118 w 3790950"/>
                <a:gd name="connsiteY208" fmla="*/ 997902 h 4038600"/>
                <a:gd name="connsiteX209" fmla="*/ 1236813 w 3790950"/>
                <a:gd name="connsiteY209" fmla="*/ 991552 h 4038600"/>
                <a:gd name="connsiteX210" fmla="*/ 1213318 w 3790950"/>
                <a:gd name="connsiteY210" fmla="*/ 999173 h 4038600"/>
                <a:gd name="connsiteX211" fmla="*/ 1172678 w 3790950"/>
                <a:gd name="connsiteY211" fmla="*/ 1082358 h 4038600"/>
                <a:gd name="connsiteX212" fmla="*/ 1145373 w 3790950"/>
                <a:gd name="connsiteY212" fmla="*/ 1082358 h 4038600"/>
                <a:gd name="connsiteX213" fmla="*/ 1152993 w 3790950"/>
                <a:gd name="connsiteY213" fmla="*/ 1093788 h 4038600"/>
                <a:gd name="connsiteX214" fmla="*/ 1106638 w 3790950"/>
                <a:gd name="connsiteY214" fmla="*/ 1136968 h 4038600"/>
                <a:gd name="connsiteX215" fmla="*/ 1099018 w 3790950"/>
                <a:gd name="connsiteY215" fmla="*/ 1156018 h 4038600"/>
                <a:gd name="connsiteX216" fmla="*/ 1079333 w 3790950"/>
                <a:gd name="connsiteY216" fmla="*/ 1162368 h 4038600"/>
                <a:gd name="connsiteX217" fmla="*/ 1091398 w 3790950"/>
                <a:gd name="connsiteY217" fmla="*/ 1184593 h 4038600"/>
                <a:gd name="connsiteX218" fmla="*/ 1076158 w 3790950"/>
                <a:gd name="connsiteY218" fmla="*/ 1233488 h 4038600"/>
                <a:gd name="connsiteX219" fmla="*/ 1035518 w 3790950"/>
                <a:gd name="connsiteY219" fmla="*/ 1265873 h 4038600"/>
                <a:gd name="connsiteX220" fmla="*/ 1042503 w 3790950"/>
                <a:gd name="connsiteY220" fmla="*/ 1278573 h 4038600"/>
                <a:gd name="connsiteX221" fmla="*/ 1010753 w 3790950"/>
                <a:gd name="connsiteY221" fmla="*/ 1280478 h 4038600"/>
                <a:gd name="connsiteX222" fmla="*/ 983448 w 3790950"/>
                <a:gd name="connsiteY222" fmla="*/ 1316038 h 4038600"/>
                <a:gd name="connsiteX223" fmla="*/ 1032978 w 3790950"/>
                <a:gd name="connsiteY223" fmla="*/ 1297623 h 4038600"/>
                <a:gd name="connsiteX224" fmla="*/ 1037423 w 3790950"/>
                <a:gd name="connsiteY224" fmla="*/ 1315403 h 4038600"/>
                <a:gd name="connsiteX225" fmla="*/ 988528 w 3790950"/>
                <a:gd name="connsiteY225" fmla="*/ 1323658 h 4038600"/>
                <a:gd name="connsiteX226" fmla="*/ 965033 w 3790950"/>
                <a:gd name="connsiteY226" fmla="*/ 1347153 h 4038600"/>
                <a:gd name="connsiteX227" fmla="*/ 942808 w 3790950"/>
                <a:gd name="connsiteY227" fmla="*/ 1350963 h 4038600"/>
                <a:gd name="connsiteX228" fmla="*/ 937093 w 3790950"/>
                <a:gd name="connsiteY228" fmla="*/ 1359218 h 4038600"/>
                <a:gd name="connsiteX229" fmla="*/ 904708 w 3790950"/>
                <a:gd name="connsiteY229" fmla="*/ 1361123 h 4038600"/>
                <a:gd name="connsiteX230" fmla="*/ 885023 w 3790950"/>
                <a:gd name="connsiteY230" fmla="*/ 1408113 h 4038600"/>
                <a:gd name="connsiteX231" fmla="*/ 848193 w 3790950"/>
                <a:gd name="connsiteY231" fmla="*/ 1398588 h 4038600"/>
                <a:gd name="connsiteX232" fmla="*/ 848193 w 3790950"/>
                <a:gd name="connsiteY232" fmla="*/ 1414463 h 4038600"/>
                <a:gd name="connsiteX233" fmla="*/ 898358 w 3790950"/>
                <a:gd name="connsiteY233" fmla="*/ 1418908 h 4038600"/>
                <a:gd name="connsiteX234" fmla="*/ 838033 w 3790950"/>
                <a:gd name="connsiteY234" fmla="*/ 1450658 h 4038600"/>
                <a:gd name="connsiteX235" fmla="*/ 845018 w 3790950"/>
                <a:gd name="connsiteY235" fmla="*/ 1459548 h 4038600"/>
                <a:gd name="connsiteX236" fmla="*/ 910423 w 3790950"/>
                <a:gd name="connsiteY236" fmla="*/ 1451928 h 4038600"/>
                <a:gd name="connsiteX237" fmla="*/ 922488 w 3790950"/>
                <a:gd name="connsiteY237" fmla="*/ 1455103 h 4038600"/>
                <a:gd name="connsiteX238" fmla="*/ 838033 w 3790950"/>
                <a:gd name="connsiteY238" fmla="*/ 1474153 h 4038600"/>
                <a:gd name="connsiteX239" fmla="*/ 853273 w 3790950"/>
                <a:gd name="connsiteY239" fmla="*/ 1472883 h 4038600"/>
                <a:gd name="connsiteX240" fmla="*/ 834223 w 3790950"/>
                <a:gd name="connsiteY240" fmla="*/ 1475423 h 4038600"/>
                <a:gd name="connsiteX241" fmla="*/ 871688 w 3790950"/>
                <a:gd name="connsiteY241" fmla="*/ 1496378 h 4038600"/>
                <a:gd name="connsiteX242" fmla="*/ 900898 w 3790950"/>
                <a:gd name="connsiteY242" fmla="*/ 1495743 h 4038600"/>
                <a:gd name="connsiteX243" fmla="*/ 838668 w 3790950"/>
                <a:gd name="connsiteY243" fmla="*/ 1594168 h 4038600"/>
                <a:gd name="connsiteX244" fmla="*/ 922488 w 3790950"/>
                <a:gd name="connsiteY244" fmla="*/ 1629093 h 4038600"/>
                <a:gd name="connsiteX245" fmla="*/ 928838 w 3790950"/>
                <a:gd name="connsiteY245" fmla="*/ 1635443 h 4038600"/>
                <a:gd name="connsiteX246" fmla="*/ 966938 w 3790950"/>
                <a:gd name="connsiteY246" fmla="*/ 1592263 h 4038600"/>
                <a:gd name="connsiteX247" fmla="*/ 975193 w 3790950"/>
                <a:gd name="connsiteY247" fmla="*/ 1577658 h 4038600"/>
                <a:gd name="connsiteX248" fmla="*/ 1005673 w 3790950"/>
                <a:gd name="connsiteY248" fmla="*/ 1554798 h 4038600"/>
                <a:gd name="connsiteX249" fmla="*/ 1009483 w 3790950"/>
                <a:gd name="connsiteY249" fmla="*/ 1533843 h 4038600"/>
                <a:gd name="connsiteX250" fmla="*/ 1014563 w 3790950"/>
                <a:gd name="connsiteY250" fmla="*/ 1572578 h 4038600"/>
                <a:gd name="connsiteX251" fmla="*/ 1053298 w 3790950"/>
                <a:gd name="connsiteY251" fmla="*/ 1624013 h 4038600"/>
                <a:gd name="connsiteX252" fmla="*/ 1047583 w 3790950"/>
                <a:gd name="connsiteY252" fmla="*/ 1661478 h 4038600"/>
                <a:gd name="connsiteX253" fmla="*/ 1090763 w 3790950"/>
                <a:gd name="connsiteY253" fmla="*/ 1724343 h 4038600"/>
                <a:gd name="connsiteX254" fmla="*/ 1088858 w 3790950"/>
                <a:gd name="connsiteY254" fmla="*/ 1748473 h 4038600"/>
                <a:gd name="connsiteX255" fmla="*/ 1075523 w 3790950"/>
                <a:gd name="connsiteY255" fmla="*/ 1744663 h 4038600"/>
                <a:gd name="connsiteX256" fmla="*/ 1091398 w 3790950"/>
                <a:gd name="connsiteY256" fmla="*/ 1799908 h 4038600"/>
                <a:gd name="connsiteX257" fmla="*/ 1141563 w 3790950"/>
                <a:gd name="connsiteY257" fmla="*/ 1798638 h 4038600"/>
                <a:gd name="connsiteX258" fmla="*/ 1156803 w 3790950"/>
                <a:gd name="connsiteY258" fmla="*/ 1750378 h 4038600"/>
                <a:gd name="connsiteX259" fmla="*/ 1217763 w 3790950"/>
                <a:gd name="connsiteY259" fmla="*/ 1711643 h 4038600"/>
                <a:gd name="connsiteX260" fmla="*/ 1214588 w 3790950"/>
                <a:gd name="connsiteY260" fmla="*/ 1681163 h 4038600"/>
                <a:gd name="connsiteX261" fmla="*/ 1221573 w 3790950"/>
                <a:gd name="connsiteY261" fmla="*/ 1669733 h 4038600"/>
                <a:gd name="connsiteX262" fmla="*/ 1209508 w 3790950"/>
                <a:gd name="connsiteY262" fmla="*/ 1644968 h 4038600"/>
                <a:gd name="connsiteX263" fmla="*/ 1221573 w 3790950"/>
                <a:gd name="connsiteY263" fmla="*/ 1645603 h 4038600"/>
                <a:gd name="connsiteX264" fmla="*/ 1220303 w 3790950"/>
                <a:gd name="connsiteY264" fmla="*/ 1620203 h 4038600"/>
                <a:gd name="connsiteX265" fmla="*/ 1198078 w 3790950"/>
                <a:gd name="connsiteY265" fmla="*/ 1602423 h 4038600"/>
                <a:gd name="connsiteX266" fmla="*/ 1236813 w 3790950"/>
                <a:gd name="connsiteY266" fmla="*/ 1593533 h 4038600"/>
                <a:gd name="connsiteX267" fmla="*/ 1268563 w 3790950"/>
                <a:gd name="connsiteY267" fmla="*/ 1568768 h 4038600"/>
                <a:gd name="connsiteX268" fmla="*/ 1250148 w 3790950"/>
                <a:gd name="connsiteY268" fmla="*/ 1564958 h 4038600"/>
                <a:gd name="connsiteX269" fmla="*/ 1237448 w 3790950"/>
                <a:gd name="connsiteY269" fmla="*/ 1531938 h 4038600"/>
                <a:gd name="connsiteX270" fmla="*/ 1247608 w 3790950"/>
                <a:gd name="connsiteY270" fmla="*/ 1556703 h 4038600"/>
                <a:gd name="connsiteX271" fmla="*/ 1285708 w 3790950"/>
                <a:gd name="connsiteY271" fmla="*/ 1532573 h 4038600"/>
                <a:gd name="connsiteX272" fmla="*/ 1243163 w 3790950"/>
                <a:gd name="connsiteY272" fmla="*/ 1485583 h 4038600"/>
                <a:gd name="connsiteX273" fmla="*/ 1210778 w 3790950"/>
                <a:gd name="connsiteY273" fmla="*/ 1381443 h 4038600"/>
                <a:gd name="connsiteX274" fmla="*/ 1235543 w 3790950"/>
                <a:gd name="connsiteY274" fmla="*/ 1361123 h 4038600"/>
                <a:gd name="connsiteX275" fmla="*/ 1262848 w 3790950"/>
                <a:gd name="connsiteY275" fmla="*/ 1317943 h 4038600"/>
                <a:gd name="connsiteX276" fmla="*/ 1295233 w 3790950"/>
                <a:gd name="connsiteY276" fmla="*/ 1302703 h 4038600"/>
                <a:gd name="connsiteX277" fmla="*/ 1293963 w 3790950"/>
                <a:gd name="connsiteY277" fmla="*/ 1246823 h 4038600"/>
                <a:gd name="connsiteX278" fmla="*/ 1306028 w 3790950"/>
                <a:gd name="connsiteY278" fmla="*/ 1229043 h 4038600"/>
                <a:gd name="connsiteX279" fmla="*/ 1295233 w 3790950"/>
                <a:gd name="connsiteY279" fmla="*/ 1220153 h 4038600"/>
                <a:gd name="connsiteX280" fmla="*/ 1363178 w 3790950"/>
                <a:gd name="connsiteY280" fmla="*/ 1187133 h 4038600"/>
                <a:gd name="connsiteX281" fmla="*/ 1408898 w 3790950"/>
                <a:gd name="connsiteY281" fmla="*/ 1227773 h 4038600"/>
                <a:gd name="connsiteX282" fmla="*/ 1387943 w 3790950"/>
                <a:gd name="connsiteY282" fmla="*/ 1238568 h 4038600"/>
                <a:gd name="connsiteX283" fmla="*/ 1373973 w 3790950"/>
                <a:gd name="connsiteY283" fmla="*/ 1282383 h 4038600"/>
                <a:gd name="connsiteX284" fmla="*/ 1356193 w 3790950"/>
                <a:gd name="connsiteY284" fmla="*/ 1305243 h 4038600"/>
                <a:gd name="connsiteX285" fmla="*/ 1343493 w 3790950"/>
                <a:gd name="connsiteY285" fmla="*/ 1312863 h 4038600"/>
                <a:gd name="connsiteX286" fmla="*/ 1347938 w 3790950"/>
                <a:gd name="connsiteY286" fmla="*/ 1326198 h 4038600"/>
                <a:gd name="connsiteX287" fmla="*/ 1318728 w 3790950"/>
                <a:gd name="connsiteY287" fmla="*/ 1356678 h 4038600"/>
                <a:gd name="connsiteX288" fmla="*/ 1343493 w 3790950"/>
                <a:gd name="connsiteY288" fmla="*/ 1450658 h 4038600"/>
                <a:gd name="connsiteX289" fmla="*/ 1351748 w 3790950"/>
                <a:gd name="connsiteY289" fmla="*/ 1476693 h 4038600"/>
                <a:gd name="connsiteX290" fmla="*/ 1417153 w 3790950"/>
                <a:gd name="connsiteY290" fmla="*/ 1502093 h 4038600"/>
                <a:gd name="connsiteX291" fmla="*/ 1406358 w 3790950"/>
                <a:gd name="connsiteY291" fmla="*/ 1516063 h 4038600"/>
                <a:gd name="connsiteX292" fmla="*/ 1453348 w 3790950"/>
                <a:gd name="connsiteY292" fmla="*/ 1490028 h 4038600"/>
                <a:gd name="connsiteX293" fmla="*/ 1469223 w 3790950"/>
                <a:gd name="connsiteY293" fmla="*/ 1488123 h 4038600"/>
                <a:gd name="connsiteX294" fmla="*/ 1507958 w 3790950"/>
                <a:gd name="connsiteY294" fmla="*/ 1456373 h 4038600"/>
                <a:gd name="connsiteX295" fmla="*/ 1514943 w 3790950"/>
                <a:gd name="connsiteY295" fmla="*/ 1465898 h 4038600"/>
                <a:gd name="connsiteX296" fmla="*/ 1546693 w 3790950"/>
                <a:gd name="connsiteY296" fmla="*/ 1452563 h 4038600"/>
                <a:gd name="connsiteX297" fmla="*/ 1629243 w 3790950"/>
                <a:gd name="connsiteY297" fmla="*/ 1472883 h 4038600"/>
                <a:gd name="connsiteX298" fmla="*/ 1593683 w 3790950"/>
                <a:gd name="connsiteY298" fmla="*/ 1479233 h 4038600"/>
                <a:gd name="connsiteX299" fmla="*/ 1567648 w 3790950"/>
                <a:gd name="connsiteY299" fmla="*/ 1493203 h 4038600"/>
                <a:gd name="connsiteX300" fmla="*/ 1456523 w 3790950"/>
                <a:gd name="connsiteY300" fmla="*/ 1531303 h 4038600"/>
                <a:gd name="connsiteX301" fmla="*/ 1451443 w 3790950"/>
                <a:gd name="connsiteY301" fmla="*/ 1541463 h 4038600"/>
                <a:gd name="connsiteX302" fmla="*/ 1432393 w 3790950"/>
                <a:gd name="connsiteY302" fmla="*/ 1546543 h 4038600"/>
                <a:gd name="connsiteX303" fmla="*/ 1452078 w 3790950"/>
                <a:gd name="connsiteY303" fmla="*/ 1596073 h 4038600"/>
                <a:gd name="connsiteX304" fmla="*/ 1479383 w 3790950"/>
                <a:gd name="connsiteY304" fmla="*/ 1593533 h 4038600"/>
                <a:gd name="connsiteX305" fmla="*/ 1476843 w 3790950"/>
                <a:gd name="connsiteY305" fmla="*/ 1624013 h 4038600"/>
                <a:gd name="connsiteX306" fmla="*/ 1488908 w 3790950"/>
                <a:gd name="connsiteY306" fmla="*/ 1657668 h 4038600"/>
                <a:gd name="connsiteX307" fmla="*/ 1394293 w 3790950"/>
                <a:gd name="connsiteY307" fmla="*/ 1648778 h 4038600"/>
                <a:gd name="connsiteX308" fmla="*/ 1387943 w 3790950"/>
                <a:gd name="connsiteY308" fmla="*/ 1671638 h 4038600"/>
                <a:gd name="connsiteX309" fmla="*/ 1380958 w 3790950"/>
                <a:gd name="connsiteY309" fmla="*/ 1722438 h 4038600"/>
                <a:gd name="connsiteX310" fmla="*/ 1400643 w 3790950"/>
                <a:gd name="connsiteY310" fmla="*/ 1791653 h 4038600"/>
                <a:gd name="connsiteX311" fmla="*/ 1405723 w 3790950"/>
                <a:gd name="connsiteY311" fmla="*/ 1806258 h 4038600"/>
                <a:gd name="connsiteX312" fmla="*/ 1358733 w 3790950"/>
                <a:gd name="connsiteY312" fmla="*/ 1810703 h 4038600"/>
                <a:gd name="connsiteX313" fmla="*/ 1349208 w 3790950"/>
                <a:gd name="connsiteY313" fmla="*/ 1841183 h 4038600"/>
                <a:gd name="connsiteX314" fmla="*/ 1299043 w 3790950"/>
                <a:gd name="connsiteY314" fmla="*/ 1822768 h 4038600"/>
                <a:gd name="connsiteX315" fmla="*/ 1247608 w 3790950"/>
                <a:gd name="connsiteY315" fmla="*/ 1840548 h 4038600"/>
                <a:gd name="connsiteX316" fmla="*/ 1234273 w 3790950"/>
                <a:gd name="connsiteY316" fmla="*/ 1844358 h 4038600"/>
                <a:gd name="connsiteX317" fmla="*/ 1221573 w 3790950"/>
                <a:gd name="connsiteY317" fmla="*/ 1862773 h 4038600"/>
                <a:gd name="connsiteX318" fmla="*/ 1189823 w 3790950"/>
                <a:gd name="connsiteY318" fmla="*/ 1871663 h 4038600"/>
                <a:gd name="connsiteX319" fmla="*/ 1149183 w 3790950"/>
                <a:gd name="connsiteY319" fmla="*/ 1890713 h 4038600"/>
                <a:gd name="connsiteX320" fmla="*/ 1151723 w 3790950"/>
                <a:gd name="connsiteY320" fmla="*/ 1898968 h 4038600"/>
                <a:gd name="connsiteX321" fmla="*/ 1083778 w 3790950"/>
                <a:gd name="connsiteY321" fmla="*/ 1854518 h 4038600"/>
                <a:gd name="connsiteX322" fmla="*/ 1068538 w 3790950"/>
                <a:gd name="connsiteY322" fmla="*/ 1878013 h 4038600"/>
                <a:gd name="connsiteX323" fmla="*/ 982813 w 3790950"/>
                <a:gd name="connsiteY323" fmla="*/ 1856423 h 4038600"/>
                <a:gd name="connsiteX324" fmla="*/ 986623 w 3790950"/>
                <a:gd name="connsiteY324" fmla="*/ 1836738 h 4038600"/>
                <a:gd name="connsiteX325" fmla="*/ 966938 w 3790950"/>
                <a:gd name="connsiteY325" fmla="*/ 1833563 h 4038600"/>
                <a:gd name="connsiteX326" fmla="*/ 972018 w 3790950"/>
                <a:gd name="connsiteY326" fmla="*/ 1779588 h 4038600"/>
                <a:gd name="connsiteX327" fmla="*/ 989163 w 3790950"/>
                <a:gd name="connsiteY327" fmla="*/ 1779588 h 4038600"/>
                <a:gd name="connsiteX328" fmla="*/ 1001228 w 3790950"/>
                <a:gd name="connsiteY328" fmla="*/ 1746568 h 4038600"/>
                <a:gd name="connsiteX329" fmla="*/ 1014563 w 3790950"/>
                <a:gd name="connsiteY329" fmla="*/ 1753553 h 4038600"/>
                <a:gd name="connsiteX330" fmla="*/ 1009483 w 3790950"/>
                <a:gd name="connsiteY330" fmla="*/ 1657668 h 4038600"/>
                <a:gd name="connsiteX331" fmla="*/ 988528 w 3790950"/>
                <a:gd name="connsiteY331" fmla="*/ 1667193 h 4038600"/>
                <a:gd name="connsiteX332" fmla="*/ 968843 w 3790950"/>
                <a:gd name="connsiteY332" fmla="*/ 1691958 h 4038600"/>
                <a:gd name="connsiteX333" fmla="*/ 987893 w 3790950"/>
                <a:gd name="connsiteY333" fmla="*/ 1698308 h 4038600"/>
                <a:gd name="connsiteX334" fmla="*/ 955508 w 3790950"/>
                <a:gd name="connsiteY334" fmla="*/ 1712913 h 4038600"/>
                <a:gd name="connsiteX335" fmla="*/ 917408 w 3790950"/>
                <a:gd name="connsiteY335" fmla="*/ 1787208 h 4038600"/>
                <a:gd name="connsiteX336" fmla="*/ 947253 w 3790950"/>
                <a:gd name="connsiteY336" fmla="*/ 1863408 h 4038600"/>
                <a:gd name="connsiteX337" fmla="*/ 944078 w 3790950"/>
                <a:gd name="connsiteY337" fmla="*/ 1886268 h 4038600"/>
                <a:gd name="connsiteX338" fmla="*/ 979638 w 3790950"/>
                <a:gd name="connsiteY338" fmla="*/ 1912303 h 4038600"/>
                <a:gd name="connsiteX339" fmla="*/ 935188 w 3790950"/>
                <a:gd name="connsiteY339" fmla="*/ 1888808 h 4038600"/>
                <a:gd name="connsiteX340" fmla="*/ 927568 w 3790950"/>
                <a:gd name="connsiteY340" fmla="*/ 1923098 h 4038600"/>
                <a:gd name="connsiteX341" fmla="*/ 907883 w 3790950"/>
                <a:gd name="connsiteY341" fmla="*/ 1899603 h 4038600"/>
                <a:gd name="connsiteX342" fmla="*/ 876768 w 3790950"/>
                <a:gd name="connsiteY342" fmla="*/ 1928813 h 4038600"/>
                <a:gd name="connsiteX343" fmla="*/ 830413 w 3790950"/>
                <a:gd name="connsiteY343" fmla="*/ 1916748 h 4038600"/>
                <a:gd name="connsiteX344" fmla="*/ 793583 w 3790950"/>
                <a:gd name="connsiteY344" fmla="*/ 1941513 h 4038600"/>
                <a:gd name="connsiteX345" fmla="*/ 778978 w 3790950"/>
                <a:gd name="connsiteY345" fmla="*/ 1940878 h 4038600"/>
                <a:gd name="connsiteX346" fmla="*/ 762468 w 3790950"/>
                <a:gd name="connsiteY346" fmla="*/ 1985963 h 4038600"/>
                <a:gd name="connsiteX347" fmla="*/ 745958 w 3790950"/>
                <a:gd name="connsiteY347" fmla="*/ 2010093 h 4038600"/>
                <a:gd name="connsiteX348" fmla="*/ 751673 w 3790950"/>
                <a:gd name="connsiteY348" fmla="*/ 2032318 h 4038600"/>
                <a:gd name="connsiteX349" fmla="*/ 718018 w 3790950"/>
                <a:gd name="connsiteY349" fmla="*/ 2026603 h 4038600"/>
                <a:gd name="connsiteX350" fmla="*/ 678648 w 3790950"/>
                <a:gd name="connsiteY350" fmla="*/ 2052003 h 4038600"/>
                <a:gd name="connsiteX351" fmla="*/ 638008 w 3790950"/>
                <a:gd name="connsiteY351" fmla="*/ 2062163 h 4038600"/>
                <a:gd name="connsiteX352" fmla="*/ 635468 w 3790950"/>
                <a:gd name="connsiteY352" fmla="*/ 2105343 h 4038600"/>
                <a:gd name="connsiteX353" fmla="*/ 589748 w 3790950"/>
                <a:gd name="connsiteY353" fmla="*/ 2121218 h 4038600"/>
                <a:gd name="connsiteX354" fmla="*/ 563713 w 3790950"/>
                <a:gd name="connsiteY354" fmla="*/ 2140903 h 4038600"/>
                <a:gd name="connsiteX355" fmla="*/ 557998 w 3790950"/>
                <a:gd name="connsiteY355" fmla="*/ 2152333 h 4038600"/>
                <a:gd name="connsiteX356" fmla="*/ 511008 w 3790950"/>
                <a:gd name="connsiteY356" fmla="*/ 2146618 h 4038600"/>
                <a:gd name="connsiteX357" fmla="*/ 510373 w 3790950"/>
                <a:gd name="connsiteY357" fmla="*/ 2123123 h 4038600"/>
                <a:gd name="connsiteX358" fmla="*/ 483068 w 3790950"/>
                <a:gd name="connsiteY358" fmla="*/ 2117408 h 4038600"/>
                <a:gd name="connsiteX359" fmla="*/ 471003 w 3790950"/>
                <a:gd name="connsiteY359" fmla="*/ 2182813 h 4038600"/>
                <a:gd name="connsiteX360" fmla="*/ 437348 w 3790950"/>
                <a:gd name="connsiteY360" fmla="*/ 2191068 h 4038600"/>
                <a:gd name="connsiteX361" fmla="*/ 419568 w 3790950"/>
                <a:gd name="connsiteY361" fmla="*/ 2164398 h 4038600"/>
                <a:gd name="connsiteX362" fmla="*/ 350353 w 3790950"/>
                <a:gd name="connsiteY362" fmla="*/ 2175828 h 4038600"/>
                <a:gd name="connsiteX363" fmla="*/ 405598 w 3790950"/>
                <a:gd name="connsiteY363" fmla="*/ 2253298 h 4038600"/>
                <a:gd name="connsiteX364" fmla="*/ 438618 w 3790950"/>
                <a:gd name="connsiteY364" fmla="*/ 2255838 h 4038600"/>
                <a:gd name="connsiteX365" fmla="*/ 429093 w 3790950"/>
                <a:gd name="connsiteY365" fmla="*/ 2267903 h 4038600"/>
                <a:gd name="connsiteX366" fmla="*/ 462113 w 3790950"/>
                <a:gd name="connsiteY366" fmla="*/ 2278063 h 4038600"/>
                <a:gd name="connsiteX367" fmla="*/ 440523 w 3790950"/>
                <a:gd name="connsiteY367" fmla="*/ 2300288 h 4038600"/>
                <a:gd name="connsiteX368" fmla="*/ 450683 w 3790950"/>
                <a:gd name="connsiteY368" fmla="*/ 2324418 h 4038600"/>
                <a:gd name="connsiteX369" fmla="*/ 472273 w 3790950"/>
                <a:gd name="connsiteY369" fmla="*/ 2388553 h 4038600"/>
                <a:gd name="connsiteX370" fmla="*/ 450048 w 3790950"/>
                <a:gd name="connsiteY370" fmla="*/ 2470468 h 4038600"/>
                <a:gd name="connsiteX371" fmla="*/ 432903 w 3790950"/>
                <a:gd name="connsiteY371" fmla="*/ 2516823 h 4038600"/>
                <a:gd name="connsiteX372" fmla="*/ 375118 w 3790950"/>
                <a:gd name="connsiteY372" fmla="*/ 2513013 h 4038600"/>
                <a:gd name="connsiteX373" fmla="*/ 361783 w 3790950"/>
                <a:gd name="connsiteY373" fmla="*/ 2519998 h 4038600"/>
                <a:gd name="connsiteX374" fmla="*/ 338288 w 3790950"/>
                <a:gd name="connsiteY374" fmla="*/ 2502853 h 4038600"/>
                <a:gd name="connsiteX375" fmla="*/ 295743 w 3790950"/>
                <a:gd name="connsiteY375" fmla="*/ 2504758 h 4038600"/>
                <a:gd name="connsiteX376" fmla="*/ 185253 w 3790950"/>
                <a:gd name="connsiteY376" fmla="*/ 2473008 h 4038600"/>
                <a:gd name="connsiteX377" fmla="*/ 182713 w 3790950"/>
                <a:gd name="connsiteY377" fmla="*/ 2476818 h 4038600"/>
                <a:gd name="connsiteX378" fmla="*/ 149693 w 3790950"/>
                <a:gd name="connsiteY378" fmla="*/ 2450783 h 4038600"/>
                <a:gd name="connsiteX379" fmla="*/ 96988 w 3790950"/>
                <a:gd name="connsiteY379" fmla="*/ 2534603 h 4038600"/>
                <a:gd name="connsiteX380" fmla="*/ 73493 w 3790950"/>
                <a:gd name="connsiteY380" fmla="*/ 2630488 h 4038600"/>
                <a:gd name="connsiteX381" fmla="*/ 76033 w 3790950"/>
                <a:gd name="connsiteY381" fmla="*/ 2636838 h 4038600"/>
                <a:gd name="connsiteX382" fmla="*/ 28408 w 3790950"/>
                <a:gd name="connsiteY382" fmla="*/ 2714943 h 4038600"/>
                <a:gd name="connsiteX383" fmla="*/ 17613 w 3790950"/>
                <a:gd name="connsiteY383" fmla="*/ 2715578 h 4038600"/>
                <a:gd name="connsiteX384" fmla="*/ 4913 w 3790950"/>
                <a:gd name="connsiteY384" fmla="*/ 2756218 h 4038600"/>
                <a:gd name="connsiteX385" fmla="*/ 83018 w 3790950"/>
                <a:gd name="connsiteY385" fmla="*/ 2876868 h 4038600"/>
                <a:gd name="connsiteX386" fmla="*/ 111593 w 3790950"/>
                <a:gd name="connsiteY386" fmla="*/ 2876233 h 4038600"/>
                <a:gd name="connsiteX387" fmla="*/ 125563 w 3790950"/>
                <a:gd name="connsiteY387" fmla="*/ 2915603 h 4038600"/>
                <a:gd name="connsiteX388" fmla="*/ 170648 w 3790950"/>
                <a:gd name="connsiteY388" fmla="*/ 2963228 h 4038600"/>
                <a:gd name="connsiteX389" fmla="*/ 171283 w 3790950"/>
                <a:gd name="connsiteY389" fmla="*/ 2963228 h 4038600"/>
                <a:gd name="connsiteX390" fmla="*/ 328128 w 3790950"/>
                <a:gd name="connsiteY390" fmla="*/ 2945448 h 4038600"/>
                <a:gd name="connsiteX391" fmla="*/ 338923 w 3790950"/>
                <a:gd name="connsiteY391" fmla="*/ 2953703 h 4038600"/>
                <a:gd name="connsiteX392" fmla="*/ 368768 w 3790950"/>
                <a:gd name="connsiteY392" fmla="*/ 2915603 h 4038600"/>
                <a:gd name="connsiteX393" fmla="*/ 417663 w 3790950"/>
                <a:gd name="connsiteY393" fmla="*/ 2907348 h 4038600"/>
                <a:gd name="connsiteX394" fmla="*/ 424648 w 3790950"/>
                <a:gd name="connsiteY394" fmla="*/ 2873058 h 4038600"/>
                <a:gd name="connsiteX395" fmla="*/ 461478 w 3790950"/>
                <a:gd name="connsiteY395" fmla="*/ 2847023 h 4038600"/>
                <a:gd name="connsiteX396" fmla="*/ 451953 w 3790950"/>
                <a:gd name="connsiteY396" fmla="*/ 2787333 h 4038600"/>
                <a:gd name="connsiteX397" fmla="*/ 471638 w 3790950"/>
                <a:gd name="connsiteY397" fmla="*/ 2760028 h 4038600"/>
                <a:gd name="connsiteX398" fmla="*/ 555458 w 3790950"/>
                <a:gd name="connsiteY398" fmla="*/ 2687638 h 4038600"/>
                <a:gd name="connsiteX399" fmla="*/ 629753 w 3790950"/>
                <a:gd name="connsiteY399" fmla="*/ 2658428 h 4038600"/>
                <a:gd name="connsiteX400" fmla="*/ 646263 w 3790950"/>
                <a:gd name="connsiteY400" fmla="*/ 2613343 h 4038600"/>
                <a:gd name="connsiteX401" fmla="*/ 644993 w 3790950"/>
                <a:gd name="connsiteY401" fmla="*/ 2568258 h 4038600"/>
                <a:gd name="connsiteX402" fmla="*/ 738973 w 3790950"/>
                <a:gd name="connsiteY402" fmla="*/ 2546668 h 4038600"/>
                <a:gd name="connsiteX403" fmla="*/ 738338 w 3790950"/>
                <a:gd name="connsiteY403" fmla="*/ 2560003 h 4038600"/>
                <a:gd name="connsiteX404" fmla="*/ 753578 w 3790950"/>
                <a:gd name="connsiteY404" fmla="*/ 2569528 h 4038600"/>
                <a:gd name="connsiteX405" fmla="*/ 791043 w 3790950"/>
                <a:gd name="connsiteY405" fmla="*/ 2582863 h 4038600"/>
                <a:gd name="connsiteX406" fmla="*/ 851368 w 3790950"/>
                <a:gd name="connsiteY406" fmla="*/ 2540318 h 4038600"/>
                <a:gd name="connsiteX407" fmla="*/ 884388 w 3790950"/>
                <a:gd name="connsiteY407" fmla="*/ 2530793 h 4038600"/>
                <a:gd name="connsiteX408" fmla="*/ 918678 w 3790950"/>
                <a:gd name="connsiteY408" fmla="*/ 2496503 h 4038600"/>
                <a:gd name="connsiteX409" fmla="*/ 1001228 w 3790950"/>
                <a:gd name="connsiteY409" fmla="*/ 2576513 h 4038600"/>
                <a:gd name="connsiteX410" fmla="*/ 999323 w 3790950"/>
                <a:gd name="connsiteY410" fmla="*/ 2596198 h 4038600"/>
                <a:gd name="connsiteX411" fmla="*/ 1028533 w 3790950"/>
                <a:gd name="connsiteY411" fmla="*/ 2631758 h 4038600"/>
                <a:gd name="connsiteX412" fmla="*/ 1053933 w 3790950"/>
                <a:gd name="connsiteY412" fmla="*/ 2638108 h 4038600"/>
                <a:gd name="connsiteX413" fmla="*/ 1064728 w 3790950"/>
                <a:gd name="connsiteY413" fmla="*/ 2655888 h 4038600"/>
                <a:gd name="connsiteX414" fmla="*/ 1118703 w 3790950"/>
                <a:gd name="connsiteY414" fmla="*/ 2697798 h 4038600"/>
                <a:gd name="connsiteX415" fmla="*/ 1125688 w 3790950"/>
                <a:gd name="connsiteY415" fmla="*/ 2708593 h 4038600"/>
                <a:gd name="connsiteX416" fmla="*/ 1158708 w 3790950"/>
                <a:gd name="connsiteY416" fmla="*/ 2705418 h 4038600"/>
                <a:gd name="connsiteX417" fmla="*/ 1176488 w 3790950"/>
                <a:gd name="connsiteY417" fmla="*/ 2734628 h 4038600"/>
                <a:gd name="connsiteX418" fmla="*/ 1213318 w 3790950"/>
                <a:gd name="connsiteY418" fmla="*/ 2742248 h 4038600"/>
                <a:gd name="connsiteX419" fmla="*/ 1239353 w 3790950"/>
                <a:gd name="connsiteY419" fmla="*/ 2782888 h 4038600"/>
                <a:gd name="connsiteX420" fmla="*/ 1259673 w 3790950"/>
                <a:gd name="connsiteY420" fmla="*/ 2781618 h 4038600"/>
                <a:gd name="connsiteX421" fmla="*/ 1291423 w 3790950"/>
                <a:gd name="connsiteY421" fmla="*/ 2854008 h 4038600"/>
                <a:gd name="connsiteX422" fmla="*/ 1264753 w 3790950"/>
                <a:gd name="connsiteY422" fmla="*/ 2916238 h 4038600"/>
                <a:gd name="connsiteX423" fmla="*/ 1311743 w 3790950"/>
                <a:gd name="connsiteY423" fmla="*/ 2885123 h 4038600"/>
                <a:gd name="connsiteX424" fmla="*/ 1311743 w 3790950"/>
                <a:gd name="connsiteY424" fmla="*/ 2860993 h 4038600"/>
                <a:gd name="connsiteX425" fmla="*/ 1341588 w 3790950"/>
                <a:gd name="connsiteY425" fmla="*/ 2844483 h 4038600"/>
                <a:gd name="connsiteX426" fmla="*/ 1307298 w 3790950"/>
                <a:gd name="connsiteY426" fmla="*/ 2775268 h 4038600"/>
                <a:gd name="connsiteX427" fmla="*/ 1368893 w 3790950"/>
                <a:gd name="connsiteY427" fmla="*/ 2758758 h 4038600"/>
                <a:gd name="connsiteX428" fmla="*/ 1379688 w 3790950"/>
                <a:gd name="connsiteY428" fmla="*/ 2780983 h 4038600"/>
                <a:gd name="connsiteX429" fmla="*/ 1401913 w 3790950"/>
                <a:gd name="connsiteY429" fmla="*/ 2765743 h 4038600"/>
                <a:gd name="connsiteX430" fmla="*/ 1270468 w 3790950"/>
                <a:gd name="connsiteY430" fmla="*/ 2688908 h 4038600"/>
                <a:gd name="connsiteX431" fmla="*/ 1176488 w 3790950"/>
                <a:gd name="connsiteY431" fmla="*/ 2620328 h 4038600"/>
                <a:gd name="connsiteX432" fmla="*/ 1149183 w 3790950"/>
                <a:gd name="connsiteY432" fmla="*/ 2554288 h 4038600"/>
                <a:gd name="connsiteX433" fmla="*/ 1082508 w 3790950"/>
                <a:gd name="connsiteY433" fmla="*/ 2478723 h 4038600"/>
                <a:gd name="connsiteX434" fmla="*/ 1140928 w 3790950"/>
                <a:gd name="connsiteY434" fmla="*/ 2407603 h 4038600"/>
                <a:gd name="connsiteX435" fmla="*/ 1149183 w 3790950"/>
                <a:gd name="connsiteY435" fmla="*/ 2419668 h 4038600"/>
                <a:gd name="connsiteX436" fmla="*/ 1189188 w 3790950"/>
                <a:gd name="connsiteY436" fmla="*/ 2438083 h 4038600"/>
                <a:gd name="connsiteX437" fmla="*/ 1210778 w 3790950"/>
                <a:gd name="connsiteY437" fmla="*/ 2484438 h 4038600"/>
                <a:gd name="connsiteX438" fmla="*/ 1237448 w 3790950"/>
                <a:gd name="connsiteY438" fmla="*/ 2504123 h 4038600"/>
                <a:gd name="connsiteX439" fmla="*/ 1219668 w 3790950"/>
                <a:gd name="connsiteY439" fmla="*/ 2510473 h 4038600"/>
                <a:gd name="connsiteX440" fmla="*/ 1348573 w 3790950"/>
                <a:gd name="connsiteY440" fmla="*/ 2591753 h 4038600"/>
                <a:gd name="connsiteX441" fmla="*/ 1313648 w 3790950"/>
                <a:gd name="connsiteY441" fmla="*/ 2583498 h 4038600"/>
                <a:gd name="connsiteX442" fmla="*/ 1396198 w 3790950"/>
                <a:gd name="connsiteY442" fmla="*/ 2611438 h 4038600"/>
                <a:gd name="connsiteX443" fmla="*/ 1392388 w 3790950"/>
                <a:gd name="connsiteY443" fmla="*/ 2618423 h 4038600"/>
                <a:gd name="connsiteX444" fmla="*/ 1448268 w 3790950"/>
                <a:gd name="connsiteY444" fmla="*/ 2742248 h 4038600"/>
                <a:gd name="connsiteX445" fmla="*/ 1438743 w 3790950"/>
                <a:gd name="connsiteY445" fmla="*/ 2744153 h 4038600"/>
                <a:gd name="connsiteX446" fmla="*/ 1469858 w 3790950"/>
                <a:gd name="connsiteY446" fmla="*/ 2766378 h 4038600"/>
                <a:gd name="connsiteX447" fmla="*/ 1480018 w 3790950"/>
                <a:gd name="connsiteY447" fmla="*/ 2788603 h 4038600"/>
                <a:gd name="connsiteX448" fmla="*/ 1500973 w 3790950"/>
                <a:gd name="connsiteY448" fmla="*/ 2812733 h 4038600"/>
                <a:gd name="connsiteX449" fmla="*/ 1521928 w 3790950"/>
                <a:gd name="connsiteY449" fmla="*/ 2842578 h 4038600"/>
                <a:gd name="connsiteX450" fmla="*/ 1565108 w 3790950"/>
                <a:gd name="connsiteY450" fmla="*/ 2870518 h 4038600"/>
                <a:gd name="connsiteX451" fmla="*/ 1608288 w 3790950"/>
                <a:gd name="connsiteY451" fmla="*/ 2862898 h 4038600"/>
                <a:gd name="connsiteX452" fmla="*/ 1608288 w 3790950"/>
                <a:gd name="connsiteY452" fmla="*/ 2855278 h 4038600"/>
                <a:gd name="connsiteX453" fmla="*/ 1652103 w 3790950"/>
                <a:gd name="connsiteY453" fmla="*/ 2869248 h 4038600"/>
                <a:gd name="connsiteX454" fmla="*/ 1635593 w 3790950"/>
                <a:gd name="connsiteY454" fmla="*/ 2885758 h 4038600"/>
                <a:gd name="connsiteX455" fmla="*/ 1546693 w 3790950"/>
                <a:gd name="connsiteY455" fmla="*/ 2902903 h 4038600"/>
                <a:gd name="connsiteX456" fmla="*/ 1577808 w 3790950"/>
                <a:gd name="connsiteY456" fmla="*/ 2925763 h 4038600"/>
                <a:gd name="connsiteX457" fmla="*/ 1584793 w 3790950"/>
                <a:gd name="connsiteY457" fmla="*/ 2966403 h 4038600"/>
                <a:gd name="connsiteX458" fmla="*/ 1606383 w 3790950"/>
                <a:gd name="connsiteY458" fmla="*/ 2950528 h 4038600"/>
                <a:gd name="connsiteX459" fmla="*/ 1622258 w 3790950"/>
                <a:gd name="connsiteY459" fmla="*/ 2983548 h 4038600"/>
                <a:gd name="connsiteX460" fmla="*/ 1637498 w 3790950"/>
                <a:gd name="connsiteY460" fmla="*/ 2960688 h 4038600"/>
                <a:gd name="connsiteX461" fmla="*/ 1664168 w 3790950"/>
                <a:gd name="connsiteY461" fmla="*/ 2981008 h 4038600"/>
                <a:gd name="connsiteX462" fmla="*/ 1657183 w 3790950"/>
                <a:gd name="connsiteY462" fmla="*/ 2960053 h 4038600"/>
                <a:gd name="connsiteX463" fmla="*/ 1630513 w 3790950"/>
                <a:gd name="connsiteY463" fmla="*/ 2911158 h 4038600"/>
                <a:gd name="connsiteX464" fmla="*/ 1669248 w 3790950"/>
                <a:gd name="connsiteY464" fmla="*/ 2873693 h 4038600"/>
                <a:gd name="connsiteX465" fmla="*/ 1695918 w 3790950"/>
                <a:gd name="connsiteY465" fmla="*/ 2895918 h 4038600"/>
                <a:gd name="connsiteX466" fmla="*/ 1692743 w 3790950"/>
                <a:gd name="connsiteY466" fmla="*/ 2859723 h 4038600"/>
                <a:gd name="connsiteX467" fmla="*/ 1636863 w 3790950"/>
                <a:gd name="connsiteY467" fmla="*/ 2831148 h 4038600"/>
                <a:gd name="connsiteX468" fmla="*/ 1610193 w 3790950"/>
                <a:gd name="connsiteY468" fmla="*/ 2827973 h 4038600"/>
                <a:gd name="connsiteX469" fmla="*/ 1648928 w 3790950"/>
                <a:gd name="connsiteY469" fmla="*/ 2800668 h 4038600"/>
                <a:gd name="connsiteX470" fmla="*/ 1605113 w 3790950"/>
                <a:gd name="connsiteY470" fmla="*/ 2751138 h 4038600"/>
                <a:gd name="connsiteX471" fmla="*/ 1600668 w 3790950"/>
                <a:gd name="connsiteY471" fmla="*/ 2721928 h 4038600"/>
                <a:gd name="connsiteX472" fmla="*/ 1673058 w 3790950"/>
                <a:gd name="connsiteY472" fmla="*/ 2746058 h 4038600"/>
                <a:gd name="connsiteX473" fmla="*/ 1662898 w 3790950"/>
                <a:gd name="connsiteY473" fmla="*/ 2720023 h 4038600"/>
                <a:gd name="connsiteX474" fmla="*/ 1691473 w 3790950"/>
                <a:gd name="connsiteY474" fmla="*/ 2730183 h 4038600"/>
                <a:gd name="connsiteX475" fmla="*/ 1652103 w 3790950"/>
                <a:gd name="connsiteY475" fmla="*/ 2698433 h 4038600"/>
                <a:gd name="connsiteX476" fmla="*/ 1671153 w 3790950"/>
                <a:gd name="connsiteY476" fmla="*/ 2695893 h 4038600"/>
                <a:gd name="connsiteX477" fmla="*/ 1702903 w 3790950"/>
                <a:gd name="connsiteY477" fmla="*/ 2681923 h 4038600"/>
                <a:gd name="connsiteX478" fmla="*/ 1716873 w 3790950"/>
                <a:gd name="connsiteY478" fmla="*/ 2668588 h 4038600"/>
                <a:gd name="connsiteX479" fmla="*/ 1762593 w 3790950"/>
                <a:gd name="connsiteY479" fmla="*/ 2680018 h 4038600"/>
                <a:gd name="connsiteX480" fmla="*/ 1777198 w 3790950"/>
                <a:gd name="connsiteY480" fmla="*/ 2723198 h 4038600"/>
                <a:gd name="connsiteX481" fmla="*/ 1796248 w 3790950"/>
                <a:gd name="connsiteY481" fmla="*/ 2693353 h 4038600"/>
                <a:gd name="connsiteX482" fmla="*/ 1822283 w 3790950"/>
                <a:gd name="connsiteY482" fmla="*/ 2671763 h 4038600"/>
                <a:gd name="connsiteX483" fmla="*/ 1827998 w 3790950"/>
                <a:gd name="connsiteY483" fmla="*/ 2652078 h 4038600"/>
                <a:gd name="connsiteX484" fmla="*/ 1888958 w 3790950"/>
                <a:gd name="connsiteY484" fmla="*/ 2641918 h 4038600"/>
                <a:gd name="connsiteX485" fmla="*/ 1895943 w 3790950"/>
                <a:gd name="connsiteY485" fmla="*/ 2636838 h 4038600"/>
                <a:gd name="connsiteX486" fmla="*/ 1852763 w 3790950"/>
                <a:gd name="connsiteY486" fmla="*/ 2610168 h 4038600"/>
                <a:gd name="connsiteX487" fmla="*/ 1838793 w 3790950"/>
                <a:gd name="connsiteY487" fmla="*/ 2582863 h 4038600"/>
                <a:gd name="connsiteX488" fmla="*/ 1806408 w 3790950"/>
                <a:gd name="connsiteY488" fmla="*/ 2555558 h 4038600"/>
                <a:gd name="connsiteX489" fmla="*/ 1817203 w 3790950"/>
                <a:gd name="connsiteY489" fmla="*/ 2506028 h 4038600"/>
                <a:gd name="connsiteX490" fmla="*/ 1834983 w 3790950"/>
                <a:gd name="connsiteY490" fmla="*/ 2411413 h 4038600"/>
                <a:gd name="connsiteX491" fmla="*/ 1835618 w 3790950"/>
                <a:gd name="connsiteY491" fmla="*/ 2386013 h 4038600"/>
                <a:gd name="connsiteX492" fmla="*/ 1866098 w 3790950"/>
                <a:gd name="connsiteY492" fmla="*/ 2361883 h 4038600"/>
                <a:gd name="connsiteX493" fmla="*/ 1880703 w 3790950"/>
                <a:gd name="connsiteY493" fmla="*/ 2315528 h 4038600"/>
                <a:gd name="connsiteX494" fmla="*/ 1891498 w 3790950"/>
                <a:gd name="connsiteY494" fmla="*/ 2267903 h 4038600"/>
                <a:gd name="connsiteX495" fmla="*/ 1914358 w 3790950"/>
                <a:gd name="connsiteY495" fmla="*/ 2246313 h 4038600"/>
                <a:gd name="connsiteX496" fmla="*/ 1935313 w 3790950"/>
                <a:gd name="connsiteY496" fmla="*/ 2251393 h 4038600"/>
                <a:gd name="connsiteX497" fmla="*/ 1918803 w 3790950"/>
                <a:gd name="connsiteY497" fmla="*/ 2215198 h 4038600"/>
                <a:gd name="connsiteX498" fmla="*/ 1945473 w 3790950"/>
                <a:gd name="connsiteY498" fmla="*/ 2264093 h 4038600"/>
                <a:gd name="connsiteX499" fmla="*/ 1937853 w 3790950"/>
                <a:gd name="connsiteY499" fmla="*/ 2274888 h 4038600"/>
                <a:gd name="connsiteX500" fmla="*/ 2008338 w 3790950"/>
                <a:gd name="connsiteY500" fmla="*/ 2272983 h 4038600"/>
                <a:gd name="connsiteX501" fmla="*/ 2013418 w 3790950"/>
                <a:gd name="connsiteY501" fmla="*/ 2265363 h 4038600"/>
                <a:gd name="connsiteX502" fmla="*/ 2024213 w 3790950"/>
                <a:gd name="connsiteY502" fmla="*/ 2276793 h 4038600"/>
                <a:gd name="connsiteX503" fmla="*/ 1981668 w 3790950"/>
                <a:gd name="connsiteY503" fmla="*/ 2323148 h 4038600"/>
                <a:gd name="connsiteX504" fmla="*/ 2030563 w 3790950"/>
                <a:gd name="connsiteY504" fmla="*/ 2330768 h 4038600"/>
                <a:gd name="connsiteX505" fmla="*/ 2045803 w 3790950"/>
                <a:gd name="connsiteY505" fmla="*/ 2371408 h 4038600"/>
                <a:gd name="connsiteX506" fmla="*/ 2074378 w 3790950"/>
                <a:gd name="connsiteY506" fmla="*/ 2344738 h 4038600"/>
                <a:gd name="connsiteX507" fmla="*/ 2098508 w 3790950"/>
                <a:gd name="connsiteY507" fmla="*/ 2333308 h 4038600"/>
                <a:gd name="connsiteX508" fmla="*/ 2109303 w 3790950"/>
                <a:gd name="connsiteY508" fmla="*/ 2307908 h 4038600"/>
                <a:gd name="connsiteX509" fmla="*/ 2144863 w 3790950"/>
                <a:gd name="connsiteY509" fmla="*/ 2303463 h 4038600"/>
                <a:gd name="connsiteX510" fmla="*/ 2094698 w 3790950"/>
                <a:gd name="connsiteY510" fmla="*/ 2292033 h 4038600"/>
                <a:gd name="connsiteX511" fmla="*/ 2061678 w 3790950"/>
                <a:gd name="connsiteY511" fmla="*/ 2250123 h 4038600"/>
                <a:gd name="connsiteX512" fmla="*/ 2128353 w 3790950"/>
                <a:gd name="connsiteY512" fmla="*/ 2201228 h 4038600"/>
                <a:gd name="connsiteX513" fmla="*/ 2133433 w 3790950"/>
                <a:gd name="connsiteY513" fmla="*/ 2184083 h 4038600"/>
                <a:gd name="connsiteX514" fmla="*/ 2173438 w 3790950"/>
                <a:gd name="connsiteY514" fmla="*/ 2154873 h 4038600"/>
                <a:gd name="connsiteX515" fmla="*/ 2214713 w 3790950"/>
                <a:gd name="connsiteY515" fmla="*/ 2141538 h 4038600"/>
                <a:gd name="connsiteX516" fmla="*/ 2163913 w 3790950"/>
                <a:gd name="connsiteY516" fmla="*/ 2188528 h 4038600"/>
                <a:gd name="connsiteX517" fmla="*/ 2208998 w 3790950"/>
                <a:gd name="connsiteY517" fmla="*/ 2216468 h 4038600"/>
                <a:gd name="connsiteX518" fmla="*/ 2184868 w 3790950"/>
                <a:gd name="connsiteY518" fmla="*/ 2224088 h 4038600"/>
                <a:gd name="connsiteX519" fmla="*/ 2193123 w 3790950"/>
                <a:gd name="connsiteY519" fmla="*/ 2271078 h 4038600"/>
                <a:gd name="connsiteX520" fmla="*/ 2150578 w 3790950"/>
                <a:gd name="connsiteY520" fmla="*/ 2292033 h 4038600"/>
                <a:gd name="connsiteX521" fmla="*/ 2229953 w 3790950"/>
                <a:gd name="connsiteY521" fmla="*/ 2321243 h 4038600"/>
                <a:gd name="connsiteX522" fmla="*/ 2253448 w 3790950"/>
                <a:gd name="connsiteY522" fmla="*/ 2321243 h 4038600"/>
                <a:gd name="connsiteX523" fmla="*/ 2312503 w 3790950"/>
                <a:gd name="connsiteY523" fmla="*/ 2352993 h 4038600"/>
                <a:gd name="connsiteX524" fmla="*/ 2421088 w 3790950"/>
                <a:gd name="connsiteY524" fmla="*/ 2426018 h 4038600"/>
                <a:gd name="connsiteX525" fmla="*/ 2417913 w 3790950"/>
                <a:gd name="connsiteY525" fmla="*/ 2450148 h 4038600"/>
                <a:gd name="connsiteX526" fmla="*/ 2376638 w 3790950"/>
                <a:gd name="connsiteY526" fmla="*/ 2505393 h 4038600"/>
                <a:gd name="connsiteX527" fmla="*/ 2343618 w 3790950"/>
                <a:gd name="connsiteY527" fmla="*/ 2503488 h 4038600"/>
                <a:gd name="connsiteX528" fmla="*/ 2195663 w 3790950"/>
                <a:gd name="connsiteY528" fmla="*/ 2513648 h 4038600"/>
                <a:gd name="connsiteX529" fmla="*/ 2163278 w 3790950"/>
                <a:gd name="connsiteY529" fmla="*/ 2521268 h 4038600"/>
                <a:gd name="connsiteX530" fmla="*/ 2142323 w 3790950"/>
                <a:gd name="connsiteY530" fmla="*/ 2501583 h 4038600"/>
                <a:gd name="connsiteX531" fmla="*/ 2094698 w 3790950"/>
                <a:gd name="connsiteY531" fmla="*/ 2522538 h 4038600"/>
                <a:gd name="connsiteX532" fmla="*/ 2075013 w 3790950"/>
                <a:gd name="connsiteY532" fmla="*/ 2525713 h 4038600"/>
                <a:gd name="connsiteX533" fmla="*/ 2001353 w 3790950"/>
                <a:gd name="connsiteY533" fmla="*/ 2591118 h 4038600"/>
                <a:gd name="connsiteX534" fmla="*/ 1944203 w 3790950"/>
                <a:gd name="connsiteY534" fmla="*/ 2616518 h 4038600"/>
                <a:gd name="connsiteX535" fmla="*/ 1923248 w 3790950"/>
                <a:gd name="connsiteY535" fmla="*/ 2617788 h 4038600"/>
                <a:gd name="connsiteX536" fmla="*/ 1894038 w 3790950"/>
                <a:gd name="connsiteY536" fmla="*/ 2668588 h 4038600"/>
                <a:gd name="connsiteX537" fmla="*/ 1839428 w 3790950"/>
                <a:gd name="connsiteY537" fmla="*/ 2693988 h 4038600"/>
                <a:gd name="connsiteX538" fmla="*/ 1777198 w 3790950"/>
                <a:gd name="connsiteY538" fmla="*/ 2728913 h 4038600"/>
                <a:gd name="connsiteX539" fmla="*/ 1833078 w 3790950"/>
                <a:gd name="connsiteY539" fmla="*/ 2791143 h 4038600"/>
                <a:gd name="connsiteX540" fmla="*/ 1818473 w 3790950"/>
                <a:gd name="connsiteY540" fmla="*/ 2808288 h 4038600"/>
                <a:gd name="connsiteX541" fmla="*/ 1842603 w 3790950"/>
                <a:gd name="connsiteY541" fmla="*/ 2817178 h 4038600"/>
                <a:gd name="connsiteX542" fmla="*/ 1799423 w 3790950"/>
                <a:gd name="connsiteY542" fmla="*/ 2837498 h 4038600"/>
                <a:gd name="connsiteX543" fmla="*/ 1853398 w 3790950"/>
                <a:gd name="connsiteY543" fmla="*/ 2848293 h 4038600"/>
                <a:gd name="connsiteX544" fmla="*/ 1843873 w 3790950"/>
                <a:gd name="connsiteY544" fmla="*/ 2869883 h 4038600"/>
                <a:gd name="connsiteX545" fmla="*/ 1904198 w 3790950"/>
                <a:gd name="connsiteY545" fmla="*/ 2899093 h 4038600"/>
                <a:gd name="connsiteX546" fmla="*/ 1915628 w 3790950"/>
                <a:gd name="connsiteY546" fmla="*/ 2896553 h 4038600"/>
                <a:gd name="connsiteX547" fmla="*/ 1872448 w 3790950"/>
                <a:gd name="connsiteY547" fmla="*/ 2928303 h 4038600"/>
                <a:gd name="connsiteX548" fmla="*/ 1906738 w 3790950"/>
                <a:gd name="connsiteY548" fmla="*/ 2928938 h 4038600"/>
                <a:gd name="connsiteX549" fmla="*/ 1924518 w 3790950"/>
                <a:gd name="connsiteY549" fmla="*/ 2904173 h 4038600"/>
                <a:gd name="connsiteX550" fmla="*/ 1992463 w 3790950"/>
                <a:gd name="connsiteY550" fmla="*/ 2940368 h 4038600"/>
                <a:gd name="connsiteX551" fmla="*/ 2048978 w 3790950"/>
                <a:gd name="connsiteY551" fmla="*/ 2878138 h 4038600"/>
                <a:gd name="connsiteX552" fmla="*/ 2098508 w 3790950"/>
                <a:gd name="connsiteY552" fmla="*/ 2885758 h 4038600"/>
                <a:gd name="connsiteX553" fmla="*/ 2142323 w 3790950"/>
                <a:gd name="connsiteY553" fmla="*/ 2909888 h 4038600"/>
                <a:gd name="connsiteX554" fmla="*/ 2217253 w 3790950"/>
                <a:gd name="connsiteY554" fmla="*/ 2836228 h 4038600"/>
                <a:gd name="connsiteX555" fmla="*/ 2251543 w 3790950"/>
                <a:gd name="connsiteY555" fmla="*/ 2843848 h 4038600"/>
                <a:gd name="connsiteX556" fmla="*/ 2276308 w 3790950"/>
                <a:gd name="connsiteY556" fmla="*/ 2809558 h 4038600"/>
                <a:gd name="connsiteX557" fmla="*/ 2275038 w 3790950"/>
                <a:gd name="connsiteY557" fmla="*/ 2851468 h 4038600"/>
                <a:gd name="connsiteX558" fmla="*/ 2283928 w 3790950"/>
                <a:gd name="connsiteY558" fmla="*/ 2897823 h 4038600"/>
                <a:gd name="connsiteX559" fmla="*/ 2294723 w 3790950"/>
                <a:gd name="connsiteY559" fmla="*/ 2905443 h 4038600"/>
                <a:gd name="connsiteX560" fmla="*/ 2286468 w 3790950"/>
                <a:gd name="connsiteY560" fmla="*/ 3106103 h 4038600"/>
                <a:gd name="connsiteX561" fmla="*/ 2268053 w 3790950"/>
                <a:gd name="connsiteY561" fmla="*/ 3182303 h 4038600"/>
                <a:gd name="connsiteX562" fmla="*/ 2152483 w 3790950"/>
                <a:gd name="connsiteY562" fmla="*/ 3202623 h 403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</a:cxnLst>
              <a:rect l="l" t="t" r="r" b="b"/>
              <a:pathLst>
                <a:path w="3790950" h="4038600">
                  <a:moveTo>
                    <a:pt x="2197568" y="3313748"/>
                  </a:moveTo>
                  <a:cubicBezTo>
                    <a:pt x="2195663" y="3307398"/>
                    <a:pt x="2210903" y="3306128"/>
                    <a:pt x="2217253" y="3309303"/>
                  </a:cubicBezTo>
                  <a:cubicBezTo>
                    <a:pt x="2255353" y="3328988"/>
                    <a:pt x="2251543" y="3412808"/>
                    <a:pt x="2308058" y="3396298"/>
                  </a:cubicBezTo>
                  <a:cubicBezTo>
                    <a:pt x="2327108" y="3390583"/>
                    <a:pt x="2320123" y="3358198"/>
                    <a:pt x="2330918" y="3341688"/>
                  </a:cubicBezTo>
                  <a:cubicBezTo>
                    <a:pt x="2336633" y="3332798"/>
                    <a:pt x="2316313" y="3365183"/>
                    <a:pt x="2323933" y="3372168"/>
                  </a:cubicBezTo>
                  <a:cubicBezTo>
                    <a:pt x="2332188" y="3379788"/>
                    <a:pt x="2346158" y="3359468"/>
                    <a:pt x="2356318" y="3363913"/>
                  </a:cubicBezTo>
                  <a:cubicBezTo>
                    <a:pt x="2372828" y="3370898"/>
                    <a:pt x="2397593" y="3410903"/>
                    <a:pt x="2410293" y="3427413"/>
                  </a:cubicBezTo>
                  <a:cubicBezTo>
                    <a:pt x="2417913" y="3437573"/>
                    <a:pt x="2424898" y="3447733"/>
                    <a:pt x="2434423" y="3455988"/>
                  </a:cubicBezTo>
                  <a:cubicBezTo>
                    <a:pt x="2436963" y="3458528"/>
                    <a:pt x="2442678" y="3454718"/>
                    <a:pt x="2445218" y="3457258"/>
                  </a:cubicBezTo>
                  <a:cubicBezTo>
                    <a:pt x="2448393" y="3461703"/>
                    <a:pt x="2445218" y="3469323"/>
                    <a:pt x="2448393" y="3473768"/>
                  </a:cubicBezTo>
                  <a:cubicBezTo>
                    <a:pt x="2456648" y="3483293"/>
                    <a:pt x="2469348" y="3489008"/>
                    <a:pt x="2478238" y="3497898"/>
                  </a:cubicBezTo>
                  <a:cubicBezTo>
                    <a:pt x="2493478" y="3511868"/>
                    <a:pt x="2506813" y="3529013"/>
                    <a:pt x="2523323" y="3541713"/>
                  </a:cubicBezTo>
                  <a:cubicBezTo>
                    <a:pt x="2531578" y="3548698"/>
                    <a:pt x="2544278" y="3548698"/>
                    <a:pt x="2551898" y="3556953"/>
                  </a:cubicBezTo>
                  <a:cubicBezTo>
                    <a:pt x="2569678" y="3576638"/>
                    <a:pt x="2586188" y="3597593"/>
                    <a:pt x="2596348" y="3621723"/>
                  </a:cubicBezTo>
                  <a:cubicBezTo>
                    <a:pt x="2600158" y="3631248"/>
                    <a:pt x="2588728" y="3642043"/>
                    <a:pt x="2590633" y="3652838"/>
                  </a:cubicBezTo>
                  <a:cubicBezTo>
                    <a:pt x="2592538" y="3667443"/>
                    <a:pt x="2598888" y="3681413"/>
                    <a:pt x="2607143" y="3693478"/>
                  </a:cubicBezTo>
                  <a:cubicBezTo>
                    <a:pt x="2645878" y="3748088"/>
                    <a:pt x="2633178" y="3703638"/>
                    <a:pt x="2689693" y="3734118"/>
                  </a:cubicBezTo>
                  <a:cubicBezTo>
                    <a:pt x="2720808" y="3751263"/>
                    <a:pt x="2711918" y="3789363"/>
                    <a:pt x="2748113" y="3814763"/>
                  </a:cubicBezTo>
                  <a:cubicBezTo>
                    <a:pt x="2755098" y="3819843"/>
                    <a:pt x="2769703" y="3815398"/>
                    <a:pt x="2773513" y="3823653"/>
                  </a:cubicBezTo>
                  <a:cubicBezTo>
                    <a:pt x="2787483" y="3856673"/>
                    <a:pt x="2784943" y="3895408"/>
                    <a:pt x="2796373" y="3929698"/>
                  </a:cubicBezTo>
                  <a:cubicBezTo>
                    <a:pt x="2797643" y="3934778"/>
                    <a:pt x="2808438" y="3931603"/>
                    <a:pt x="2811613" y="3936683"/>
                  </a:cubicBezTo>
                  <a:cubicBezTo>
                    <a:pt x="2820503" y="3953193"/>
                    <a:pt x="2826218" y="3971608"/>
                    <a:pt x="2830028" y="3990023"/>
                  </a:cubicBezTo>
                  <a:cubicBezTo>
                    <a:pt x="2830028" y="3991293"/>
                    <a:pt x="2821773" y="4040188"/>
                    <a:pt x="2842728" y="4034473"/>
                  </a:cubicBezTo>
                  <a:cubicBezTo>
                    <a:pt x="2920833" y="4012248"/>
                    <a:pt x="2896068" y="3996373"/>
                    <a:pt x="2934168" y="3951923"/>
                  </a:cubicBezTo>
                  <a:cubicBezTo>
                    <a:pt x="2941788" y="3943033"/>
                    <a:pt x="2966553" y="3931603"/>
                    <a:pt x="2977348" y="3921443"/>
                  </a:cubicBezTo>
                  <a:cubicBezTo>
                    <a:pt x="3113873" y="3799523"/>
                    <a:pt x="2899243" y="3990023"/>
                    <a:pt x="3030053" y="3857943"/>
                  </a:cubicBezTo>
                  <a:cubicBezTo>
                    <a:pt x="3037673" y="3850323"/>
                    <a:pt x="3051008" y="3849053"/>
                    <a:pt x="3057993" y="3840798"/>
                  </a:cubicBezTo>
                  <a:cubicBezTo>
                    <a:pt x="3068788" y="3827463"/>
                    <a:pt x="3072598" y="3808413"/>
                    <a:pt x="3082758" y="3794443"/>
                  </a:cubicBezTo>
                  <a:cubicBezTo>
                    <a:pt x="3096093" y="3776028"/>
                    <a:pt x="3112603" y="3760153"/>
                    <a:pt x="3126573" y="3743008"/>
                  </a:cubicBezTo>
                  <a:cubicBezTo>
                    <a:pt x="3146258" y="3718243"/>
                    <a:pt x="3173563" y="3702368"/>
                    <a:pt x="3186263" y="3670618"/>
                  </a:cubicBezTo>
                  <a:cubicBezTo>
                    <a:pt x="3190073" y="3659823"/>
                    <a:pt x="3182453" y="3647123"/>
                    <a:pt x="3186263" y="3636328"/>
                  </a:cubicBezTo>
                  <a:cubicBezTo>
                    <a:pt x="3191343" y="3622358"/>
                    <a:pt x="3236428" y="3558858"/>
                    <a:pt x="3245318" y="3550603"/>
                  </a:cubicBezTo>
                  <a:cubicBezTo>
                    <a:pt x="3255478" y="3541078"/>
                    <a:pt x="3271353" y="3536633"/>
                    <a:pt x="3277703" y="3523933"/>
                  </a:cubicBezTo>
                  <a:cubicBezTo>
                    <a:pt x="3285323" y="3508693"/>
                    <a:pt x="3278338" y="3489008"/>
                    <a:pt x="3285323" y="3473768"/>
                  </a:cubicBezTo>
                  <a:cubicBezTo>
                    <a:pt x="3291038" y="3461068"/>
                    <a:pt x="3308183" y="3455988"/>
                    <a:pt x="3313898" y="3443288"/>
                  </a:cubicBezTo>
                  <a:cubicBezTo>
                    <a:pt x="3321518" y="3427413"/>
                    <a:pt x="3318343" y="3407093"/>
                    <a:pt x="3323423" y="3389948"/>
                  </a:cubicBezTo>
                  <a:cubicBezTo>
                    <a:pt x="3346283" y="3313113"/>
                    <a:pt x="3376128" y="3216593"/>
                    <a:pt x="3380573" y="3134043"/>
                  </a:cubicBezTo>
                  <a:cubicBezTo>
                    <a:pt x="3381843" y="3107373"/>
                    <a:pt x="3343108" y="3149283"/>
                    <a:pt x="3285323" y="3117533"/>
                  </a:cubicBezTo>
                  <a:cubicBezTo>
                    <a:pt x="3261193" y="3104198"/>
                    <a:pt x="3256748" y="3031808"/>
                    <a:pt x="3235793" y="3050223"/>
                  </a:cubicBezTo>
                  <a:cubicBezTo>
                    <a:pt x="3228173" y="3057208"/>
                    <a:pt x="3219283" y="3063558"/>
                    <a:pt x="3214203" y="3073083"/>
                  </a:cubicBezTo>
                  <a:cubicBezTo>
                    <a:pt x="3210393" y="3080703"/>
                    <a:pt x="3214203" y="3090228"/>
                    <a:pt x="3212298" y="3099118"/>
                  </a:cubicBezTo>
                  <a:cubicBezTo>
                    <a:pt x="3207218" y="3123248"/>
                    <a:pt x="3201503" y="3147378"/>
                    <a:pt x="3193883" y="3170873"/>
                  </a:cubicBezTo>
                  <a:cubicBezTo>
                    <a:pt x="3188803" y="3186748"/>
                    <a:pt x="3112603" y="3243898"/>
                    <a:pt x="3104983" y="3246438"/>
                  </a:cubicBezTo>
                  <a:cubicBezTo>
                    <a:pt x="3057993" y="3261678"/>
                    <a:pt x="3090378" y="3203893"/>
                    <a:pt x="3089108" y="3201988"/>
                  </a:cubicBezTo>
                  <a:cubicBezTo>
                    <a:pt x="3081488" y="3192463"/>
                    <a:pt x="3059898" y="3188018"/>
                    <a:pt x="3052278" y="3197543"/>
                  </a:cubicBezTo>
                  <a:cubicBezTo>
                    <a:pt x="3044658" y="3208338"/>
                    <a:pt x="3077043" y="3233103"/>
                    <a:pt x="3064343" y="3235008"/>
                  </a:cubicBezTo>
                  <a:cubicBezTo>
                    <a:pt x="3028148" y="3241358"/>
                    <a:pt x="3030053" y="3159443"/>
                    <a:pt x="3016083" y="3147378"/>
                  </a:cubicBezTo>
                  <a:cubicBezTo>
                    <a:pt x="3002748" y="3135948"/>
                    <a:pt x="2986873" y="3125788"/>
                    <a:pt x="2970363" y="3119438"/>
                  </a:cubicBezTo>
                  <a:cubicBezTo>
                    <a:pt x="2965283" y="3117533"/>
                    <a:pt x="2958298" y="3128328"/>
                    <a:pt x="2953853" y="3123883"/>
                  </a:cubicBezTo>
                  <a:cubicBezTo>
                    <a:pt x="2940518" y="3113088"/>
                    <a:pt x="2936708" y="3093403"/>
                    <a:pt x="2925278" y="3080703"/>
                  </a:cubicBezTo>
                  <a:cubicBezTo>
                    <a:pt x="2913848" y="3068638"/>
                    <a:pt x="2892258" y="3064828"/>
                    <a:pt x="2885273" y="3049588"/>
                  </a:cubicBezTo>
                  <a:cubicBezTo>
                    <a:pt x="2881463" y="3041968"/>
                    <a:pt x="2901148" y="3038158"/>
                    <a:pt x="2901148" y="3029903"/>
                  </a:cubicBezTo>
                  <a:cubicBezTo>
                    <a:pt x="2901148" y="3021013"/>
                    <a:pt x="2884003" y="3016568"/>
                    <a:pt x="2885908" y="3008313"/>
                  </a:cubicBezTo>
                  <a:cubicBezTo>
                    <a:pt x="2887813" y="3000058"/>
                    <a:pt x="2902418" y="3003868"/>
                    <a:pt x="2908768" y="2998788"/>
                  </a:cubicBezTo>
                  <a:cubicBezTo>
                    <a:pt x="2933533" y="2979738"/>
                    <a:pt x="2929088" y="2961958"/>
                    <a:pt x="2963378" y="2954338"/>
                  </a:cubicBezTo>
                  <a:cubicBezTo>
                    <a:pt x="2972268" y="2952433"/>
                    <a:pt x="3009733" y="2996248"/>
                    <a:pt x="3019258" y="3012123"/>
                  </a:cubicBezTo>
                  <a:cubicBezTo>
                    <a:pt x="3025608" y="3022283"/>
                    <a:pt x="3027513" y="3038158"/>
                    <a:pt x="3038308" y="3042603"/>
                  </a:cubicBezTo>
                  <a:cubicBezTo>
                    <a:pt x="3052913" y="3048953"/>
                    <a:pt x="3070058" y="3036888"/>
                    <a:pt x="3085933" y="3039428"/>
                  </a:cubicBezTo>
                  <a:cubicBezTo>
                    <a:pt x="3122763" y="3045778"/>
                    <a:pt x="3139273" y="3077528"/>
                    <a:pt x="3172928" y="3047683"/>
                  </a:cubicBezTo>
                  <a:cubicBezTo>
                    <a:pt x="3190073" y="3032443"/>
                    <a:pt x="3212298" y="2953068"/>
                    <a:pt x="3231983" y="2959418"/>
                  </a:cubicBezTo>
                  <a:cubicBezTo>
                    <a:pt x="3253573" y="2966403"/>
                    <a:pt x="3250398" y="3001328"/>
                    <a:pt x="3266273" y="3017838"/>
                  </a:cubicBezTo>
                  <a:cubicBezTo>
                    <a:pt x="3268813" y="3021013"/>
                    <a:pt x="3306278" y="3003868"/>
                    <a:pt x="3321518" y="2992438"/>
                  </a:cubicBezTo>
                  <a:cubicBezTo>
                    <a:pt x="3337393" y="2981008"/>
                    <a:pt x="3346283" y="2961958"/>
                    <a:pt x="3362158" y="2951163"/>
                  </a:cubicBezTo>
                  <a:cubicBezTo>
                    <a:pt x="3371683" y="2944813"/>
                    <a:pt x="3384383" y="2942273"/>
                    <a:pt x="3393273" y="2934653"/>
                  </a:cubicBezTo>
                  <a:cubicBezTo>
                    <a:pt x="3395813" y="2932113"/>
                    <a:pt x="3465663" y="2854643"/>
                    <a:pt x="3466933" y="2852738"/>
                  </a:cubicBezTo>
                  <a:cubicBezTo>
                    <a:pt x="3468838" y="2850198"/>
                    <a:pt x="3465028" y="2845753"/>
                    <a:pt x="3466933" y="2843213"/>
                  </a:cubicBezTo>
                  <a:cubicBezTo>
                    <a:pt x="3473283" y="2830513"/>
                    <a:pt x="3482808" y="2820353"/>
                    <a:pt x="3489158" y="2807653"/>
                  </a:cubicBezTo>
                  <a:cubicBezTo>
                    <a:pt x="3492968" y="2800033"/>
                    <a:pt x="3489158" y="2786698"/>
                    <a:pt x="3497413" y="2783523"/>
                  </a:cubicBezTo>
                  <a:cubicBezTo>
                    <a:pt x="3503763" y="2780983"/>
                    <a:pt x="3505668" y="2794953"/>
                    <a:pt x="3511383" y="2798763"/>
                  </a:cubicBezTo>
                  <a:cubicBezTo>
                    <a:pt x="3525988" y="2808288"/>
                    <a:pt x="3543133" y="2814003"/>
                    <a:pt x="3558373" y="2822258"/>
                  </a:cubicBezTo>
                  <a:cubicBezTo>
                    <a:pt x="3568533" y="2827338"/>
                    <a:pt x="3579328" y="2844483"/>
                    <a:pt x="3588218" y="2838133"/>
                  </a:cubicBezTo>
                  <a:cubicBezTo>
                    <a:pt x="3602823" y="2827973"/>
                    <a:pt x="3592663" y="2798763"/>
                    <a:pt x="3607268" y="2788603"/>
                  </a:cubicBezTo>
                  <a:cubicBezTo>
                    <a:pt x="3616793" y="2781618"/>
                    <a:pt x="3609808" y="2812733"/>
                    <a:pt x="3607903" y="2824163"/>
                  </a:cubicBezTo>
                  <a:cubicBezTo>
                    <a:pt x="3605998" y="2838133"/>
                    <a:pt x="3600283" y="2851468"/>
                    <a:pt x="3594568" y="2864803"/>
                  </a:cubicBezTo>
                  <a:cubicBezTo>
                    <a:pt x="3593298" y="2867343"/>
                    <a:pt x="3587583" y="2873693"/>
                    <a:pt x="3588853" y="2871153"/>
                  </a:cubicBezTo>
                  <a:cubicBezTo>
                    <a:pt x="3609808" y="2833053"/>
                    <a:pt x="3621238" y="2786698"/>
                    <a:pt x="3652988" y="2756853"/>
                  </a:cubicBezTo>
                  <a:cubicBezTo>
                    <a:pt x="3665688" y="2745423"/>
                    <a:pt x="3654258" y="2791143"/>
                    <a:pt x="3657433" y="2807653"/>
                  </a:cubicBezTo>
                  <a:cubicBezTo>
                    <a:pt x="3663783" y="2843213"/>
                    <a:pt x="3672038" y="2878138"/>
                    <a:pt x="3682198" y="2913063"/>
                  </a:cubicBezTo>
                  <a:cubicBezTo>
                    <a:pt x="3683468" y="2918143"/>
                    <a:pt x="3681563" y="2892108"/>
                    <a:pt x="3683468" y="2897188"/>
                  </a:cubicBezTo>
                  <a:cubicBezTo>
                    <a:pt x="3690453" y="2918143"/>
                    <a:pt x="3693628" y="2939733"/>
                    <a:pt x="3698073" y="2961323"/>
                  </a:cubicBezTo>
                  <a:cubicBezTo>
                    <a:pt x="3701248" y="2975928"/>
                    <a:pt x="3701248" y="2991803"/>
                    <a:pt x="3705693" y="3005773"/>
                  </a:cubicBezTo>
                  <a:cubicBezTo>
                    <a:pt x="3724743" y="3066733"/>
                    <a:pt x="3727918" y="3041968"/>
                    <a:pt x="3735538" y="3086418"/>
                  </a:cubicBezTo>
                  <a:cubicBezTo>
                    <a:pt x="3743793" y="3132773"/>
                    <a:pt x="3749508" y="3179763"/>
                    <a:pt x="3757128" y="3226118"/>
                  </a:cubicBezTo>
                  <a:cubicBezTo>
                    <a:pt x="3757763" y="3228658"/>
                    <a:pt x="3759668" y="3236278"/>
                    <a:pt x="3760303" y="3233738"/>
                  </a:cubicBezTo>
                  <a:cubicBezTo>
                    <a:pt x="3809198" y="2914333"/>
                    <a:pt x="3788878" y="2783523"/>
                    <a:pt x="3771098" y="2408873"/>
                  </a:cubicBezTo>
                  <a:cubicBezTo>
                    <a:pt x="3770463" y="2399983"/>
                    <a:pt x="3765383" y="2391728"/>
                    <a:pt x="3764113" y="2382838"/>
                  </a:cubicBezTo>
                  <a:cubicBezTo>
                    <a:pt x="3760303" y="2344103"/>
                    <a:pt x="3759668" y="2304733"/>
                    <a:pt x="3756493" y="2265363"/>
                  </a:cubicBezTo>
                  <a:cubicBezTo>
                    <a:pt x="3755223" y="2255838"/>
                    <a:pt x="3762843" y="2238693"/>
                    <a:pt x="3759668" y="2229803"/>
                  </a:cubicBezTo>
                  <a:cubicBezTo>
                    <a:pt x="3757763" y="2220278"/>
                    <a:pt x="3755223" y="2210753"/>
                    <a:pt x="3753318" y="2200593"/>
                  </a:cubicBezTo>
                  <a:cubicBezTo>
                    <a:pt x="3713313" y="2022158"/>
                    <a:pt x="3658703" y="1848168"/>
                    <a:pt x="3586313" y="1680528"/>
                  </a:cubicBezTo>
                  <a:cubicBezTo>
                    <a:pt x="3452963" y="1373823"/>
                    <a:pt x="3264368" y="1091248"/>
                    <a:pt x="3031958" y="851218"/>
                  </a:cubicBezTo>
                  <a:cubicBezTo>
                    <a:pt x="2652863" y="459423"/>
                    <a:pt x="2153118" y="176213"/>
                    <a:pt x="1617813" y="65088"/>
                  </a:cubicBezTo>
                  <a:cubicBezTo>
                    <a:pt x="1441918" y="28258"/>
                    <a:pt x="1313013" y="18733"/>
                    <a:pt x="1144103" y="8573"/>
                  </a:cubicBezTo>
                  <a:lnTo>
                    <a:pt x="1145373" y="4763"/>
                  </a:lnTo>
                  <a:cubicBezTo>
                    <a:pt x="1281898" y="18733"/>
                    <a:pt x="1419058" y="25718"/>
                    <a:pt x="1550503" y="68263"/>
                  </a:cubicBezTo>
                  <a:cubicBezTo>
                    <a:pt x="1566378" y="73343"/>
                    <a:pt x="1636863" y="89218"/>
                    <a:pt x="1650198" y="95568"/>
                  </a:cubicBezTo>
                  <a:cubicBezTo>
                    <a:pt x="1660993" y="101283"/>
                    <a:pt x="1667978" y="112713"/>
                    <a:pt x="1677503" y="120968"/>
                  </a:cubicBezTo>
                  <a:cubicBezTo>
                    <a:pt x="1705443" y="144463"/>
                    <a:pt x="1744813" y="149543"/>
                    <a:pt x="1779738" y="159703"/>
                  </a:cubicBezTo>
                  <a:cubicBezTo>
                    <a:pt x="1782913" y="160338"/>
                    <a:pt x="1786088" y="155893"/>
                    <a:pt x="1789263" y="157163"/>
                  </a:cubicBezTo>
                  <a:cubicBezTo>
                    <a:pt x="1803233" y="162878"/>
                    <a:pt x="1816568" y="171768"/>
                    <a:pt x="1829268" y="180023"/>
                  </a:cubicBezTo>
                  <a:cubicBezTo>
                    <a:pt x="1836253" y="185103"/>
                    <a:pt x="1840698" y="193358"/>
                    <a:pt x="1848953" y="197168"/>
                  </a:cubicBezTo>
                  <a:cubicBezTo>
                    <a:pt x="1848953" y="197168"/>
                    <a:pt x="1915628" y="212408"/>
                    <a:pt x="1916263" y="214313"/>
                  </a:cubicBezTo>
                  <a:cubicBezTo>
                    <a:pt x="1919438" y="230188"/>
                    <a:pt x="1897848" y="242888"/>
                    <a:pt x="1895308" y="258763"/>
                  </a:cubicBezTo>
                  <a:cubicBezTo>
                    <a:pt x="1894038" y="266383"/>
                    <a:pt x="1908008" y="272733"/>
                    <a:pt x="1904833" y="279083"/>
                  </a:cubicBezTo>
                  <a:cubicBezTo>
                    <a:pt x="1902293" y="284798"/>
                    <a:pt x="1883243" y="270828"/>
                    <a:pt x="1887053" y="274638"/>
                  </a:cubicBezTo>
                  <a:cubicBezTo>
                    <a:pt x="1901658" y="289878"/>
                    <a:pt x="1929598" y="293053"/>
                    <a:pt x="1937218" y="312738"/>
                  </a:cubicBezTo>
                  <a:cubicBezTo>
                    <a:pt x="1941663" y="324803"/>
                    <a:pt x="1911818" y="304483"/>
                    <a:pt x="1899753" y="307023"/>
                  </a:cubicBezTo>
                  <a:cubicBezTo>
                    <a:pt x="1894673" y="308293"/>
                    <a:pt x="1904198" y="316548"/>
                    <a:pt x="1908008" y="319088"/>
                  </a:cubicBezTo>
                  <a:cubicBezTo>
                    <a:pt x="1914993" y="324168"/>
                    <a:pt x="1924518" y="325438"/>
                    <a:pt x="1931503" y="331153"/>
                  </a:cubicBezTo>
                  <a:cubicBezTo>
                    <a:pt x="1942298" y="340043"/>
                    <a:pt x="1949918" y="352108"/>
                    <a:pt x="1960078" y="360998"/>
                  </a:cubicBezTo>
                  <a:cubicBezTo>
                    <a:pt x="1967063" y="366713"/>
                    <a:pt x="1992463" y="380048"/>
                    <a:pt x="1984208" y="375603"/>
                  </a:cubicBezTo>
                  <a:cubicBezTo>
                    <a:pt x="1949283" y="355918"/>
                    <a:pt x="1850858" y="294958"/>
                    <a:pt x="1819108" y="289243"/>
                  </a:cubicBezTo>
                  <a:cubicBezTo>
                    <a:pt x="1816568" y="288608"/>
                    <a:pt x="1704808" y="289243"/>
                    <a:pt x="1720683" y="321628"/>
                  </a:cubicBezTo>
                  <a:cubicBezTo>
                    <a:pt x="1749258" y="380683"/>
                    <a:pt x="1819743" y="356553"/>
                    <a:pt x="1864828" y="374968"/>
                  </a:cubicBezTo>
                  <a:cubicBezTo>
                    <a:pt x="1871178" y="377508"/>
                    <a:pt x="1851493" y="376873"/>
                    <a:pt x="1844508" y="376238"/>
                  </a:cubicBezTo>
                  <a:cubicBezTo>
                    <a:pt x="1831173" y="374968"/>
                    <a:pt x="1814028" y="357823"/>
                    <a:pt x="1805138" y="367983"/>
                  </a:cubicBezTo>
                  <a:cubicBezTo>
                    <a:pt x="1796883" y="378143"/>
                    <a:pt x="1817838" y="390208"/>
                    <a:pt x="1823553" y="401638"/>
                  </a:cubicBezTo>
                  <a:cubicBezTo>
                    <a:pt x="1829268" y="413703"/>
                    <a:pt x="1831173" y="428308"/>
                    <a:pt x="1840063" y="438468"/>
                  </a:cubicBezTo>
                  <a:cubicBezTo>
                    <a:pt x="1852128" y="452438"/>
                    <a:pt x="1871813" y="457518"/>
                    <a:pt x="1883878" y="470853"/>
                  </a:cubicBezTo>
                  <a:cubicBezTo>
                    <a:pt x="1886418" y="473393"/>
                    <a:pt x="1871178" y="474663"/>
                    <a:pt x="1874353" y="475933"/>
                  </a:cubicBezTo>
                  <a:cubicBezTo>
                    <a:pt x="1905468" y="488633"/>
                    <a:pt x="1939123" y="493713"/>
                    <a:pt x="1970873" y="506413"/>
                  </a:cubicBezTo>
                  <a:cubicBezTo>
                    <a:pt x="1979763" y="510223"/>
                    <a:pt x="1951188" y="506413"/>
                    <a:pt x="1941663" y="503238"/>
                  </a:cubicBezTo>
                  <a:cubicBezTo>
                    <a:pt x="1933408" y="500063"/>
                    <a:pt x="1926423" y="479743"/>
                    <a:pt x="1921343" y="486728"/>
                  </a:cubicBezTo>
                  <a:cubicBezTo>
                    <a:pt x="1911183" y="500698"/>
                    <a:pt x="1909278" y="522288"/>
                    <a:pt x="1916263" y="538163"/>
                  </a:cubicBezTo>
                  <a:cubicBezTo>
                    <a:pt x="1920708" y="548958"/>
                    <a:pt x="1937853" y="548323"/>
                    <a:pt x="1949283" y="550863"/>
                  </a:cubicBezTo>
                  <a:cubicBezTo>
                    <a:pt x="1976588" y="556578"/>
                    <a:pt x="2005798" y="555308"/>
                    <a:pt x="2033103" y="562293"/>
                  </a:cubicBezTo>
                  <a:cubicBezTo>
                    <a:pt x="2042628" y="564833"/>
                    <a:pt x="2048978" y="574358"/>
                    <a:pt x="2057233" y="578803"/>
                  </a:cubicBezTo>
                  <a:cubicBezTo>
                    <a:pt x="2075013" y="588328"/>
                    <a:pt x="2097238" y="590868"/>
                    <a:pt x="2111843" y="604838"/>
                  </a:cubicBezTo>
                  <a:cubicBezTo>
                    <a:pt x="2119463" y="611823"/>
                    <a:pt x="2091523" y="604203"/>
                    <a:pt x="2081998" y="601663"/>
                  </a:cubicBezTo>
                  <a:cubicBezTo>
                    <a:pt x="2078188" y="600393"/>
                    <a:pt x="1984843" y="548958"/>
                    <a:pt x="1967698" y="581978"/>
                  </a:cubicBezTo>
                  <a:cubicBezTo>
                    <a:pt x="1942298" y="632778"/>
                    <a:pt x="2045803" y="621983"/>
                    <a:pt x="2046438" y="623253"/>
                  </a:cubicBezTo>
                  <a:cubicBezTo>
                    <a:pt x="2054058" y="634683"/>
                    <a:pt x="2020403" y="634048"/>
                    <a:pt x="2005798" y="635318"/>
                  </a:cubicBezTo>
                  <a:cubicBezTo>
                    <a:pt x="1998178" y="635953"/>
                    <a:pt x="1948013" y="601028"/>
                    <a:pt x="1943568" y="598488"/>
                  </a:cubicBezTo>
                  <a:cubicBezTo>
                    <a:pt x="1937218" y="595313"/>
                    <a:pt x="1916898" y="589598"/>
                    <a:pt x="1921978" y="594678"/>
                  </a:cubicBezTo>
                  <a:cubicBezTo>
                    <a:pt x="1932773" y="605473"/>
                    <a:pt x="1949918" y="606108"/>
                    <a:pt x="1961348" y="616268"/>
                  </a:cubicBezTo>
                  <a:cubicBezTo>
                    <a:pt x="1971508" y="625793"/>
                    <a:pt x="1971508" y="643573"/>
                    <a:pt x="1982938" y="651193"/>
                  </a:cubicBezTo>
                  <a:cubicBezTo>
                    <a:pt x="1996273" y="660083"/>
                    <a:pt x="2014688" y="657543"/>
                    <a:pt x="2029293" y="662623"/>
                  </a:cubicBezTo>
                  <a:cubicBezTo>
                    <a:pt x="2033738" y="664528"/>
                    <a:pt x="2037548" y="668338"/>
                    <a:pt x="2041358" y="671513"/>
                  </a:cubicBezTo>
                  <a:cubicBezTo>
                    <a:pt x="2050883" y="679768"/>
                    <a:pt x="2085808" y="715963"/>
                    <a:pt x="2102953" y="713423"/>
                  </a:cubicBezTo>
                  <a:cubicBezTo>
                    <a:pt x="2118828" y="711518"/>
                    <a:pt x="2127083" y="689293"/>
                    <a:pt x="2142323" y="686753"/>
                  </a:cubicBezTo>
                  <a:cubicBezTo>
                    <a:pt x="2193123" y="677863"/>
                    <a:pt x="2164548" y="712153"/>
                    <a:pt x="2198838" y="722313"/>
                  </a:cubicBezTo>
                  <a:cubicBezTo>
                    <a:pt x="2205823" y="724218"/>
                    <a:pt x="2224873" y="708343"/>
                    <a:pt x="2219158" y="713423"/>
                  </a:cubicBezTo>
                  <a:cubicBezTo>
                    <a:pt x="2212808" y="719138"/>
                    <a:pt x="2203918" y="727393"/>
                    <a:pt x="2195028" y="725488"/>
                  </a:cubicBezTo>
                  <a:cubicBezTo>
                    <a:pt x="2191218" y="724853"/>
                    <a:pt x="2146133" y="684848"/>
                    <a:pt x="2130893" y="694373"/>
                  </a:cubicBezTo>
                  <a:cubicBezTo>
                    <a:pt x="2123273" y="699453"/>
                    <a:pt x="2123908" y="713423"/>
                    <a:pt x="2128988" y="721043"/>
                  </a:cubicBezTo>
                  <a:cubicBezTo>
                    <a:pt x="2140418" y="738188"/>
                    <a:pt x="2167088" y="737553"/>
                    <a:pt x="2182328" y="751523"/>
                  </a:cubicBezTo>
                  <a:cubicBezTo>
                    <a:pt x="2240748" y="804863"/>
                    <a:pt x="2189948" y="759143"/>
                    <a:pt x="2215983" y="808673"/>
                  </a:cubicBezTo>
                  <a:cubicBezTo>
                    <a:pt x="2218523" y="813752"/>
                    <a:pt x="2233128" y="815023"/>
                    <a:pt x="2229318" y="820102"/>
                  </a:cubicBezTo>
                  <a:cubicBezTo>
                    <a:pt x="2204553" y="852488"/>
                    <a:pt x="2172168" y="841693"/>
                    <a:pt x="2171533" y="835977"/>
                  </a:cubicBezTo>
                  <a:cubicBezTo>
                    <a:pt x="2170898" y="825183"/>
                    <a:pt x="2188678" y="818833"/>
                    <a:pt x="2188043" y="808673"/>
                  </a:cubicBezTo>
                  <a:cubicBezTo>
                    <a:pt x="2186773" y="782638"/>
                    <a:pt x="2155023" y="747713"/>
                    <a:pt x="2133433" y="736918"/>
                  </a:cubicBezTo>
                  <a:cubicBezTo>
                    <a:pt x="2123273" y="731838"/>
                    <a:pt x="2109938" y="735648"/>
                    <a:pt x="2099778" y="730568"/>
                  </a:cubicBezTo>
                  <a:cubicBezTo>
                    <a:pt x="2076918" y="719773"/>
                    <a:pt x="2055328" y="705803"/>
                    <a:pt x="2035008" y="691833"/>
                  </a:cubicBezTo>
                  <a:cubicBezTo>
                    <a:pt x="2025483" y="685483"/>
                    <a:pt x="2018498" y="675323"/>
                    <a:pt x="2008338" y="670243"/>
                  </a:cubicBezTo>
                  <a:cubicBezTo>
                    <a:pt x="1996273" y="664528"/>
                    <a:pt x="1981668" y="667068"/>
                    <a:pt x="1970238" y="660083"/>
                  </a:cubicBezTo>
                  <a:cubicBezTo>
                    <a:pt x="1952458" y="649923"/>
                    <a:pt x="1930233" y="611823"/>
                    <a:pt x="1916263" y="616903"/>
                  </a:cubicBezTo>
                  <a:cubicBezTo>
                    <a:pt x="1843873" y="641033"/>
                    <a:pt x="1921978" y="660718"/>
                    <a:pt x="1931503" y="679768"/>
                  </a:cubicBezTo>
                  <a:cubicBezTo>
                    <a:pt x="1936583" y="690563"/>
                    <a:pt x="1937218" y="703898"/>
                    <a:pt x="1945473" y="712153"/>
                  </a:cubicBezTo>
                  <a:cubicBezTo>
                    <a:pt x="1950553" y="717233"/>
                    <a:pt x="1960078" y="713423"/>
                    <a:pt x="1967063" y="716598"/>
                  </a:cubicBezTo>
                  <a:cubicBezTo>
                    <a:pt x="2000083" y="731838"/>
                    <a:pt x="2029928" y="752158"/>
                    <a:pt x="2062948" y="766128"/>
                  </a:cubicBezTo>
                  <a:cubicBezTo>
                    <a:pt x="2066123" y="767398"/>
                    <a:pt x="2075013" y="759778"/>
                    <a:pt x="2071838" y="761048"/>
                  </a:cubicBezTo>
                  <a:cubicBezTo>
                    <a:pt x="2052153" y="768668"/>
                    <a:pt x="2033738" y="780098"/>
                    <a:pt x="2013418" y="785178"/>
                  </a:cubicBezTo>
                  <a:cubicBezTo>
                    <a:pt x="1971508" y="795338"/>
                    <a:pt x="1978493" y="767398"/>
                    <a:pt x="1937218" y="796608"/>
                  </a:cubicBezTo>
                  <a:cubicBezTo>
                    <a:pt x="1918168" y="809943"/>
                    <a:pt x="1953093" y="812483"/>
                    <a:pt x="1963253" y="822643"/>
                  </a:cubicBezTo>
                  <a:cubicBezTo>
                    <a:pt x="1970238" y="829627"/>
                    <a:pt x="1971508" y="840423"/>
                    <a:pt x="1976588" y="848677"/>
                  </a:cubicBezTo>
                  <a:cubicBezTo>
                    <a:pt x="1980398" y="854393"/>
                    <a:pt x="1995003" y="858838"/>
                    <a:pt x="1989923" y="863283"/>
                  </a:cubicBezTo>
                  <a:cubicBezTo>
                    <a:pt x="1979128" y="872808"/>
                    <a:pt x="1961348" y="868998"/>
                    <a:pt x="1948013" y="873443"/>
                  </a:cubicBezTo>
                  <a:cubicBezTo>
                    <a:pt x="1904198" y="889318"/>
                    <a:pt x="1930868" y="883602"/>
                    <a:pt x="1902293" y="915352"/>
                  </a:cubicBezTo>
                  <a:cubicBezTo>
                    <a:pt x="1899753" y="918527"/>
                    <a:pt x="1906103" y="907733"/>
                    <a:pt x="1905468" y="903923"/>
                  </a:cubicBezTo>
                  <a:cubicBezTo>
                    <a:pt x="1902293" y="893763"/>
                    <a:pt x="1899753" y="879793"/>
                    <a:pt x="1890228" y="875348"/>
                  </a:cubicBezTo>
                  <a:cubicBezTo>
                    <a:pt x="1883878" y="872808"/>
                    <a:pt x="1878798" y="884238"/>
                    <a:pt x="1875623" y="890588"/>
                  </a:cubicBezTo>
                  <a:cubicBezTo>
                    <a:pt x="1872448" y="896302"/>
                    <a:pt x="1873718" y="903288"/>
                    <a:pt x="1871178" y="909002"/>
                  </a:cubicBezTo>
                  <a:cubicBezTo>
                    <a:pt x="1860383" y="933768"/>
                    <a:pt x="1845143" y="956627"/>
                    <a:pt x="1835618" y="981393"/>
                  </a:cubicBezTo>
                  <a:cubicBezTo>
                    <a:pt x="1830538" y="995363"/>
                    <a:pt x="1840063" y="1018223"/>
                    <a:pt x="1827363" y="1026477"/>
                  </a:cubicBezTo>
                  <a:cubicBezTo>
                    <a:pt x="1815933" y="1033463"/>
                    <a:pt x="1795613" y="1023302"/>
                    <a:pt x="1789898" y="1011238"/>
                  </a:cubicBezTo>
                  <a:cubicBezTo>
                    <a:pt x="1784818" y="999808"/>
                    <a:pt x="1817203" y="985202"/>
                    <a:pt x="1807043" y="978852"/>
                  </a:cubicBezTo>
                  <a:cubicBezTo>
                    <a:pt x="1791803" y="969327"/>
                    <a:pt x="1765768" y="975677"/>
                    <a:pt x="1754973" y="989648"/>
                  </a:cubicBezTo>
                  <a:cubicBezTo>
                    <a:pt x="1734653" y="1016318"/>
                    <a:pt x="1803233" y="1039177"/>
                    <a:pt x="1805773" y="1044258"/>
                  </a:cubicBezTo>
                  <a:cubicBezTo>
                    <a:pt x="1816568" y="1069658"/>
                    <a:pt x="1764498" y="1064578"/>
                    <a:pt x="1763228" y="1065848"/>
                  </a:cubicBezTo>
                  <a:cubicBezTo>
                    <a:pt x="1758148" y="1070293"/>
                    <a:pt x="1765133" y="1079818"/>
                    <a:pt x="1763228" y="1086803"/>
                  </a:cubicBezTo>
                  <a:cubicBezTo>
                    <a:pt x="1758148" y="1100138"/>
                    <a:pt x="1746083" y="1110298"/>
                    <a:pt x="1741003" y="1124268"/>
                  </a:cubicBezTo>
                  <a:cubicBezTo>
                    <a:pt x="1734653" y="1141413"/>
                    <a:pt x="1786723" y="1143953"/>
                    <a:pt x="1781008" y="1161098"/>
                  </a:cubicBezTo>
                  <a:cubicBezTo>
                    <a:pt x="1774658" y="1178878"/>
                    <a:pt x="1747353" y="1180148"/>
                    <a:pt x="1728303" y="1183323"/>
                  </a:cubicBezTo>
                  <a:cubicBezTo>
                    <a:pt x="1723858" y="1183958"/>
                    <a:pt x="1734653" y="1171258"/>
                    <a:pt x="1730208" y="1169353"/>
                  </a:cubicBezTo>
                  <a:cubicBezTo>
                    <a:pt x="1716873" y="1163003"/>
                    <a:pt x="1699728" y="1157288"/>
                    <a:pt x="1685758" y="1163003"/>
                  </a:cubicBezTo>
                  <a:cubicBezTo>
                    <a:pt x="1678773" y="1166178"/>
                    <a:pt x="1683853" y="1181418"/>
                    <a:pt x="1690203" y="1185863"/>
                  </a:cubicBezTo>
                  <a:cubicBezTo>
                    <a:pt x="1703538" y="1195388"/>
                    <a:pt x="1724493" y="1189038"/>
                    <a:pt x="1736558" y="1199198"/>
                  </a:cubicBezTo>
                  <a:cubicBezTo>
                    <a:pt x="1743543" y="1204913"/>
                    <a:pt x="1746718" y="1224598"/>
                    <a:pt x="1738463" y="1226503"/>
                  </a:cubicBezTo>
                  <a:cubicBezTo>
                    <a:pt x="1716873" y="1230948"/>
                    <a:pt x="1695283" y="1218248"/>
                    <a:pt x="1674328" y="1213168"/>
                  </a:cubicBezTo>
                  <a:cubicBezTo>
                    <a:pt x="1666708" y="1211263"/>
                    <a:pt x="1657818" y="1211263"/>
                    <a:pt x="1652103" y="1206183"/>
                  </a:cubicBezTo>
                  <a:cubicBezTo>
                    <a:pt x="1639403" y="1195388"/>
                    <a:pt x="1627338" y="1182688"/>
                    <a:pt x="1620988" y="1166813"/>
                  </a:cubicBezTo>
                  <a:cubicBezTo>
                    <a:pt x="1618448" y="1160463"/>
                    <a:pt x="1631783" y="1152843"/>
                    <a:pt x="1627973" y="1147128"/>
                  </a:cubicBezTo>
                  <a:cubicBezTo>
                    <a:pt x="1622258" y="1136968"/>
                    <a:pt x="1589873" y="1136333"/>
                    <a:pt x="1597493" y="1127443"/>
                  </a:cubicBezTo>
                  <a:cubicBezTo>
                    <a:pt x="1612733" y="1110933"/>
                    <a:pt x="1640673" y="1113473"/>
                    <a:pt x="1662898" y="1109028"/>
                  </a:cubicBezTo>
                  <a:cubicBezTo>
                    <a:pt x="1667343" y="1108393"/>
                    <a:pt x="1671153" y="1111568"/>
                    <a:pt x="1676233" y="1112203"/>
                  </a:cubicBezTo>
                  <a:cubicBezTo>
                    <a:pt x="1679408" y="1112838"/>
                    <a:pt x="1683853" y="1115378"/>
                    <a:pt x="1685758" y="1112203"/>
                  </a:cubicBezTo>
                  <a:cubicBezTo>
                    <a:pt x="1715603" y="1067753"/>
                    <a:pt x="1749893" y="1044258"/>
                    <a:pt x="1701633" y="1018223"/>
                  </a:cubicBezTo>
                  <a:cubicBezTo>
                    <a:pt x="1692108" y="1013143"/>
                    <a:pt x="1680043" y="1013143"/>
                    <a:pt x="1669248" y="1009968"/>
                  </a:cubicBezTo>
                  <a:cubicBezTo>
                    <a:pt x="1633053" y="999808"/>
                    <a:pt x="1598763" y="978218"/>
                    <a:pt x="1561298" y="977583"/>
                  </a:cubicBezTo>
                  <a:cubicBezTo>
                    <a:pt x="1546693" y="977583"/>
                    <a:pt x="1531453" y="975677"/>
                    <a:pt x="1516848" y="978852"/>
                  </a:cubicBezTo>
                  <a:cubicBezTo>
                    <a:pt x="1512403" y="979488"/>
                    <a:pt x="1514308" y="990283"/>
                    <a:pt x="1509863" y="989648"/>
                  </a:cubicBezTo>
                  <a:cubicBezTo>
                    <a:pt x="1493988" y="987108"/>
                    <a:pt x="1480653" y="975677"/>
                    <a:pt x="1465413" y="971233"/>
                  </a:cubicBezTo>
                  <a:cubicBezTo>
                    <a:pt x="1458428" y="969327"/>
                    <a:pt x="1449538" y="975043"/>
                    <a:pt x="1443188" y="970598"/>
                  </a:cubicBezTo>
                  <a:cubicBezTo>
                    <a:pt x="1429218" y="960438"/>
                    <a:pt x="1423503" y="941388"/>
                    <a:pt x="1410168" y="930593"/>
                  </a:cubicBezTo>
                  <a:cubicBezTo>
                    <a:pt x="1404453" y="926148"/>
                    <a:pt x="1395563" y="928688"/>
                    <a:pt x="1387943" y="927418"/>
                  </a:cubicBezTo>
                  <a:cubicBezTo>
                    <a:pt x="1377148" y="924877"/>
                    <a:pt x="1366353" y="919163"/>
                    <a:pt x="1355558" y="920433"/>
                  </a:cubicBezTo>
                  <a:cubicBezTo>
                    <a:pt x="1257133" y="928052"/>
                    <a:pt x="1371433" y="935038"/>
                    <a:pt x="1287613" y="985838"/>
                  </a:cubicBezTo>
                  <a:cubicBezTo>
                    <a:pt x="1273643" y="994093"/>
                    <a:pt x="1255863" y="980758"/>
                    <a:pt x="1239988" y="977583"/>
                  </a:cubicBezTo>
                  <a:cubicBezTo>
                    <a:pt x="1222843" y="973773"/>
                    <a:pt x="1299043" y="980123"/>
                    <a:pt x="1264118" y="997902"/>
                  </a:cubicBezTo>
                  <a:cubicBezTo>
                    <a:pt x="1255863" y="1002348"/>
                    <a:pt x="1246338" y="990918"/>
                    <a:pt x="1236813" y="991552"/>
                  </a:cubicBezTo>
                  <a:cubicBezTo>
                    <a:pt x="1228558" y="991552"/>
                    <a:pt x="1220938" y="995363"/>
                    <a:pt x="1213318" y="999173"/>
                  </a:cubicBezTo>
                  <a:cubicBezTo>
                    <a:pt x="1147913" y="1030288"/>
                    <a:pt x="1215858" y="1014413"/>
                    <a:pt x="1172678" y="1082358"/>
                  </a:cubicBezTo>
                  <a:cubicBezTo>
                    <a:pt x="1167598" y="1089978"/>
                    <a:pt x="1152993" y="1077278"/>
                    <a:pt x="1145373" y="1082358"/>
                  </a:cubicBezTo>
                  <a:cubicBezTo>
                    <a:pt x="1141563" y="1084898"/>
                    <a:pt x="1153628" y="1089343"/>
                    <a:pt x="1152993" y="1093788"/>
                  </a:cubicBezTo>
                  <a:cubicBezTo>
                    <a:pt x="1146643" y="1168083"/>
                    <a:pt x="1147278" y="1116013"/>
                    <a:pt x="1106638" y="1136968"/>
                  </a:cubicBezTo>
                  <a:cubicBezTo>
                    <a:pt x="1100288" y="1140143"/>
                    <a:pt x="1104098" y="1151573"/>
                    <a:pt x="1099018" y="1156018"/>
                  </a:cubicBezTo>
                  <a:cubicBezTo>
                    <a:pt x="1093938" y="1160463"/>
                    <a:pt x="1081238" y="1156018"/>
                    <a:pt x="1079333" y="1162368"/>
                  </a:cubicBezTo>
                  <a:cubicBezTo>
                    <a:pt x="1077428" y="1170623"/>
                    <a:pt x="1091398" y="1176338"/>
                    <a:pt x="1091398" y="1184593"/>
                  </a:cubicBezTo>
                  <a:cubicBezTo>
                    <a:pt x="1090763" y="1201738"/>
                    <a:pt x="1083778" y="1218248"/>
                    <a:pt x="1076158" y="1233488"/>
                  </a:cubicBezTo>
                  <a:cubicBezTo>
                    <a:pt x="1019008" y="1349693"/>
                    <a:pt x="1096478" y="1164273"/>
                    <a:pt x="1035518" y="1265873"/>
                  </a:cubicBezTo>
                  <a:cubicBezTo>
                    <a:pt x="1032978" y="1269683"/>
                    <a:pt x="1046948" y="1276033"/>
                    <a:pt x="1042503" y="1278573"/>
                  </a:cubicBezTo>
                  <a:cubicBezTo>
                    <a:pt x="1004403" y="1295718"/>
                    <a:pt x="1040598" y="1247458"/>
                    <a:pt x="1010753" y="1280478"/>
                  </a:cubicBezTo>
                  <a:cubicBezTo>
                    <a:pt x="1000593" y="1291908"/>
                    <a:pt x="972018" y="1307148"/>
                    <a:pt x="983448" y="1316038"/>
                  </a:cubicBezTo>
                  <a:cubicBezTo>
                    <a:pt x="997418" y="1326833"/>
                    <a:pt x="1015198" y="1297623"/>
                    <a:pt x="1032978" y="1297623"/>
                  </a:cubicBezTo>
                  <a:cubicBezTo>
                    <a:pt x="1039328" y="1297623"/>
                    <a:pt x="1042503" y="1312228"/>
                    <a:pt x="1037423" y="1315403"/>
                  </a:cubicBezTo>
                  <a:cubicBezTo>
                    <a:pt x="1022818" y="1323658"/>
                    <a:pt x="1003133" y="1316673"/>
                    <a:pt x="988528" y="1323658"/>
                  </a:cubicBezTo>
                  <a:cubicBezTo>
                    <a:pt x="978368" y="1328103"/>
                    <a:pt x="974558" y="1341438"/>
                    <a:pt x="965033" y="1347153"/>
                  </a:cubicBezTo>
                  <a:cubicBezTo>
                    <a:pt x="958683" y="1350963"/>
                    <a:pt x="949793" y="1348423"/>
                    <a:pt x="942808" y="1350963"/>
                  </a:cubicBezTo>
                  <a:cubicBezTo>
                    <a:pt x="939633" y="1352233"/>
                    <a:pt x="940268" y="1358583"/>
                    <a:pt x="937093" y="1359218"/>
                  </a:cubicBezTo>
                  <a:cubicBezTo>
                    <a:pt x="926933" y="1361758"/>
                    <a:pt x="912963" y="1353503"/>
                    <a:pt x="904708" y="1361123"/>
                  </a:cubicBezTo>
                  <a:cubicBezTo>
                    <a:pt x="892008" y="1372553"/>
                    <a:pt x="898993" y="1398588"/>
                    <a:pt x="885023" y="1408113"/>
                  </a:cubicBezTo>
                  <a:cubicBezTo>
                    <a:pt x="874228" y="1415098"/>
                    <a:pt x="860893" y="1396683"/>
                    <a:pt x="848193" y="1398588"/>
                  </a:cubicBezTo>
                  <a:cubicBezTo>
                    <a:pt x="843113" y="1399858"/>
                    <a:pt x="843748" y="1412558"/>
                    <a:pt x="848193" y="1414463"/>
                  </a:cubicBezTo>
                  <a:cubicBezTo>
                    <a:pt x="863433" y="1420813"/>
                    <a:pt x="892643" y="1403033"/>
                    <a:pt x="898358" y="1418908"/>
                  </a:cubicBezTo>
                  <a:cubicBezTo>
                    <a:pt x="909788" y="1450023"/>
                    <a:pt x="848193" y="1441133"/>
                    <a:pt x="838033" y="1450658"/>
                  </a:cubicBezTo>
                  <a:cubicBezTo>
                    <a:pt x="835493" y="1453198"/>
                    <a:pt x="841208" y="1458913"/>
                    <a:pt x="845018" y="1459548"/>
                  </a:cubicBezTo>
                  <a:cubicBezTo>
                    <a:pt x="890738" y="1463358"/>
                    <a:pt x="876133" y="1451928"/>
                    <a:pt x="910423" y="1451928"/>
                  </a:cubicBezTo>
                  <a:cubicBezTo>
                    <a:pt x="914868" y="1451928"/>
                    <a:pt x="926298" y="1453833"/>
                    <a:pt x="922488" y="1455103"/>
                  </a:cubicBezTo>
                  <a:cubicBezTo>
                    <a:pt x="895183" y="1463358"/>
                    <a:pt x="865973" y="1466533"/>
                    <a:pt x="838033" y="1474153"/>
                  </a:cubicBezTo>
                  <a:cubicBezTo>
                    <a:pt x="832953" y="1475423"/>
                    <a:pt x="857718" y="1470978"/>
                    <a:pt x="853273" y="1472883"/>
                  </a:cubicBezTo>
                  <a:cubicBezTo>
                    <a:pt x="847558" y="1475423"/>
                    <a:pt x="830413" y="1470343"/>
                    <a:pt x="834223" y="1475423"/>
                  </a:cubicBezTo>
                  <a:cubicBezTo>
                    <a:pt x="843113" y="1486853"/>
                    <a:pt x="857718" y="1491933"/>
                    <a:pt x="871688" y="1496378"/>
                  </a:cubicBezTo>
                  <a:cubicBezTo>
                    <a:pt x="881213" y="1499553"/>
                    <a:pt x="900898" y="1486218"/>
                    <a:pt x="900898" y="1495743"/>
                  </a:cubicBezTo>
                  <a:cubicBezTo>
                    <a:pt x="901533" y="1540193"/>
                    <a:pt x="781518" y="1543368"/>
                    <a:pt x="838668" y="1594168"/>
                  </a:cubicBezTo>
                  <a:cubicBezTo>
                    <a:pt x="861528" y="1614488"/>
                    <a:pt x="895183" y="1616393"/>
                    <a:pt x="922488" y="1629093"/>
                  </a:cubicBezTo>
                  <a:cubicBezTo>
                    <a:pt x="925028" y="1630363"/>
                    <a:pt x="926933" y="1636713"/>
                    <a:pt x="928838" y="1635443"/>
                  </a:cubicBezTo>
                  <a:cubicBezTo>
                    <a:pt x="943443" y="1623378"/>
                    <a:pt x="954873" y="1606868"/>
                    <a:pt x="966938" y="1592263"/>
                  </a:cubicBezTo>
                  <a:cubicBezTo>
                    <a:pt x="970113" y="1587818"/>
                    <a:pt x="971383" y="1581468"/>
                    <a:pt x="975193" y="1577658"/>
                  </a:cubicBezTo>
                  <a:cubicBezTo>
                    <a:pt x="984083" y="1568768"/>
                    <a:pt x="998053" y="1564958"/>
                    <a:pt x="1005673" y="1554798"/>
                  </a:cubicBezTo>
                  <a:cubicBezTo>
                    <a:pt x="1010118" y="1549083"/>
                    <a:pt x="1006308" y="1527493"/>
                    <a:pt x="1009483" y="1533843"/>
                  </a:cubicBezTo>
                  <a:cubicBezTo>
                    <a:pt x="1015198" y="1545273"/>
                    <a:pt x="1008848" y="1560513"/>
                    <a:pt x="1014563" y="1572578"/>
                  </a:cubicBezTo>
                  <a:cubicBezTo>
                    <a:pt x="1024088" y="1591628"/>
                    <a:pt x="1045678" y="1603693"/>
                    <a:pt x="1053298" y="1624013"/>
                  </a:cubicBezTo>
                  <a:cubicBezTo>
                    <a:pt x="1057743" y="1636078"/>
                    <a:pt x="1045043" y="1648778"/>
                    <a:pt x="1047583" y="1661478"/>
                  </a:cubicBezTo>
                  <a:cubicBezTo>
                    <a:pt x="1083143" y="1829753"/>
                    <a:pt x="1053933" y="1640523"/>
                    <a:pt x="1090763" y="1724343"/>
                  </a:cubicBezTo>
                  <a:cubicBezTo>
                    <a:pt x="1093938" y="1731963"/>
                    <a:pt x="1093938" y="1742123"/>
                    <a:pt x="1088858" y="1748473"/>
                  </a:cubicBezTo>
                  <a:cubicBezTo>
                    <a:pt x="1086318" y="1752283"/>
                    <a:pt x="1075523" y="1740218"/>
                    <a:pt x="1075523" y="1744663"/>
                  </a:cubicBezTo>
                  <a:cubicBezTo>
                    <a:pt x="1076158" y="1763713"/>
                    <a:pt x="1081873" y="1783398"/>
                    <a:pt x="1091398" y="1799908"/>
                  </a:cubicBezTo>
                  <a:cubicBezTo>
                    <a:pt x="1095208" y="1806258"/>
                    <a:pt x="1140928" y="1799908"/>
                    <a:pt x="1141563" y="1798638"/>
                  </a:cubicBezTo>
                  <a:cubicBezTo>
                    <a:pt x="1152993" y="1786573"/>
                    <a:pt x="1146008" y="1763078"/>
                    <a:pt x="1156803" y="1750378"/>
                  </a:cubicBezTo>
                  <a:cubicBezTo>
                    <a:pt x="1172678" y="1732598"/>
                    <a:pt x="1202523" y="1730058"/>
                    <a:pt x="1217763" y="1711643"/>
                  </a:cubicBezTo>
                  <a:cubicBezTo>
                    <a:pt x="1224113" y="1704023"/>
                    <a:pt x="1213318" y="1691323"/>
                    <a:pt x="1214588" y="1681163"/>
                  </a:cubicBezTo>
                  <a:cubicBezTo>
                    <a:pt x="1215223" y="1676718"/>
                    <a:pt x="1222208" y="1674178"/>
                    <a:pt x="1221573" y="1669733"/>
                  </a:cubicBezTo>
                  <a:cubicBezTo>
                    <a:pt x="1220303" y="1660843"/>
                    <a:pt x="1209508" y="1653858"/>
                    <a:pt x="1209508" y="1644968"/>
                  </a:cubicBezTo>
                  <a:cubicBezTo>
                    <a:pt x="1209508" y="1641158"/>
                    <a:pt x="1220303" y="1648778"/>
                    <a:pt x="1221573" y="1645603"/>
                  </a:cubicBezTo>
                  <a:cubicBezTo>
                    <a:pt x="1224748" y="1637983"/>
                    <a:pt x="1224113" y="1627188"/>
                    <a:pt x="1220303" y="1620203"/>
                  </a:cubicBezTo>
                  <a:cubicBezTo>
                    <a:pt x="1215858" y="1611948"/>
                    <a:pt x="1192998" y="1610678"/>
                    <a:pt x="1198078" y="1602423"/>
                  </a:cubicBezTo>
                  <a:cubicBezTo>
                    <a:pt x="1205063" y="1590993"/>
                    <a:pt x="1224748" y="1599248"/>
                    <a:pt x="1236813" y="1593533"/>
                  </a:cubicBezTo>
                  <a:cubicBezTo>
                    <a:pt x="1248878" y="1587818"/>
                    <a:pt x="1262848" y="1581468"/>
                    <a:pt x="1268563" y="1568768"/>
                  </a:cubicBezTo>
                  <a:cubicBezTo>
                    <a:pt x="1271103" y="1563053"/>
                    <a:pt x="1253958" y="1570038"/>
                    <a:pt x="1250148" y="1564958"/>
                  </a:cubicBezTo>
                  <a:cubicBezTo>
                    <a:pt x="1242528" y="1556068"/>
                    <a:pt x="1240623" y="1543368"/>
                    <a:pt x="1237448" y="1531938"/>
                  </a:cubicBezTo>
                  <a:cubicBezTo>
                    <a:pt x="1234908" y="1523683"/>
                    <a:pt x="1239988" y="1551623"/>
                    <a:pt x="1247608" y="1556703"/>
                  </a:cubicBezTo>
                  <a:cubicBezTo>
                    <a:pt x="1255863" y="1561783"/>
                    <a:pt x="1285073" y="1533843"/>
                    <a:pt x="1285708" y="1532573"/>
                  </a:cubicBezTo>
                  <a:cubicBezTo>
                    <a:pt x="1292693" y="1523048"/>
                    <a:pt x="1246973" y="1491298"/>
                    <a:pt x="1243163" y="1485583"/>
                  </a:cubicBezTo>
                  <a:cubicBezTo>
                    <a:pt x="1239353" y="1479233"/>
                    <a:pt x="1207603" y="1396683"/>
                    <a:pt x="1210778" y="1381443"/>
                  </a:cubicBezTo>
                  <a:cubicBezTo>
                    <a:pt x="1213318" y="1371283"/>
                    <a:pt x="1228558" y="1369378"/>
                    <a:pt x="1235543" y="1361123"/>
                  </a:cubicBezTo>
                  <a:cubicBezTo>
                    <a:pt x="1246338" y="1347788"/>
                    <a:pt x="1250783" y="1330008"/>
                    <a:pt x="1262848" y="1317943"/>
                  </a:cubicBezTo>
                  <a:cubicBezTo>
                    <a:pt x="1271103" y="1309688"/>
                    <a:pt x="1286978" y="1310958"/>
                    <a:pt x="1295233" y="1302703"/>
                  </a:cubicBezTo>
                  <a:cubicBezTo>
                    <a:pt x="1349843" y="1245553"/>
                    <a:pt x="1300948" y="1283653"/>
                    <a:pt x="1293963" y="1246823"/>
                  </a:cubicBezTo>
                  <a:cubicBezTo>
                    <a:pt x="1292693" y="1239838"/>
                    <a:pt x="1306028" y="1236028"/>
                    <a:pt x="1306028" y="1229043"/>
                  </a:cubicBezTo>
                  <a:cubicBezTo>
                    <a:pt x="1306028" y="1224598"/>
                    <a:pt x="1295233" y="1225233"/>
                    <a:pt x="1295233" y="1220153"/>
                  </a:cubicBezTo>
                  <a:cubicBezTo>
                    <a:pt x="1292058" y="1183958"/>
                    <a:pt x="1344763" y="1185228"/>
                    <a:pt x="1363178" y="1187133"/>
                  </a:cubicBezTo>
                  <a:cubicBezTo>
                    <a:pt x="1380323" y="1189038"/>
                    <a:pt x="1415248" y="1199833"/>
                    <a:pt x="1408898" y="1227773"/>
                  </a:cubicBezTo>
                  <a:cubicBezTo>
                    <a:pt x="1406993" y="1235393"/>
                    <a:pt x="1391753" y="1231583"/>
                    <a:pt x="1387943" y="1238568"/>
                  </a:cubicBezTo>
                  <a:cubicBezTo>
                    <a:pt x="1379688" y="1251268"/>
                    <a:pt x="1380958" y="1268413"/>
                    <a:pt x="1373973" y="1282383"/>
                  </a:cubicBezTo>
                  <a:cubicBezTo>
                    <a:pt x="1370163" y="1291273"/>
                    <a:pt x="1363178" y="1298258"/>
                    <a:pt x="1356193" y="1305243"/>
                  </a:cubicBezTo>
                  <a:cubicBezTo>
                    <a:pt x="1353018" y="1308418"/>
                    <a:pt x="1345398" y="1308418"/>
                    <a:pt x="1343493" y="1312863"/>
                  </a:cubicBezTo>
                  <a:cubicBezTo>
                    <a:pt x="1342223" y="1317308"/>
                    <a:pt x="1350478" y="1321753"/>
                    <a:pt x="1347938" y="1326198"/>
                  </a:cubicBezTo>
                  <a:cubicBezTo>
                    <a:pt x="1340953" y="1338263"/>
                    <a:pt x="1319363" y="1342708"/>
                    <a:pt x="1318728" y="1356678"/>
                  </a:cubicBezTo>
                  <a:cubicBezTo>
                    <a:pt x="1317458" y="1389063"/>
                    <a:pt x="1334603" y="1419543"/>
                    <a:pt x="1343493" y="1450658"/>
                  </a:cubicBezTo>
                  <a:cubicBezTo>
                    <a:pt x="1346033" y="1459548"/>
                    <a:pt x="1344763" y="1470978"/>
                    <a:pt x="1351748" y="1476693"/>
                  </a:cubicBezTo>
                  <a:cubicBezTo>
                    <a:pt x="1351748" y="1476693"/>
                    <a:pt x="1417153" y="1502093"/>
                    <a:pt x="1417153" y="1502093"/>
                  </a:cubicBezTo>
                  <a:cubicBezTo>
                    <a:pt x="1418423" y="1507808"/>
                    <a:pt x="1400643" y="1517968"/>
                    <a:pt x="1406358" y="1516063"/>
                  </a:cubicBezTo>
                  <a:cubicBezTo>
                    <a:pt x="1423503" y="1510348"/>
                    <a:pt x="1436838" y="1497013"/>
                    <a:pt x="1453348" y="1490028"/>
                  </a:cubicBezTo>
                  <a:cubicBezTo>
                    <a:pt x="1458428" y="1488123"/>
                    <a:pt x="1464778" y="1490663"/>
                    <a:pt x="1469223" y="1488123"/>
                  </a:cubicBezTo>
                  <a:cubicBezTo>
                    <a:pt x="1483193" y="1479233"/>
                    <a:pt x="1492718" y="1463993"/>
                    <a:pt x="1507958" y="1456373"/>
                  </a:cubicBezTo>
                  <a:cubicBezTo>
                    <a:pt x="1511768" y="1454468"/>
                    <a:pt x="1511133" y="1466533"/>
                    <a:pt x="1514943" y="1465898"/>
                  </a:cubicBezTo>
                  <a:cubicBezTo>
                    <a:pt x="1526373" y="1464628"/>
                    <a:pt x="1535263" y="1451293"/>
                    <a:pt x="1546693" y="1452563"/>
                  </a:cubicBezTo>
                  <a:cubicBezTo>
                    <a:pt x="1574633" y="1454468"/>
                    <a:pt x="1604478" y="1458913"/>
                    <a:pt x="1629243" y="1472883"/>
                  </a:cubicBezTo>
                  <a:cubicBezTo>
                    <a:pt x="1639403" y="1479233"/>
                    <a:pt x="1605113" y="1475423"/>
                    <a:pt x="1593683" y="1479233"/>
                  </a:cubicBezTo>
                  <a:cubicBezTo>
                    <a:pt x="1584158" y="1482408"/>
                    <a:pt x="1577173" y="1490028"/>
                    <a:pt x="1567648" y="1493203"/>
                  </a:cubicBezTo>
                  <a:cubicBezTo>
                    <a:pt x="1520023" y="1509713"/>
                    <a:pt x="1495893" y="1505268"/>
                    <a:pt x="1456523" y="1531303"/>
                  </a:cubicBezTo>
                  <a:cubicBezTo>
                    <a:pt x="1453348" y="1533208"/>
                    <a:pt x="1454618" y="1539558"/>
                    <a:pt x="1451443" y="1541463"/>
                  </a:cubicBezTo>
                  <a:cubicBezTo>
                    <a:pt x="1445728" y="1545273"/>
                    <a:pt x="1434298" y="1540828"/>
                    <a:pt x="1432393" y="1546543"/>
                  </a:cubicBezTo>
                  <a:cubicBezTo>
                    <a:pt x="1431123" y="1551623"/>
                    <a:pt x="1443823" y="1592263"/>
                    <a:pt x="1452078" y="1596073"/>
                  </a:cubicBezTo>
                  <a:cubicBezTo>
                    <a:pt x="1460333" y="1599883"/>
                    <a:pt x="1473668" y="1586548"/>
                    <a:pt x="1479383" y="1593533"/>
                  </a:cubicBezTo>
                  <a:cubicBezTo>
                    <a:pt x="1486368" y="1601153"/>
                    <a:pt x="1475573" y="1613853"/>
                    <a:pt x="1476843" y="1624013"/>
                  </a:cubicBezTo>
                  <a:cubicBezTo>
                    <a:pt x="1478748" y="1635443"/>
                    <a:pt x="1495893" y="1648143"/>
                    <a:pt x="1488908" y="1657668"/>
                  </a:cubicBezTo>
                  <a:cubicBezTo>
                    <a:pt x="1443823" y="1717993"/>
                    <a:pt x="1443823" y="1594803"/>
                    <a:pt x="1394293" y="1648778"/>
                  </a:cubicBezTo>
                  <a:cubicBezTo>
                    <a:pt x="1389213" y="1654493"/>
                    <a:pt x="1389213" y="1664018"/>
                    <a:pt x="1387943" y="1671638"/>
                  </a:cubicBezTo>
                  <a:cubicBezTo>
                    <a:pt x="1384768" y="1688783"/>
                    <a:pt x="1379053" y="1705293"/>
                    <a:pt x="1380958" y="1722438"/>
                  </a:cubicBezTo>
                  <a:cubicBezTo>
                    <a:pt x="1383498" y="1745933"/>
                    <a:pt x="1393658" y="1768793"/>
                    <a:pt x="1400643" y="1791653"/>
                  </a:cubicBezTo>
                  <a:cubicBezTo>
                    <a:pt x="1401913" y="1796733"/>
                    <a:pt x="1410168" y="1804353"/>
                    <a:pt x="1405723" y="1806258"/>
                  </a:cubicBezTo>
                  <a:cubicBezTo>
                    <a:pt x="1391118" y="1812608"/>
                    <a:pt x="1372068" y="1802448"/>
                    <a:pt x="1358733" y="1810703"/>
                  </a:cubicBezTo>
                  <a:cubicBezTo>
                    <a:pt x="1349843" y="1816418"/>
                    <a:pt x="1358733" y="1836103"/>
                    <a:pt x="1349208" y="1841183"/>
                  </a:cubicBezTo>
                  <a:cubicBezTo>
                    <a:pt x="1325078" y="1855153"/>
                    <a:pt x="1318728" y="1820863"/>
                    <a:pt x="1299043" y="1822768"/>
                  </a:cubicBezTo>
                  <a:cubicBezTo>
                    <a:pt x="1281263" y="1824673"/>
                    <a:pt x="1264753" y="1834833"/>
                    <a:pt x="1247608" y="1840548"/>
                  </a:cubicBezTo>
                  <a:cubicBezTo>
                    <a:pt x="1243163" y="1841818"/>
                    <a:pt x="1237448" y="1841183"/>
                    <a:pt x="1234273" y="1844358"/>
                  </a:cubicBezTo>
                  <a:cubicBezTo>
                    <a:pt x="1228558" y="1849438"/>
                    <a:pt x="1227923" y="1858963"/>
                    <a:pt x="1221573" y="1862773"/>
                  </a:cubicBezTo>
                  <a:cubicBezTo>
                    <a:pt x="1212048" y="1868488"/>
                    <a:pt x="1199983" y="1867218"/>
                    <a:pt x="1189823" y="1871663"/>
                  </a:cubicBezTo>
                  <a:cubicBezTo>
                    <a:pt x="1175853" y="1876743"/>
                    <a:pt x="1161248" y="1881823"/>
                    <a:pt x="1149183" y="1890713"/>
                  </a:cubicBezTo>
                  <a:cubicBezTo>
                    <a:pt x="1146643" y="1892618"/>
                    <a:pt x="1153628" y="1900238"/>
                    <a:pt x="1151723" y="1898968"/>
                  </a:cubicBezTo>
                  <a:cubicBezTo>
                    <a:pt x="1128228" y="1885633"/>
                    <a:pt x="1109813" y="1860868"/>
                    <a:pt x="1083778" y="1854518"/>
                  </a:cubicBezTo>
                  <a:cubicBezTo>
                    <a:pt x="1074888" y="1851978"/>
                    <a:pt x="1076793" y="1873568"/>
                    <a:pt x="1068538" y="1878013"/>
                  </a:cubicBezTo>
                  <a:cubicBezTo>
                    <a:pt x="1032343" y="1897698"/>
                    <a:pt x="1006308" y="1890713"/>
                    <a:pt x="982813" y="1856423"/>
                  </a:cubicBezTo>
                  <a:cubicBezTo>
                    <a:pt x="979003" y="1850708"/>
                    <a:pt x="990433" y="1842453"/>
                    <a:pt x="986623" y="1836738"/>
                  </a:cubicBezTo>
                  <a:cubicBezTo>
                    <a:pt x="982813" y="1831658"/>
                    <a:pt x="968843" y="1839913"/>
                    <a:pt x="966938" y="1833563"/>
                  </a:cubicBezTo>
                  <a:cubicBezTo>
                    <a:pt x="962493" y="1815783"/>
                    <a:pt x="965033" y="1796733"/>
                    <a:pt x="972018" y="1779588"/>
                  </a:cubicBezTo>
                  <a:cubicBezTo>
                    <a:pt x="973923" y="1774508"/>
                    <a:pt x="985353" y="1784033"/>
                    <a:pt x="989163" y="1779588"/>
                  </a:cubicBezTo>
                  <a:cubicBezTo>
                    <a:pt x="996783" y="1770698"/>
                    <a:pt x="992973" y="1754823"/>
                    <a:pt x="1001228" y="1746568"/>
                  </a:cubicBezTo>
                  <a:cubicBezTo>
                    <a:pt x="1004403" y="1742758"/>
                    <a:pt x="1010118" y="1755458"/>
                    <a:pt x="1014563" y="1753553"/>
                  </a:cubicBezTo>
                  <a:cubicBezTo>
                    <a:pt x="1035518" y="1743393"/>
                    <a:pt x="1015833" y="1669098"/>
                    <a:pt x="1009483" y="1657668"/>
                  </a:cubicBezTo>
                  <a:cubicBezTo>
                    <a:pt x="1006308" y="1650683"/>
                    <a:pt x="994243" y="1662748"/>
                    <a:pt x="988528" y="1667193"/>
                  </a:cubicBezTo>
                  <a:cubicBezTo>
                    <a:pt x="980273" y="1674178"/>
                    <a:pt x="968843" y="1681163"/>
                    <a:pt x="968843" y="1691958"/>
                  </a:cubicBezTo>
                  <a:cubicBezTo>
                    <a:pt x="968843" y="1698943"/>
                    <a:pt x="991703" y="1692593"/>
                    <a:pt x="987893" y="1698308"/>
                  </a:cubicBezTo>
                  <a:cubicBezTo>
                    <a:pt x="981543" y="1708468"/>
                    <a:pt x="964398" y="1704658"/>
                    <a:pt x="955508" y="1712913"/>
                  </a:cubicBezTo>
                  <a:cubicBezTo>
                    <a:pt x="946618" y="1721168"/>
                    <a:pt x="911058" y="1763078"/>
                    <a:pt x="917408" y="1787208"/>
                  </a:cubicBezTo>
                  <a:cubicBezTo>
                    <a:pt x="924393" y="1813878"/>
                    <a:pt x="940268" y="1837373"/>
                    <a:pt x="947253" y="1863408"/>
                  </a:cubicBezTo>
                  <a:cubicBezTo>
                    <a:pt x="949158" y="1871028"/>
                    <a:pt x="939633" y="1879918"/>
                    <a:pt x="944078" y="1886268"/>
                  </a:cubicBezTo>
                  <a:cubicBezTo>
                    <a:pt x="952333" y="1898333"/>
                    <a:pt x="993608" y="1907858"/>
                    <a:pt x="979638" y="1912303"/>
                  </a:cubicBezTo>
                  <a:cubicBezTo>
                    <a:pt x="963763" y="1917383"/>
                    <a:pt x="951698" y="1885633"/>
                    <a:pt x="935188" y="1888808"/>
                  </a:cubicBezTo>
                  <a:cubicBezTo>
                    <a:pt x="923758" y="1891348"/>
                    <a:pt x="938363" y="1918653"/>
                    <a:pt x="927568" y="1923098"/>
                  </a:cubicBezTo>
                  <a:cubicBezTo>
                    <a:pt x="918043" y="1926908"/>
                    <a:pt x="918043" y="1898333"/>
                    <a:pt x="907883" y="1899603"/>
                  </a:cubicBezTo>
                  <a:cubicBezTo>
                    <a:pt x="893913" y="1900873"/>
                    <a:pt x="890103" y="1925638"/>
                    <a:pt x="876768" y="1928813"/>
                  </a:cubicBezTo>
                  <a:cubicBezTo>
                    <a:pt x="860893" y="1931988"/>
                    <a:pt x="846288" y="1914208"/>
                    <a:pt x="830413" y="1916748"/>
                  </a:cubicBezTo>
                  <a:cubicBezTo>
                    <a:pt x="815808" y="1918653"/>
                    <a:pt x="806918" y="1935163"/>
                    <a:pt x="793583" y="1941513"/>
                  </a:cubicBezTo>
                  <a:cubicBezTo>
                    <a:pt x="789138" y="1943418"/>
                    <a:pt x="782153" y="1936433"/>
                    <a:pt x="778978" y="1940878"/>
                  </a:cubicBezTo>
                  <a:cubicBezTo>
                    <a:pt x="770088" y="1954213"/>
                    <a:pt x="769453" y="1971358"/>
                    <a:pt x="762468" y="1985963"/>
                  </a:cubicBezTo>
                  <a:cubicBezTo>
                    <a:pt x="758023" y="1994853"/>
                    <a:pt x="747863" y="2000568"/>
                    <a:pt x="745958" y="2010093"/>
                  </a:cubicBezTo>
                  <a:cubicBezTo>
                    <a:pt x="744053" y="2017713"/>
                    <a:pt x="758658" y="2028508"/>
                    <a:pt x="751673" y="2032318"/>
                  </a:cubicBezTo>
                  <a:cubicBezTo>
                    <a:pt x="742148" y="2038033"/>
                    <a:pt x="728813" y="2023428"/>
                    <a:pt x="718018" y="2026603"/>
                  </a:cubicBezTo>
                  <a:cubicBezTo>
                    <a:pt x="702778" y="2030413"/>
                    <a:pt x="693253" y="2045653"/>
                    <a:pt x="678648" y="2052003"/>
                  </a:cubicBezTo>
                  <a:cubicBezTo>
                    <a:pt x="665948" y="2057718"/>
                    <a:pt x="646263" y="2051368"/>
                    <a:pt x="638008" y="2062163"/>
                  </a:cubicBezTo>
                  <a:cubicBezTo>
                    <a:pt x="629118" y="2073593"/>
                    <a:pt x="644358" y="2094548"/>
                    <a:pt x="635468" y="2105343"/>
                  </a:cubicBezTo>
                  <a:cubicBezTo>
                    <a:pt x="625308" y="2118043"/>
                    <a:pt x="604353" y="2113598"/>
                    <a:pt x="589748" y="2121218"/>
                  </a:cubicBezTo>
                  <a:cubicBezTo>
                    <a:pt x="580223" y="2126298"/>
                    <a:pt x="571333" y="2133283"/>
                    <a:pt x="563713" y="2140903"/>
                  </a:cubicBezTo>
                  <a:cubicBezTo>
                    <a:pt x="560538" y="2144078"/>
                    <a:pt x="562443" y="2151698"/>
                    <a:pt x="557998" y="2152333"/>
                  </a:cubicBezTo>
                  <a:cubicBezTo>
                    <a:pt x="542123" y="2154238"/>
                    <a:pt x="524343" y="2154873"/>
                    <a:pt x="511008" y="2146618"/>
                  </a:cubicBezTo>
                  <a:cubicBezTo>
                    <a:pt x="504023" y="2142173"/>
                    <a:pt x="515453" y="2128838"/>
                    <a:pt x="510373" y="2123123"/>
                  </a:cubicBezTo>
                  <a:cubicBezTo>
                    <a:pt x="504023" y="2116138"/>
                    <a:pt x="487513" y="2109153"/>
                    <a:pt x="483068" y="2117408"/>
                  </a:cubicBezTo>
                  <a:cubicBezTo>
                    <a:pt x="443698" y="2181543"/>
                    <a:pt x="554823" y="2124393"/>
                    <a:pt x="471003" y="2182813"/>
                  </a:cubicBezTo>
                  <a:cubicBezTo>
                    <a:pt x="461478" y="2189163"/>
                    <a:pt x="448143" y="2194878"/>
                    <a:pt x="437348" y="2191068"/>
                  </a:cubicBezTo>
                  <a:cubicBezTo>
                    <a:pt x="427188" y="2187258"/>
                    <a:pt x="429728" y="2168843"/>
                    <a:pt x="419568" y="2164398"/>
                  </a:cubicBezTo>
                  <a:cubicBezTo>
                    <a:pt x="417663" y="2163763"/>
                    <a:pt x="349718" y="2171383"/>
                    <a:pt x="350353" y="2175828"/>
                  </a:cubicBezTo>
                  <a:cubicBezTo>
                    <a:pt x="357338" y="2206943"/>
                    <a:pt x="382103" y="2231708"/>
                    <a:pt x="405598" y="2253298"/>
                  </a:cubicBezTo>
                  <a:cubicBezTo>
                    <a:pt x="411948" y="2259013"/>
                    <a:pt x="434808" y="2229168"/>
                    <a:pt x="438618" y="2255838"/>
                  </a:cubicBezTo>
                  <a:cubicBezTo>
                    <a:pt x="439253" y="2260918"/>
                    <a:pt x="425283" y="2264093"/>
                    <a:pt x="429093" y="2267903"/>
                  </a:cubicBezTo>
                  <a:cubicBezTo>
                    <a:pt x="437983" y="2275523"/>
                    <a:pt x="458303" y="2267268"/>
                    <a:pt x="462113" y="2278063"/>
                  </a:cubicBezTo>
                  <a:cubicBezTo>
                    <a:pt x="465923" y="2287588"/>
                    <a:pt x="443063" y="2290128"/>
                    <a:pt x="440523" y="2300288"/>
                  </a:cubicBezTo>
                  <a:cubicBezTo>
                    <a:pt x="438618" y="2309178"/>
                    <a:pt x="448143" y="2316163"/>
                    <a:pt x="450683" y="2324418"/>
                  </a:cubicBezTo>
                  <a:cubicBezTo>
                    <a:pt x="458303" y="2345373"/>
                    <a:pt x="469733" y="2366328"/>
                    <a:pt x="472273" y="2388553"/>
                  </a:cubicBezTo>
                  <a:cubicBezTo>
                    <a:pt x="479893" y="2451418"/>
                    <a:pt x="468463" y="2431733"/>
                    <a:pt x="450048" y="2470468"/>
                  </a:cubicBezTo>
                  <a:cubicBezTo>
                    <a:pt x="443063" y="2485073"/>
                    <a:pt x="441158" y="2502218"/>
                    <a:pt x="432903" y="2516823"/>
                  </a:cubicBezTo>
                  <a:cubicBezTo>
                    <a:pt x="423378" y="2533968"/>
                    <a:pt x="394168" y="2514283"/>
                    <a:pt x="375118" y="2513013"/>
                  </a:cubicBezTo>
                  <a:cubicBezTo>
                    <a:pt x="370038" y="2512378"/>
                    <a:pt x="366228" y="2521268"/>
                    <a:pt x="361783" y="2519998"/>
                  </a:cubicBezTo>
                  <a:cubicBezTo>
                    <a:pt x="352258" y="2517458"/>
                    <a:pt x="347813" y="2505393"/>
                    <a:pt x="338288" y="2502853"/>
                  </a:cubicBezTo>
                  <a:cubicBezTo>
                    <a:pt x="324318" y="2499678"/>
                    <a:pt x="309713" y="2507298"/>
                    <a:pt x="295743" y="2504758"/>
                  </a:cubicBezTo>
                  <a:cubicBezTo>
                    <a:pt x="258278" y="2497138"/>
                    <a:pt x="222083" y="2481898"/>
                    <a:pt x="185253" y="2473008"/>
                  </a:cubicBezTo>
                  <a:cubicBezTo>
                    <a:pt x="183983" y="2473008"/>
                    <a:pt x="183983" y="2477453"/>
                    <a:pt x="182713" y="2476818"/>
                  </a:cubicBezTo>
                  <a:cubicBezTo>
                    <a:pt x="170648" y="2469198"/>
                    <a:pt x="163663" y="2450783"/>
                    <a:pt x="149693" y="2450783"/>
                  </a:cubicBezTo>
                  <a:cubicBezTo>
                    <a:pt x="21423" y="2455228"/>
                    <a:pt x="106513" y="2485708"/>
                    <a:pt x="96988" y="2534603"/>
                  </a:cubicBezTo>
                  <a:cubicBezTo>
                    <a:pt x="90638" y="2566988"/>
                    <a:pt x="79843" y="2598738"/>
                    <a:pt x="73493" y="2630488"/>
                  </a:cubicBezTo>
                  <a:cubicBezTo>
                    <a:pt x="72858" y="2632393"/>
                    <a:pt x="76668" y="2634298"/>
                    <a:pt x="76033" y="2636838"/>
                  </a:cubicBezTo>
                  <a:cubicBezTo>
                    <a:pt x="67143" y="2660333"/>
                    <a:pt x="45553" y="2697798"/>
                    <a:pt x="28408" y="2714943"/>
                  </a:cubicBezTo>
                  <a:cubicBezTo>
                    <a:pt x="25868" y="2717483"/>
                    <a:pt x="19518" y="2712403"/>
                    <a:pt x="17613" y="2715578"/>
                  </a:cubicBezTo>
                  <a:cubicBezTo>
                    <a:pt x="10628" y="2727643"/>
                    <a:pt x="3643" y="2741613"/>
                    <a:pt x="4913" y="2756218"/>
                  </a:cubicBezTo>
                  <a:cubicBezTo>
                    <a:pt x="9993" y="2813368"/>
                    <a:pt x="33488" y="2847658"/>
                    <a:pt x="83018" y="2876868"/>
                  </a:cubicBezTo>
                  <a:cubicBezTo>
                    <a:pt x="91273" y="2881313"/>
                    <a:pt x="104608" y="2869883"/>
                    <a:pt x="111593" y="2876233"/>
                  </a:cubicBezTo>
                  <a:cubicBezTo>
                    <a:pt x="121753" y="2885758"/>
                    <a:pt x="117943" y="2904173"/>
                    <a:pt x="125563" y="2915603"/>
                  </a:cubicBezTo>
                  <a:cubicBezTo>
                    <a:pt x="137628" y="2934018"/>
                    <a:pt x="155408" y="2947353"/>
                    <a:pt x="170648" y="2963228"/>
                  </a:cubicBezTo>
                  <a:cubicBezTo>
                    <a:pt x="170648" y="2963228"/>
                    <a:pt x="171283" y="2963228"/>
                    <a:pt x="171283" y="2963228"/>
                  </a:cubicBezTo>
                  <a:cubicBezTo>
                    <a:pt x="223353" y="2957513"/>
                    <a:pt x="275423" y="2948623"/>
                    <a:pt x="328128" y="2945448"/>
                  </a:cubicBezTo>
                  <a:cubicBezTo>
                    <a:pt x="332573" y="2945448"/>
                    <a:pt x="335113" y="2956243"/>
                    <a:pt x="338923" y="2953703"/>
                  </a:cubicBezTo>
                  <a:cubicBezTo>
                    <a:pt x="352258" y="2944178"/>
                    <a:pt x="354798" y="2923858"/>
                    <a:pt x="368768" y="2915603"/>
                  </a:cubicBezTo>
                  <a:cubicBezTo>
                    <a:pt x="382738" y="2907348"/>
                    <a:pt x="404328" y="2916873"/>
                    <a:pt x="417663" y="2907348"/>
                  </a:cubicBezTo>
                  <a:cubicBezTo>
                    <a:pt x="427188" y="2900363"/>
                    <a:pt x="417663" y="2882583"/>
                    <a:pt x="424648" y="2873058"/>
                  </a:cubicBezTo>
                  <a:cubicBezTo>
                    <a:pt x="433538" y="2860993"/>
                    <a:pt x="453223" y="2859723"/>
                    <a:pt x="461478" y="2847023"/>
                  </a:cubicBezTo>
                  <a:cubicBezTo>
                    <a:pt x="462113" y="2846388"/>
                    <a:pt x="451318" y="2789238"/>
                    <a:pt x="451953" y="2787333"/>
                  </a:cubicBezTo>
                  <a:cubicBezTo>
                    <a:pt x="454493" y="2776538"/>
                    <a:pt x="464653" y="2768918"/>
                    <a:pt x="471638" y="2760028"/>
                  </a:cubicBezTo>
                  <a:cubicBezTo>
                    <a:pt x="499578" y="2725103"/>
                    <a:pt x="511643" y="2702878"/>
                    <a:pt x="555458" y="2687638"/>
                  </a:cubicBezTo>
                  <a:cubicBezTo>
                    <a:pt x="594193" y="2674303"/>
                    <a:pt x="587208" y="2706688"/>
                    <a:pt x="629753" y="2658428"/>
                  </a:cubicBezTo>
                  <a:cubicBezTo>
                    <a:pt x="640548" y="2646363"/>
                    <a:pt x="643723" y="2629218"/>
                    <a:pt x="646263" y="2613343"/>
                  </a:cubicBezTo>
                  <a:cubicBezTo>
                    <a:pt x="648803" y="2598738"/>
                    <a:pt x="632928" y="2577148"/>
                    <a:pt x="644993" y="2568258"/>
                  </a:cubicBezTo>
                  <a:cubicBezTo>
                    <a:pt x="671028" y="2549208"/>
                    <a:pt x="707223" y="2549843"/>
                    <a:pt x="738973" y="2546668"/>
                  </a:cubicBezTo>
                  <a:cubicBezTo>
                    <a:pt x="743418" y="2546033"/>
                    <a:pt x="735798" y="2556193"/>
                    <a:pt x="738338" y="2560003"/>
                  </a:cubicBezTo>
                  <a:cubicBezTo>
                    <a:pt x="741513" y="2565083"/>
                    <a:pt x="747863" y="2567623"/>
                    <a:pt x="753578" y="2569528"/>
                  </a:cubicBezTo>
                  <a:cubicBezTo>
                    <a:pt x="765643" y="2574608"/>
                    <a:pt x="778343" y="2586673"/>
                    <a:pt x="791043" y="2582863"/>
                  </a:cubicBezTo>
                  <a:cubicBezTo>
                    <a:pt x="814538" y="2575878"/>
                    <a:pt x="831048" y="2554288"/>
                    <a:pt x="851368" y="2540318"/>
                  </a:cubicBezTo>
                  <a:cubicBezTo>
                    <a:pt x="860893" y="2533968"/>
                    <a:pt x="876133" y="2536508"/>
                    <a:pt x="884388" y="2530793"/>
                  </a:cubicBezTo>
                  <a:cubicBezTo>
                    <a:pt x="897723" y="2521903"/>
                    <a:pt x="902168" y="2497773"/>
                    <a:pt x="918678" y="2496503"/>
                  </a:cubicBezTo>
                  <a:cubicBezTo>
                    <a:pt x="972018" y="2492058"/>
                    <a:pt x="991703" y="2539048"/>
                    <a:pt x="1001228" y="2576513"/>
                  </a:cubicBezTo>
                  <a:cubicBezTo>
                    <a:pt x="1003133" y="2582863"/>
                    <a:pt x="996783" y="2590483"/>
                    <a:pt x="999323" y="2596198"/>
                  </a:cubicBezTo>
                  <a:cubicBezTo>
                    <a:pt x="1006308" y="2609533"/>
                    <a:pt x="1016468" y="2622233"/>
                    <a:pt x="1028533" y="2631758"/>
                  </a:cubicBezTo>
                  <a:cubicBezTo>
                    <a:pt x="1035518" y="2636838"/>
                    <a:pt x="1046313" y="2633663"/>
                    <a:pt x="1053933" y="2638108"/>
                  </a:cubicBezTo>
                  <a:cubicBezTo>
                    <a:pt x="1059648" y="2641918"/>
                    <a:pt x="1059648" y="2650808"/>
                    <a:pt x="1064728" y="2655888"/>
                  </a:cubicBezTo>
                  <a:cubicBezTo>
                    <a:pt x="1081238" y="2671763"/>
                    <a:pt x="1104098" y="2680653"/>
                    <a:pt x="1118703" y="2697798"/>
                  </a:cubicBezTo>
                  <a:cubicBezTo>
                    <a:pt x="1121243" y="2700973"/>
                    <a:pt x="1121243" y="2707958"/>
                    <a:pt x="1125688" y="2708593"/>
                  </a:cubicBezTo>
                  <a:cubicBezTo>
                    <a:pt x="1136483" y="2710498"/>
                    <a:pt x="1149183" y="2700338"/>
                    <a:pt x="1158708" y="2705418"/>
                  </a:cubicBezTo>
                  <a:cubicBezTo>
                    <a:pt x="1168868" y="2710498"/>
                    <a:pt x="1166963" y="2728278"/>
                    <a:pt x="1176488" y="2734628"/>
                  </a:cubicBezTo>
                  <a:cubicBezTo>
                    <a:pt x="1186648" y="2741613"/>
                    <a:pt x="1203158" y="2734628"/>
                    <a:pt x="1213318" y="2742248"/>
                  </a:cubicBezTo>
                  <a:cubicBezTo>
                    <a:pt x="1226018" y="2752408"/>
                    <a:pt x="1227288" y="2772728"/>
                    <a:pt x="1239353" y="2782888"/>
                  </a:cubicBezTo>
                  <a:cubicBezTo>
                    <a:pt x="1244433" y="2787333"/>
                    <a:pt x="1255228" y="2776538"/>
                    <a:pt x="1259673" y="2781618"/>
                  </a:cubicBezTo>
                  <a:cubicBezTo>
                    <a:pt x="1275548" y="2803208"/>
                    <a:pt x="1286978" y="2827973"/>
                    <a:pt x="1291423" y="2854008"/>
                  </a:cubicBezTo>
                  <a:cubicBezTo>
                    <a:pt x="1293963" y="2868613"/>
                    <a:pt x="1250148" y="2904173"/>
                    <a:pt x="1264753" y="2916238"/>
                  </a:cubicBezTo>
                  <a:cubicBezTo>
                    <a:pt x="1290153" y="2937193"/>
                    <a:pt x="1304758" y="2900998"/>
                    <a:pt x="1311743" y="2885123"/>
                  </a:cubicBezTo>
                  <a:cubicBezTo>
                    <a:pt x="1314918" y="2877503"/>
                    <a:pt x="1307298" y="2867343"/>
                    <a:pt x="1311743" y="2860993"/>
                  </a:cubicBezTo>
                  <a:cubicBezTo>
                    <a:pt x="1318728" y="2852103"/>
                    <a:pt x="1335238" y="2854008"/>
                    <a:pt x="1341588" y="2844483"/>
                  </a:cubicBezTo>
                  <a:cubicBezTo>
                    <a:pt x="1369528" y="2800668"/>
                    <a:pt x="1283168" y="2833053"/>
                    <a:pt x="1307298" y="2775268"/>
                  </a:cubicBezTo>
                  <a:cubicBezTo>
                    <a:pt x="1321268" y="2740978"/>
                    <a:pt x="1335238" y="2735898"/>
                    <a:pt x="1368893" y="2758758"/>
                  </a:cubicBezTo>
                  <a:cubicBezTo>
                    <a:pt x="1375878" y="2763203"/>
                    <a:pt x="1373973" y="2775268"/>
                    <a:pt x="1379688" y="2780983"/>
                  </a:cubicBezTo>
                  <a:cubicBezTo>
                    <a:pt x="1387943" y="2789873"/>
                    <a:pt x="1413978" y="2796223"/>
                    <a:pt x="1401913" y="2765743"/>
                  </a:cubicBezTo>
                  <a:cubicBezTo>
                    <a:pt x="1380323" y="2712403"/>
                    <a:pt x="1312378" y="2714308"/>
                    <a:pt x="1270468" y="2688908"/>
                  </a:cubicBezTo>
                  <a:cubicBezTo>
                    <a:pt x="1239353" y="2669858"/>
                    <a:pt x="1201888" y="2646998"/>
                    <a:pt x="1176488" y="2620328"/>
                  </a:cubicBezTo>
                  <a:cubicBezTo>
                    <a:pt x="1160613" y="2603183"/>
                    <a:pt x="1164423" y="2565718"/>
                    <a:pt x="1149183" y="2554288"/>
                  </a:cubicBezTo>
                  <a:cubicBezTo>
                    <a:pt x="1130768" y="2540318"/>
                    <a:pt x="1070443" y="2516823"/>
                    <a:pt x="1082508" y="2478723"/>
                  </a:cubicBezTo>
                  <a:cubicBezTo>
                    <a:pt x="1091398" y="2449513"/>
                    <a:pt x="1118068" y="2427923"/>
                    <a:pt x="1140928" y="2407603"/>
                  </a:cubicBezTo>
                  <a:cubicBezTo>
                    <a:pt x="1144738" y="2404428"/>
                    <a:pt x="1144738" y="2417128"/>
                    <a:pt x="1149183" y="2419668"/>
                  </a:cubicBezTo>
                  <a:cubicBezTo>
                    <a:pt x="1161883" y="2427288"/>
                    <a:pt x="1179028" y="2427288"/>
                    <a:pt x="1189188" y="2438083"/>
                  </a:cubicBezTo>
                  <a:cubicBezTo>
                    <a:pt x="1200618" y="2450148"/>
                    <a:pt x="1200618" y="2470468"/>
                    <a:pt x="1210778" y="2484438"/>
                  </a:cubicBezTo>
                  <a:cubicBezTo>
                    <a:pt x="1217128" y="2493328"/>
                    <a:pt x="1234273" y="2493328"/>
                    <a:pt x="1237448" y="2504123"/>
                  </a:cubicBezTo>
                  <a:cubicBezTo>
                    <a:pt x="1239353" y="2509838"/>
                    <a:pt x="1217128" y="2504758"/>
                    <a:pt x="1219668" y="2510473"/>
                  </a:cubicBezTo>
                  <a:cubicBezTo>
                    <a:pt x="1258403" y="2593658"/>
                    <a:pt x="1326348" y="2523173"/>
                    <a:pt x="1348573" y="2591753"/>
                  </a:cubicBezTo>
                  <a:cubicBezTo>
                    <a:pt x="1352383" y="2603183"/>
                    <a:pt x="1302218" y="2578418"/>
                    <a:pt x="1313648" y="2583498"/>
                  </a:cubicBezTo>
                  <a:cubicBezTo>
                    <a:pt x="1340318" y="2594293"/>
                    <a:pt x="1369528" y="2599373"/>
                    <a:pt x="1396198" y="2611438"/>
                  </a:cubicBezTo>
                  <a:cubicBezTo>
                    <a:pt x="1398738" y="2612708"/>
                    <a:pt x="1391118" y="2615883"/>
                    <a:pt x="1392388" y="2618423"/>
                  </a:cubicBezTo>
                  <a:cubicBezTo>
                    <a:pt x="1408898" y="2660333"/>
                    <a:pt x="1432393" y="2699703"/>
                    <a:pt x="1448268" y="2742248"/>
                  </a:cubicBezTo>
                  <a:cubicBezTo>
                    <a:pt x="1449538" y="2745423"/>
                    <a:pt x="1436203" y="2741613"/>
                    <a:pt x="1438743" y="2744153"/>
                  </a:cubicBezTo>
                  <a:cubicBezTo>
                    <a:pt x="1447633" y="2753678"/>
                    <a:pt x="1461603" y="2756853"/>
                    <a:pt x="1469858" y="2766378"/>
                  </a:cubicBezTo>
                  <a:cubicBezTo>
                    <a:pt x="1475573" y="2772093"/>
                    <a:pt x="1475573" y="2781618"/>
                    <a:pt x="1480018" y="2788603"/>
                  </a:cubicBezTo>
                  <a:cubicBezTo>
                    <a:pt x="1485733" y="2797493"/>
                    <a:pt x="1493988" y="2804478"/>
                    <a:pt x="1500973" y="2812733"/>
                  </a:cubicBezTo>
                  <a:cubicBezTo>
                    <a:pt x="1508593" y="2822258"/>
                    <a:pt x="1513038" y="2834323"/>
                    <a:pt x="1521928" y="2842578"/>
                  </a:cubicBezTo>
                  <a:cubicBezTo>
                    <a:pt x="1534628" y="2854008"/>
                    <a:pt x="1547963" y="2866708"/>
                    <a:pt x="1565108" y="2870518"/>
                  </a:cubicBezTo>
                  <a:cubicBezTo>
                    <a:pt x="1579078" y="2873693"/>
                    <a:pt x="1594318" y="2867978"/>
                    <a:pt x="1608288" y="2862898"/>
                  </a:cubicBezTo>
                  <a:cubicBezTo>
                    <a:pt x="1610828" y="2862263"/>
                    <a:pt x="1605748" y="2854643"/>
                    <a:pt x="1608288" y="2855278"/>
                  </a:cubicBezTo>
                  <a:cubicBezTo>
                    <a:pt x="1623528" y="2857818"/>
                    <a:pt x="1641943" y="2857818"/>
                    <a:pt x="1652103" y="2869248"/>
                  </a:cubicBezTo>
                  <a:cubicBezTo>
                    <a:pt x="1657183" y="2874963"/>
                    <a:pt x="1643213" y="2885758"/>
                    <a:pt x="1635593" y="2885758"/>
                  </a:cubicBezTo>
                  <a:cubicBezTo>
                    <a:pt x="1612098" y="2887028"/>
                    <a:pt x="1551773" y="2829243"/>
                    <a:pt x="1546693" y="2902903"/>
                  </a:cubicBezTo>
                  <a:cubicBezTo>
                    <a:pt x="1546058" y="2915603"/>
                    <a:pt x="1570823" y="2914968"/>
                    <a:pt x="1577808" y="2925763"/>
                  </a:cubicBezTo>
                  <a:cubicBezTo>
                    <a:pt x="1584793" y="2937828"/>
                    <a:pt x="1574633" y="2957513"/>
                    <a:pt x="1584793" y="2966403"/>
                  </a:cubicBezTo>
                  <a:cubicBezTo>
                    <a:pt x="1591778" y="2972118"/>
                    <a:pt x="1598128" y="2946718"/>
                    <a:pt x="1606383" y="2950528"/>
                  </a:cubicBezTo>
                  <a:cubicBezTo>
                    <a:pt x="1617813" y="2955608"/>
                    <a:pt x="1610828" y="2979738"/>
                    <a:pt x="1622258" y="2983548"/>
                  </a:cubicBezTo>
                  <a:cubicBezTo>
                    <a:pt x="1631148" y="2986088"/>
                    <a:pt x="1628608" y="2961323"/>
                    <a:pt x="1637498" y="2960688"/>
                  </a:cubicBezTo>
                  <a:cubicBezTo>
                    <a:pt x="1648928" y="2960053"/>
                    <a:pt x="1652738" y="2981643"/>
                    <a:pt x="1664168" y="2981008"/>
                  </a:cubicBezTo>
                  <a:cubicBezTo>
                    <a:pt x="1671788" y="2981008"/>
                    <a:pt x="1660358" y="2966403"/>
                    <a:pt x="1657183" y="2960053"/>
                  </a:cubicBezTo>
                  <a:cubicBezTo>
                    <a:pt x="1648928" y="2943543"/>
                    <a:pt x="1634323" y="2928938"/>
                    <a:pt x="1630513" y="2911158"/>
                  </a:cubicBezTo>
                  <a:cubicBezTo>
                    <a:pt x="1626703" y="2895283"/>
                    <a:pt x="1657818" y="2872423"/>
                    <a:pt x="1669248" y="2873693"/>
                  </a:cubicBezTo>
                  <a:cubicBezTo>
                    <a:pt x="1680678" y="2875598"/>
                    <a:pt x="1685758" y="2901633"/>
                    <a:pt x="1695918" y="2895918"/>
                  </a:cubicBezTo>
                  <a:cubicBezTo>
                    <a:pt x="1706078" y="2890203"/>
                    <a:pt x="1699728" y="2869883"/>
                    <a:pt x="1692743" y="2859723"/>
                  </a:cubicBezTo>
                  <a:cubicBezTo>
                    <a:pt x="1687028" y="2851468"/>
                    <a:pt x="1654008" y="2834323"/>
                    <a:pt x="1636863" y="2831148"/>
                  </a:cubicBezTo>
                  <a:cubicBezTo>
                    <a:pt x="1627973" y="2829878"/>
                    <a:pt x="1607018" y="2836228"/>
                    <a:pt x="1610193" y="2827973"/>
                  </a:cubicBezTo>
                  <a:cubicBezTo>
                    <a:pt x="1615908" y="2813368"/>
                    <a:pt x="1646388" y="2815908"/>
                    <a:pt x="1648928" y="2800668"/>
                  </a:cubicBezTo>
                  <a:cubicBezTo>
                    <a:pt x="1654643" y="2759393"/>
                    <a:pt x="1615273" y="2774633"/>
                    <a:pt x="1605113" y="2751138"/>
                  </a:cubicBezTo>
                  <a:cubicBezTo>
                    <a:pt x="1601303" y="2742248"/>
                    <a:pt x="1591143" y="2725738"/>
                    <a:pt x="1600668" y="2721928"/>
                  </a:cubicBezTo>
                  <a:cubicBezTo>
                    <a:pt x="1622893" y="2713673"/>
                    <a:pt x="1656548" y="2759393"/>
                    <a:pt x="1673058" y="2746058"/>
                  </a:cubicBezTo>
                  <a:cubicBezTo>
                    <a:pt x="1680043" y="2739708"/>
                    <a:pt x="1655913" y="2726373"/>
                    <a:pt x="1662898" y="2720023"/>
                  </a:cubicBezTo>
                  <a:cubicBezTo>
                    <a:pt x="1670518" y="2713038"/>
                    <a:pt x="1695918" y="2739073"/>
                    <a:pt x="1691473" y="2730183"/>
                  </a:cubicBezTo>
                  <a:cubicBezTo>
                    <a:pt x="1683853" y="2714943"/>
                    <a:pt x="1660358" y="2713038"/>
                    <a:pt x="1652103" y="2698433"/>
                  </a:cubicBezTo>
                  <a:cubicBezTo>
                    <a:pt x="1648928" y="2692718"/>
                    <a:pt x="1665438" y="2697798"/>
                    <a:pt x="1671153" y="2695893"/>
                  </a:cubicBezTo>
                  <a:cubicBezTo>
                    <a:pt x="1681948" y="2692083"/>
                    <a:pt x="1693378" y="2688273"/>
                    <a:pt x="1702903" y="2681923"/>
                  </a:cubicBezTo>
                  <a:cubicBezTo>
                    <a:pt x="1708618" y="2678748"/>
                    <a:pt x="1710523" y="2668588"/>
                    <a:pt x="1716873" y="2668588"/>
                  </a:cubicBezTo>
                  <a:cubicBezTo>
                    <a:pt x="1732748" y="2667953"/>
                    <a:pt x="1750528" y="2669223"/>
                    <a:pt x="1762593" y="2680018"/>
                  </a:cubicBezTo>
                  <a:cubicBezTo>
                    <a:pt x="1774023" y="2690178"/>
                    <a:pt x="1763228" y="2717483"/>
                    <a:pt x="1777198" y="2723198"/>
                  </a:cubicBezTo>
                  <a:cubicBezTo>
                    <a:pt x="1787993" y="2727643"/>
                    <a:pt x="1788628" y="2702243"/>
                    <a:pt x="1796248" y="2693353"/>
                  </a:cubicBezTo>
                  <a:cubicBezTo>
                    <a:pt x="1803233" y="2685098"/>
                    <a:pt x="1815298" y="2680653"/>
                    <a:pt x="1822283" y="2671763"/>
                  </a:cubicBezTo>
                  <a:cubicBezTo>
                    <a:pt x="1826728" y="2666048"/>
                    <a:pt x="1821648" y="2654618"/>
                    <a:pt x="1827998" y="2652078"/>
                  </a:cubicBezTo>
                  <a:cubicBezTo>
                    <a:pt x="1847048" y="2643823"/>
                    <a:pt x="1869273" y="2646363"/>
                    <a:pt x="1888958" y="2641918"/>
                  </a:cubicBezTo>
                  <a:cubicBezTo>
                    <a:pt x="1891498" y="2641283"/>
                    <a:pt x="1897848" y="2638743"/>
                    <a:pt x="1895943" y="2636838"/>
                  </a:cubicBezTo>
                  <a:cubicBezTo>
                    <a:pt x="1883243" y="2625408"/>
                    <a:pt x="1865463" y="2621598"/>
                    <a:pt x="1852763" y="2610168"/>
                  </a:cubicBezTo>
                  <a:cubicBezTo>
                    <a:pt x="1845143" y="2603183"/>
                    <a:pt x="1845143" y="2590483"/>
                    <a:pt x="1838793" y="2582863"/>
                  </a:cubicBezTo>
                  <a:cubicBezTo>
                    <a:pt x="1829903" y="2572068"/>
                    <a:pt x="1810218" y="2569528"/>
                    <a:pt x="1806408" y="2555558"/>
                  </a:cubicBezTo>
                  <a:cubicBezTo>
                    <a:pt x="1801963" y="2539048"/>
                    <a:pt x="1814028" y="2522538"/>
                    <a:pt x="1817203" y="2506028"/>
                  </a:cubicBezTo>
                  <a:cubicBezTo>
                    <a:pt x="1823553" y="2474278"/>
                    <a:pt x="1830538" y="2443163"/>
                    <a:pt x="1834983" y="2411413"/>
                  </a:cubicBezTo>
                  <a:cubicBezTo>
                    <a:pt x="1836253" y="2403158"/>
                    <a:pt x="1830538" y="2392998"/>
                    <a:pt x="1835618" y="2386013"/>
                  </a:cubicBezTo>
                  <a:cubicBezTo>
                    <a:pt x="1842603" y="2375218"/>
                    <a:pt x="1855938" y="2370138"/>
                    <a:pt x="1866098" y="2361883"/>
                  </a:cubicBezTo>
                  <a:cubicBezTo>
                    <a:pt x="1866098" y="2361883"/>
                    <a:pt x="1876258" y="2331403"/>
                    <a:pt x="1880703" y="2315528"/>
                  </a:cubicBezTo>
                  <a:cubicBezTo>
                    <a:pt x="1885148" y="2299653"/>
                    <a:pt x="1884513" y="2282508"/>
                    <a:pt x="1891498" y="2267903"/>
                  </a:cubicBezTo>
                  <a:cubicBezTo>
                    <a:pt x="1895943" y="2258378"/>
                    <a:pt x="1904833" y="2250123"/>
                    <a:pt x="1914358" y="2246313"/>
                  </a:cubicBezTo>
                  <a:cubicBezTo>
                    <a:pt x="1921343" y="2243773"/>
                    <a:pt x="1934043" y="2258378"/>
                    <a:pt x="1935313" y="2251393"/>
                  </a:cubicBezTo>
                  <a:cubicBezTo>
                    <a:pt x="1937218" y="2238058"/>
                    <a:pt x="1910548" y="2205038"/>
                    <a:pt x="1918803" y="2215198"/>
                  </a:cubicBezTo>
                  <a:cubicBezTo>
                    <a:pt x="1930233" y="2229803"/>
                    <a:pt x="1939758" y="2246313"/>
                    <a:pt x="1945473" y="2264093"/>
                  </a:cubicBezTo>
                  <a:cubicBezTo>
                    <a:pt x="1946743" y="2268538"/>
                    <a:pt x="1934043" y="2272348"/>
                    <a:pt x="1937853" y="2274888"/>
                  </a:cubicBezTo>
                  <a:cubicBezTo>
                    <a:pt x="1956268" y="2287588"/>
                    <a:pt x="1991193" y="2279968"/>
                    <a:pt x="2008338" y="2272983"/>
                  </a:cubicBezTo>
                  <a:cubicBezTo>
                    <a:pt x="2010878" y="2271713"/>
                    <a:pt x="2010243" y="2264093"/>
                    <a:pt x="2013418" y="2265363"/>
                  </a:cubicBezTo>
                  <a:cubicBezTo>
                    <a:pt x="2018498" y="2266633"/>
                    <a:pt x="2026118" y="2272348"/>
                    <a:pt x="2024213" y="2276793"/>
                  </a:cubicBezTo>
                  <a:cubicBezTo>
                    <a:pt x="2021038" y="2285683"/>
                    <a:pt x="1968333" y="2304733"/>
                    <a:pt x="1981668" y="2323148"/>
                  </a:cubicBezTo>
                  <a:cubicBezTo>
                    <a:pt x="1991193" y="2336483"/>
                    <a:pt x="2017863" y="2319973"/>
                    <a:pt x="2030563" y="2330768"/>
                  </a:cubicBezTo>
                  <a:cubicBezTo>
                    <a:pt x="2038183" y="2337118"/>
                    <a:pt x="2021038" y="2383473"/>
                    <a:pt x="2045803" y="2371408"/>
                  </a:cubicBezTo>
                  <a:cubicBezTo>
                    <a:pt x="2057233" y="2365693"/>
                    <a:pt x="2063583" y="2352358"/>
                    <a:pt x="2074378" y="2344738"/>
                  </a:cubicBezTo>
                  <a:cubicBezTo>
                    <a:pt x="2081363" y="2339658"/>
                    <a:pt x="2092793" y="2340293"/>
                    <a:pt x="2098508" y="2333308"/>
                  </a:cubicBezTo>
                  <a:cubicBezTo>
                    <a:pt x="2104858" y="2326958"/>
                    <a:pt x="2101683" y="2312988"/>
                    <a:pt x="2109303" y="2307908"/>
                  </a:cubicBezTo>
                  <a:cubicBezTo>
                    <a:pt x="2119463" y="2301558"/>
                    <a:pt x="2152483" y="2311718"/>
                    <a:pt x="2144863" y="2303463"/>
                  </a:cubicBezTo>
                  <a:cubicBezTo>
                    <a:pt x="2132798" y="2290763"/>
                    <a:pt x="2109938" y="2299653"/>
                    <a:pt x="2094698" y="2292033"/>
                  </a:cubicBezTo>
                  <a:cubicBezTo>
                    <a:pt x="2087078" y="2288223"/>
                    <a:pt x="2058503" y="2257108"/>
                    <a:pt x="2061678" y="2250123"/>
                  </a:cubicBezTo>
                  <a:cubicBezTo>
                    <a:pt x="2091523" y="2184083"/>
                    <a:pt x="2083903" y="2232343"/>
                    <a:pt x="2128353" y="2201228"/>
                  </a:cubicBezTo>
                  <a:cubicBezTo>
                    <a:pt x="2133433" y="2198053"/>
                    <a:pt x="2129623" y="2188528"/>
                    <a:pt x="2133433" y="2184083"/>
                  </a:cubicBezTo>
                  <a:cubicBezTo>
                    <a:pt x="2144863" y="2172018"/>
                    <a:pt x="2158833" y="2162493"/>
                    <a:pt x="2173438" y="2154873"/>
                  </a:cubicBezTo>
                  <a:cubicBezTo>
                    <a:pt x="2186138" y="2147888"/>
                    <a:pt x="2205188" y="2130743"/>
                    <a:pt x="2214713" y="2141538"/>
                  </a:cubicBezTo>
                  <a:cubicBezTo>
                    <a:pt x="2246463" y="2175193"/>
                    <a:pt x="2165183" y="2186623"/>
                    <a:pt x="2163913" y="2188528"/>
                  </a:cubicBezTo>
                  <a:cubicBezTo>
                    <a:pt x="2142323" y="2213928"/>
                    <a:pt x="2198203" y="2191068"/>
                    <a:pt x="2208998" y="2216468"/>
                  </a:cubicBezTo>
                  <a:cubicBezTo>
                    <a:pt x="2212173" y="2224088"/>
                    <a:pt x="2187408" y="2216468"/>
                    <a:pt x="2184868" y="2224088"/>
                  </a:cubicBezTo>
                  <a:cubicBezTo>
                    <a:pt x="2180423" y="2239328"/>
                    <a:pt x="2200108" y="2257108"/>
                    <a:pt x="2193123" y="2271078"/>
                  </a:cubicBezTo>
                  <a:cubicBezTo>
                    <a:pt x="2186138" y="2285048"/>
                    <a:pt x="2141688" y="2279333"/>
                    <a:pt x="2150578" y="2292033"/>
                  </a:cubicBezTo>
                  <a:cubicBezTo>
                    <a:pt x="2167088" y="2314893"/>
                    <a:pt x="2202648" y="2313623"/>
                    <a:pt x="2229953" y="2321243"/>
                  </a:cubicBezTo>
                  <a:cubicBezTo>
                    <a:pt x="2237573" y="2323148"/>
                    <a:pt x="2246463" y="2318703"/>
                    <a:pt x="2253448" y="2321243"/>
                  </a:cubicBezTo>
                  <a:cubicBezTo>
                    <a:pt x="2274403" y="2328863"/>
                    <a:pt x="2290913" y="2346643"/>
                    <a:pt x="2312503" y="2352993"/>
                  </a:cubicBezTo>
                  <a:cubicBezTo>
                    <a:pt x="2365208" y="2368868"/>
                    <a:pt x="2398228" y="2366963"/>
                    <a:pt x="2421088" y="2426018"/>
                  </a:cubicBezTo>
                  <a:cubicBezTo>
                    <a:pt x="2424263" y="2433638"/>
                    <a:pt x="2421723" y="2443163"/>
                    <a:pt x="2417913" y="2450148"/>
                  </a:cubicBezTo>
                  <a:cubicBezTo>
                    <a:pt x="2406483" y="2470468"/>
                    <a:pt x="2395053" y="2492058"/>
                    <a:pt x="2376638" y="2505393"/>
                  </a:cubicBezTo>
                  <a:cubicBezTo>
                    <a:pt x="2367748" y="2511743"/>
                    <a:pt x="2354413" y="2503488"/>
                    <a:pt x="2343618" y="2503488"/>
                  </a:cubicBezTo>
                  <a:cubicBezTo>
                    <a:pt x="2294088" y="2506028"/>
                    <a:pt x="2244558" y="2509203"/>
                    <a:pt x="2195663" y="2513648"/>
                  </a:cubicBezTo>
                  <a:cubicBezTo>
                    <a:pt x="2184233" y="2514918"/>
                    <a:pt x="2174073" y="2523808"/>
                    <a:pt x="2163278" y="2521268"/>
                  </a:cubicBezTo>
                  <a:cubicBezTo>
                    <a:pt x="2153753" y="2519363"/>
                    <a:pt x="2151848" y="2500948"/>
                    <a:pt x="2142323" y="2501583"/>
                  </a:cubicBezTo>
                  <a:cubicBezTo>
                    <a:pt x="2125178" y="2502218"/>
                    <a:pt x="2111208" y="2516823"/>
                    <a:pt x="2094698" y="2522538"/>
                  </a:cubicBezTo>
                  <a:cubicBezTo>
                    <a:pt x="2088348" y="2525078"/>
                    <a:pt x="2080728" y="2522538"/>
                    <a:pt x="2075013" y="2525713"/>
                  </a:cubicBezTo>
                  <a:cubicBezTo>
                    <a:pt x="2041993" y="2540953"/>
                    <a:pt x="2031833" y="2572703"/>
                    <a:pt x="2001353" y="2591118"/>
                  </a:cubicBezTo>
                  <a:cubicBezTo>
                    <a:pt x="1983573" y="2601913"/>
                    <a:pt x="1963888" y="2609533"/>
                    <a:pt x="1944203" y="2616518"/>
                  </a:cubicBezTo>
                  <a:cubicBezTo>
                    <a:pt x="1937218" y="2619058"/>
                    <a:pt x="1927693" y="2612708"/>
                    <a:pt x="1923248" y="2617788"/>
                  </a:cubicBezTo>
                  <a:cubicBezTo>
                    <a:pt x="1909913" y="2631758"/>
                    <a:pt x="1908643" y="2655253"/>
                    <a:pt x="1894038" y="2668588"/>
                  </a:cubicBezTo>
                  <a:cubicBezTo>
                    <a:pt x="1879433" y="2681923"/>
                    <a:pt x="1858478" y="2688908"/>
                    <a:pt x="1839428" y="2693988"/>
                  </a:cubicBezTo>
                  <a:cubicBezTo>
                    <a:pt x="1819108" y="2699703"/>
                    <a:pt x="1773388" y="2678748"/>
                    <a:pt x="1777198" y="2728913"/>
                  </a:cubicBezTo>
                  <a:cubicBezTo>
                    <a:pt x="1784183" y="2824163"/>
                    <a:pt x="1814028" y="2727643"/>
                    <a:pt x="1833078" y="2791143"/>
                  </a:cubicBezTo>
                  <a:cubicBezTo>
                    <a:pt x="1834983" y="2798128"/>
                    <a:pt x="1815933" y="2801303"/>
                    <a:pt x="1818473" y="2808288"/>
                  </a:cubicBezTo>
                  <a:cubicBezTo>
                    <a:pt x="1821648" y="2816543"/>
                    <a:pt x="1847048" y="2810193"/>
                    <a:pt x="1842603" y="2817178"/>
                  </a:cubicBezTo>
                  <a:cubicBezTo>
                    <a:pt x="1833713" y="2830513"/>
                    <a:pt x="1794343" y="2822258"/>
                    <a:pt x="1799423" y="2837498"/>
                  </a:cubicBezTo>
                  <a:cubicBezTo>
                    <a:pt x="1805138" y="2854643"/>
                    <a:pt x="1838158" y="2837498"/>
                    <a:pt x="1853398" y="2848293"/>
                  </a:cubicBezTo>
                  <a:cubicBezTo>
                    <a:pt x="1859748" y="2853373"/>
                    <a:pt x="1838158" y="2864803"/>
                    <a:pt x="1843873" y="2869883"/>
                  </a:cubicBezTo>
                  <a:cubicBezTo>
                    <a:pt x="1859748" y="2885758"/>
                    <a:pt x="1883243" y="2890838"/>
                    <a:pt x="1904198" y="2899093"/>
                  </a:cubicBezTo>
                  <a:cubicBezTo>
                    <a:pt x="1908008" y="2900363"/>
                    <a:pt x="1918168" y="2894013"/>
                    <a:pt x="1915628" y="2896553"/>
                  </a:cubicBezTo>
                  <a:cubicBezTo>
                    <a:pt x="1902293" y="2908618"/>
                    <a:pt x="1877528" y="2911158"/>
                    <a:pt x="1872448" y="2928303"/>
                  </a:cubicBezTo>
                  <a:cubicBezTo>
                    <a:pt x="1869273" y="2939098"/>
                    <a:pt x="1895943" y="2934018"/>
                    <a:pt x="1906738" y="2928938"/>
                  </a:cubicBezTo>
                  <a:cubicBezTo>
                    <a:pt x="1915628" y="2924493"/>
                    <a:pt x="1914358" y="2904173"/>
                    <a:pt x="1924518" y="2904173"/>
                  </a:cubicBezTo>
                  <a:cubicBezTo>
                    <a:pt x="2117558" y="2906713"/>
                    <a:pt x="1836888" y="2946718"/>
                    <a:pt x="1992463" y="2940368"/>
                  </a:cubicBezTo>
                  <a:cubicBezTo>
                    <a:pt x="2065488" y="2937193"/>
                    <a:pt x="1992463" y="2876233"/>
                    <a:pt x="2048978" y="2878138"/>
                  </a:cubicBezTo>
                  <a:cubicBezTo>
                    <a:pt x="2065488" y="2878773"/>
                    <a:pt x="2082633" y="2879408"/>
                    <a:pt x="2098508" y="2885758"/>
                  </a:cubicBezTo>
                  <a:cubicBezTo>
                    <a:pt x="2113113" y="2891473"/>
                    <a:pt x="2120098" y="2918778"/>
                    <a:pt x="2142323" y="2909888"/>
                  </a:cubicBezTo>
                  <a:cubicBezTo>
                    <a:pt x="2281388" y="2851468"/>
                    <a:pt x="2106763" y="2909888"/>
                    <a:pt x="2217253" y="2836228"/>
                  </a:cubicBezTo>
                  <a:cubicBezTo>
                    <a:pt x="2226778" y="2829878"/>
                    <a:pt x="2240748" y="2848293"/>
                    <a:pt x="2251543" y="2843848"/>
                  </a:cubicBezTo>
                  <a:cubicBezTo>
                    <a:pt x="2264243" y="2838133"/>
                    <a:pt x="2262338" y="2805113"/>
                    <a:pt x="2276308" y="2809558"/>
                  </a:cubicBezTo>
                  <a:cubicBezTo>
                    <a:pt x="2289643" y="2814003"/>
                    <a:pt x="2274403" y="2837498"/>
                    <a:pt x="2275038" y="2851468"/>
                  </a:cubicBezTo>
                  <a:cubicBezTo>
                    <a:pt x="2276308" y="2867343"/>
                    <a:pt x="2278213" y="2883218"/>
                    <a:pt x="2283928" y="2897823"/>
                  </a:cubicBezTo>
                  <a:cubicBezTo>
                    <a:pt x="2285198" y="2901633"/>
                    <a:pt x="2292818" y="2901633"/>
                    <a:pt x="2294723" y="2905443"/>
                  </a:cubicBezTo>
                  <a:cubicBezTo>
                    <a:pt x="2326473" y="2976563"/>
                    <a:pt x="2297263" y="3017203"/>
                    <a:pt x="2286468" y="3106103"/>
                  </a:cubicBezTo>
                  <a:cubicBezTo>
                    <a:pt x="2283928" y="3124518"/>
                    <a:pt x="2289008" y="3172143"/>
                    <a:pt x="2268053" y="3182303"/>
                  </a:cubicBezTo>
                  <a:cubicBezTo>
                    <a:pt x="2233128" y="3199448"/>
                    <a:pt x="2191218" y="3195638"/>
                    <a:pt x="2152483" y="320262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0" name="任意多边形: 形状 9829">
              <a:extLst>
                <a:ext uri="{FF2B5EF4-FFF2-40B4-BE49-F238E27FC236}">
                  <a16:creationId xmlns:a16="http://schemas.microsoft.com/office/drawing/2014/main" id="{5664B2E4-B3E1-4A23-99C7-F75AAAC0EEE3}"/>
                </a:ext>
              </a:extLst>
            </p:cNvPr>
            <p:cNvSpPr/>
            <p:nvPr/>
          </p:nvSpPr>
          <p:spPr>
            <a:xfrm>
              <a:off x="6292953" y="3696017"/>
              <a:ext cx="628650" cy="1708150"/>
            </a:xfrm>
            <a:custGeom>
              <a:avLst/>
              <a:gdLst>
                <a:gd name="connsiteX0" fmla="*/ 620292 w 628650"/>
                <a:gd name="connsiteY0" fmla="*/ 1693228 h 1708150"/>
                <a:gd name="connsiteX1" fmla="*/ 138327 w 628650"/>
                <a:gd name="connsiteY1" fmla="*/ 827723 h 1708150"/>
                <a:gd name="connsiteX2" fmla="*/ 44347 w 628650"/>
                <a:gd name="connsiteY2" fmla="*/ 475933 h 1708150"/>
                <a:gd name="connsiteX3" fmla="*/ 20852 w 628650"/>
                <a:gd name="connsiteY3" fmla="*/ 341313 h 1708150"/>
                <a:gd name="connsiteX4" fmla="*/ 13867 w 628650"/>
                <a:gd name="connsiteY4" fmla="*/ 4763 h 1708150"/>
                <a:gd name="connsiteX5" fmla="*/ 10692 w 628650"/>
                <a:gd name="connsiteY5" fmla="*/ 11748 h 1708150"/>
                <a:gd name="connsiteX6" fmla="*/ 47522 w 628650"/>
                <a:gd name="connsiteY6" fmla="*/ 454978 h 1708150"/>
                <a:gd name="connsiteX7" fmla="*/ 46888 w 628650"/>
                <a:gd name="connsiteY7" fmla="*/ 445453 h 1708150"/>
                <a:gd name="connsiteX8" fmla="*/ 104672 w 628650"/>
                <a:gd name="connsiteY8" fmla="*/ 653098 h 1708150"/>
                <a:gd name="connsiteX9" fmla="*/ 131342 w 628650"/>
                <a:gd name="connsiteY9" fmla="*/ 762953 h 1708150"/>
                <a:gd name="connsiteX10" fmla="*/ 151663 w 628650"/>
                <a:gd name="connsiteY10" fmla="*/ 825183 h 1708150"/>
                <a:gd name="connsiteX11" fmla="*/ 140232 w 628650"/>
                <a:gd name="connsiteY11" fmla="*/ 832167 h 1708150"/>
                <a:gd name="connsiteX12" fmla="*/ 188492 w 628650"/>
                <a:gd name="connsiteY12" fmla="*/ 947738 h 1708150"/>
                <a:gd name="connsiteX13" fmla="*/ 194842 w 628650"/>
                <a:gd name="connsiteY13" fmla="*/ 970598 h 1708150"/>
                <a:gd name="connsiteX14" fmla="*/ 220878 w 628650"/>
                <a:gd name="connsiteY14" fmla="*/ 995363 h 1708150"/>
                <a:gd name="connsiteX15" fmla="*/ 236117 w 628650"/>
                <a:gd name="connsiteY15" fmla="*/ 1030288 h 1708150"/>
                <a:gd name="connsiteX16" fmla="*/ 274853 w 628650"/>
                <a:gd name="connsiteY16" fmla="*/ 1104583 h 1708150"/>
                <a:gd name="connsiteX17" fmla="*/ 289457 w 628650"/>
                <a:gd name="connsiteY17" fmla="*/ 1152842 h 1708150"/>
                <a:gd name="connsiteX18" fmla="*/ 308507 w 628650"/>
                <a:gd name="connsiteY18" fmla="*/ 1166813 h 1708150"/>
                <a:gd name="connsiteX19" fmla="*/ 338988 w 628650"/>
                <a:gd name="connsiteY19" fmla="*/ 1218883 h 1708150"/>
                <a:gd name="connsiteX20" fmla="*/ 392963 w 628650"/>
                <a:gd name="connsiteY20" fmla="*/ 1290638 h 1708150"/>
                <a:gd name="connsiteX21" fmla="*/ 493292 w 628650"/>
                <a:gd name="connsiteY21" fmla="*/ 1449388 h 1708150"/>
                <a:gd name="connsiteX22" fmla="*/ 547267 w 628650"/>
                <a:gd name="connsiteY22" fmla="*/ 1512253 h 1708150"/>
                <a:gd name="connsiteX23" fmla="*/ 605053 w 628650"/>
                <a:gd name="connsiteY23" fmla="*/ 1624013 h 1708150"/>
                <a:gd name="connsiteX24" fmla="*/ 568222 w 628650"/>
                <a:gd name="connsiteY24" fmla="*/ 1627188 h 1708150"/>
                <a:gd name="connsiteX25" fmla="*/ 585367 w 628650"/>
                <a:gd name="connsiteY25" fmla="*/ 1651953 h 1708150"/>
                <a:gd name="connsiteX26" fmla="*/ 581557 w 628650"/>
                <a:gd name="connsiteY26" fmla="*/ 1646873 h 1708150"/>
                <a:gd name="connsiteX27" fmla="*/ 629817 w 628650"/>
                <a:gd name="connsiteY27" fmla="*/ 1709103 h 1708150"/>
                <a:gd name="connsiteX28" fmla="*/ 620292 w 628650"/>
                <a:gd name="connsiteY28" fmla="*/ 1693228 h 170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650" h="1708150">
                  <a:moveTo>
                    <a:pt x="620292" y="1693228"/>
                  </a:moveTo>
                  <a:cubicBezTo>
                    <a:pt x="410742" y="1437958"/>
                    <a:pt x="246278" y="1145223"/>
                    <a:pt x="138327" y="827723"/>
                  </a:cubicBezTo>
                  <a:cubicBezTo>
                    <a:pt x="99592" y="712788"/>
                    <a:pt x="66572" y="594678"/>
                    <a:pt x="44347" y="475933"/>
                  </a:cubicBezTo>
                  <a:cubicBezTo>
                    <a:pt x="35457" y="430848"/>
                    <a:pt x="22122" y="387033"/>
                    <a:pt x="20852" y="341313"/>
                  </a:cubicBezTo>
                  <a:cubicBezTo>
                    <a:pt x="18313" y="229553"/>
                    <a:pt x="15772" y="117158"/>
                    <a:pt x="13867" y="4763"/>
                  </a:cubicBezTo>
                  <a:lnTo>
                    <a:pt x="10692" y="11748"/>
                  </a:lnTo>
                  <a:cubicBezTo>
                    <a:pt x="18313" y="92392"/>
                    <a:pt x="-24868" y="123508"/>
                    <a:pt x="47522" y="454978"/>
                  </a:cubicBezTo>
                  <a:cubicBezTo>
                    <a:pt x="48157" y="458153"/>
                    <a:pt x="45617" y="442278"/>
                    <a:pt x="46888" y="445453"/>
                  </a:cubicBezTo>
                  <a:cubicBezTo>
                    <a:pt x="64032" y="501967"/>
                    <a:pt x="91972" y="602933"/>
                    <a:pt x="104672" y="653098"/>
                  </a:cubicBezTo>
                  <a:cubicBezTo>
                    <a:pt x="114197" y="689292"/>
                    <a:pt x="121182" y="726758"/>
                    <a:pt x="131342" y="762953"/>
                  </a:cubicBezTo>
                  <a:cubicBezTo>
                    <a:pt x="137057" y="783908"/>
                    <a:pt x="156107" y="803592"/>
                    <a:pt x="151663" y="825183"/>
                  </a:cubicBezTo>
                  <a:cubicBezTo>
                    <a:pt x="151027" y="829628"/>
                    <a:pt x="139597" y="827723"/>
                    <a:pt x="140232" y="832167"/>
                  </a:cubicBezTo>
                  <a:cubicBezTo>
                    <a:pt x="142138" y="846138"/>
                    <a:pt x="182142" y="931863"/>
                    <a:pt x="188492" y="947738"/>
                  </a:cubicBezTo>
                  <a:cubicBezTo>
                    <a:pt x="191032" y="955358"/>
                    <a:pt x="190397" y="964248"/>
                    <a:pt x="194842" y="970598"/>
                  </a:cubicBezTo>
                  <a:cubicBezTo>
                    <a:pt x="201827" y="980123"/>
                    <a:pt x="213257" y="985838"/>
                    <a:pt x="220878" y="995363"/>
                  </a:cubicBezTo>
                  <a:cubicBezTo>
                    <a:pt x="228497" y="1004253"/>
                    <a:pt x="231038" y="1020128"/>
                    <a:pt x="236117" y="1030288"/>
                  </a:cubicBezTo>
                  <a:cubicBezTo>
                    <a:pt x="248817" y="1055688"/>
                    <a:pt x="264057" y="1079183"/>
                    <a:pt x="274853" y="1104583"/>
                  </a:cubicBezTo>
                  <a:cubicBezTo>
                    <a:pt x="281838" y="1119823"/>
                    <a:pt x="283107" y="1136967"/>
                    <a:pt x="289457" y="1152842"/>
                  </a:cubicBezTo>
                  <a:cubicBezTo>
                    <a:pt x="291997" y="1160463"/>
                    <a:pt x="303428" y="1160463"/>
                    <a:pt x="308507" y="1166813"/>
                  </a:cubicBezTo>
                  <a:cubicBezTo>
                    <a:pt x="321207" y="1182688"/>
                    <a:pt x="328192" y="1201738"/>
                    <a:pt x="338988" y="1218883"/>
                  </a:cubicBezTo>
                  <a:cubicBezTo>
                    <a:pt x="354863" y="1244283"/>
                    <a:pt x="373913" y="1266508"/>
                    <a:pt x="392963" y="1290638"/>
                  </a:cubicBezTo>
                  <a:cubicBezTo>
                    <a:pt x="431063" y="1339533"/>
                    <a:pt x="457732" y="1397953"/>
                    <a:pt x="493292" y="1449388"/>
                  </a:cubicBezTo>
                  <a:cubicBezTo>
                    <a:pt x="547903" y="1526858"/>
                    <a:pt x="467892" y="1406208"/>
                    <a:pt x="547267" y="1512253"/>
                  </a:cubicBezTo>
                  <a:cubicBezTo>
                    <a:pt x="559332" y="1528128"/>
                    <a:pt x="605053" y="1606233"/>
                    <a:pt x="605053" y="1624013"/>
                  </a:cubicBezTo>
                  <a:cubicBezTo>
                    <a:pt x="604417" y="1694498"/>
                    <a:pt x="573303" y="1624648"/>
                    <a:pt x="568222" y="1627188"/>
                  </a:cubicBezTo>
                  <a:cubicBezTo>
                    <a:pt x="559332" y="1632267"/>
                    <a:pt x="579653" y="1643698"/>
                    <a:pt x="585367" y="1651953"/>
                  </a:cubicBezTo>
                  <a:cubicBezTo>
                    <a:pt x="586638" y="1653858"/>
                    <a:pt x="579653" y="1644967"/>
                    <a:pt x="581557" y="1646873"/>
                  </a:cubicBezTo>
                  <a:cubicBezTo>
                    <a:pt x="596797" y="1668463"/>
                    <a:pt x="612672" y="1688148"/>
                    <a:pt x="629817" y="1709103"/>
                  </a:cubicBezTo>
                  <a:lnTo>
                    <a:pt x="620292" y="16932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9981" name="组合 9980">
            <a:extLst>
              <a:ext uri="{FF2B5EF4-FFF2-40B4-BE49-F238E27FC236}">
                <a16:creationId xmlns:a16="http://schemas.microsoft.com/office/drawing/2014/main" id="{21BE1945-8E1C-4927-98D7-5E69F9480A77}"/>
              </a:ext>
            </a:extLst>
          </p:cNvPr>
          <p:cNvGrpSpPr/>
          <p:nvPr userDrawn="1"/>
        </p:nvGrpSpPr>
        <p:grpSpPr>
          <a:xfrm>
            <a:off x="7245033" y="1885795"/>
            <a:ext cx="3556635" cy="3694268"/>
            <a:chOff x="7245033" y="1885795"/>
            <a:chExt cx="3556635" cy="3694268"/>
          </a:xfrm>
        </p:grpSpPr>
        <p:sp>
          <p:nvSpPr>
            <p:cNvPr id="9792" name="任意多边形: 形状 9791">
              <a:extLst>
                <a:ext uri="{FF2B5EF4-FFF2-40B4-BE49-F238E27FC236}">
                  <a16:creationId xmlns:a16="http://schemas.microsoft.com/office/drawing/2014/main" id="{27BAE141-E66D-4D0B-AC5F-8CFEF4888632}"/>
                </a:ext>
              </a:extLst>
            </p:cNvPr>
            <p:cNvSpPr/>
            <p:nvPr/>
          </p:nvSpPr>
          <p:spPr>
            <a:xfrm>
              <a:off x="9144006" y="1885795"/>
              <a:ext cx="25400" cy="19050"/>
            </a:xfrm>
            <a:custGeom>
              <a:avLst/>
              <a:gdLst>
                <a:gd name="connsiteX0" fmla="*/ 13329 w 25400"/>
                <a:gd name="connsiteY0" fmla="*/ 15395 h 19050"/>
                <a:gd name="connsiteX1" fmla="*/ 24760 w 25400"/>
                <a:gd name="connsiteY1" fmla="*/ 5870 h 19050"/>
                <a:gd name="connsiteX2" fmla="*/ 19679 w 25400"/>
                <a:gd name="connsiteY2" fmla="*/ 17300 h 19050"/>
                <a:gd name="connsiteX3" fmla="*/ 13329 w 25400"/>
                <a:gd name="connsiteY3" fmla="*/ 1539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9050">
                  <a:moveTo>
                    <a:pt x="13329" y="15395"/>
                  </a:moveTo>
                  <a:cubicBezTo>
                    <a:pt x="-8896" y="18570"/>
                    <a:pt x="18410" y="155"/>
                    <a:pt x="24760" y="5870"/>
                  </a:cubicBezTo>
                  <a:cubicBezTo>
                    <a:pt x="27935" y="9045"/>
                    <a:pt x="22854" y="14760"/>
                    <a:pt x="19679" y="17300"/>
                  </a:cubicBezTo>
                  <a:cubicBezTo>
                    <a:pt x="17775" y="18570"/>
                    <a:pt x="13329" y="15395"/>
                    <a:pt x="13329" y="15395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>
              <a:extLst>
                <a:ext uri="{FF2B5EF4-FFF2-40B4-BE49-F238E27FC236}">
                  <a16:creationId xmlns:a16="http://schemas.microsoft.com/office/drawing/2014/main" id="{30E6D153-E0A1-46B0-A67C-E30525F0223A}"/>
                </a:ext>
              </a:extLst>
            </p:cNvPr>
            <p:cNvSpPr/>
            <p:nvPr/>
          </p:nvSpPr>
          <p:spPr>
            <a:xfrm>
              <a:off x="9123997" y="1918612"/>
              <a:ext cx="19050" cy="12700"/>
            </a:xfrm>
            <a:custGeom>
              <a:avLst/>
              <a:gdLst>
                <a:gd name="connsiteX0" fmla="*/ 4763 w 19050"/>
                <a:gd name="connsiteY0" fmla="*/ 11153 h 12700"/>
                <a:gd name="connsiteX1" fmla="*/ 14288 w 19050"/>
                <a:gd name="connsiteY1" fmla="*/ 4803 h 12700"/>
                <a:gd name="connsiteX2" fmla="*/ 4763 w 19050"/>
                <a:gd name="connsiteY2" fmla="*/ 11153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12700">
                  <a:moveTo>
                    <a:pt x="4763" y="11153"/>
                  </a:moveTo>
                  <a:cubicBezTo>
                    <a:pt x="7938" y="9248"/>
                    <a:pt x="11113" y="6073"/>
                    <a:pt x="14288" y="4803"/>
                  </a:cubicBezTo>
                  <a:cubicBezTo>
                    <a:pt x="18097" y="4168"/>
                    <a:pt x="4763" y="11153"/>
                    <a:pt x="4763" y="1115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0" name="任意多边形: 形状 9799">
              <a:extLst>
                <a:ext uri="{FF2B5EF4-FFF2-40B4-BE49-F238E27FC236}">
                  <a16:creationId xmlns:a16="http://schemas.microsoft.com/office/drawing/2014/main" id="{1B971F99-F1C4-4C0C-968E-749DA771D5ED}"/>
                </a:ext>
              </a:extLst>
            </p:cNvPr>
            <p:cNvSpPr/>
            <p:nvPr/>
          </p:nvSpPr>
          <p:spPr>
            <a:xfrm>
              <a:off x="8440954" y="2441258"/>
              <a:ext cx="19050" cy="19050"/>
            </a:xfrm>
            <a:custGeom>
              <a:avLst/>
              <a:gdLst>
                <a:gd name="connsiteX0" fmla="*/ 14706 w 19050"/>
                <a:gd name="connsiteY0" fmla="*/ 4763 h 19050"/>
                <a:gd name="connsiteX1" fmla="*/ 7087 w 19050"/>
                <a:gd name="connsiteY1" fmla="*/ 14288 h 19050"/>
                <a:gd name="connsiteX2" fmla="*/ 5181 w 19050"/>
                <a:gd name="connsiteY2" fmla="*/ 9842 h 19050"/>
                <a:gd name="connsiteX3" fmla="*/ 14706 w 19050"/>
                <a:gd name="connsiteY3" fmla="*/ 476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14706" y="4763"/>
                  </a:moveTo>
                  <a:cubicBezTo>
                    <a:pt x="12166" y="7938"/>
                    <a:pt x="10896" y="12382"/>
                    <a:pt x="7087" y="14288"/>
                  </a:cubicBezTo>
                  <a:cubicBezTo>
                    <a:pt x="5816" y="14922"/>
                    <a:pt x="3912" y="11113"/>
                    <a:pt x="5181" y="9842"/>
                  </a:cubicBezTo>
                  <a:cubicBezTo>
                    <a:pt x="7087" y="6667"/>
                    <a:pt x="14706" y="4763"/>
                    <a:pt x="14706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3" name="任意多边形: 形状 9802">
              <a:extLst>
                <a:ext uri="{FF2B5EF4-FFF2-40B4-BE49-F238E27FC236}">
                  <a16:creationId xmlns:a16="http://schemas.microsoft.com/office/drawing/2014/main" id="{2224F535-81FF-4B96-8394-4DF2D2F044A9}"/>
                </a:ext>
              </a:extLst>
            </p:cNvPr>
            <p:cNvSpPr/>
            <p:nvPr/>
          </p:nvSpPr>
          <p:spPr>
            <a:xfrm>
              <a:off x="9060071" y="2591117"/>
              <a:ext cx="69850" cy="57150"/>
            </a:xfrm>
            <a:custGeom>
              <a:avLst/>
              <a:gdLst>
                <a:gd name="connsiteX0" fmla="*/ 65514 w 69850"/>
                <a:gd name="connsiteY0" fmla="*/ 4763 h 57150"/>
                <a:gd name="connsiteX1" fmla="*/ 19159 w 69850"/>
                <a:gd name="connsiteY1" fmla="*/ 57468 h 57150"/>
                <a:gd name="connsiteX2" fmla="*/ 5189 w 69850"/>
                <a:gd name="connsiteY2" fmla="*/ 25083 h 57150"/>
                <a:gd name="connsiteX3" fmla="*/ 23604 w 69850"/>
                <a:gd name="connsiteY3" fmla="*/ 23178 h 57150"/>
                <a:gd name="connsiteX4" fmla="*/ 65514 w 69850"/>
                <a:gd name="connsiteY4" fmla="*/ 476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850" h="57150">
                  <a:moveTo>
                    <a:pt x="65514" y="4763"/>
                  </a:moveTo>
                  <a:cubicBezTo>
                    <a:pt x="50274" y="22543"/>
                    <a:pt x="41384" y="50483"/>
                    <a:pt x="19159" y="57468"/>
                  </a:cubicBezTo>
                  <a:cubicBezTo>
                    <a:pt x="7729" y="61278"/>
                    <a:pt x="3284" y="36513"/>
                    <a:pt x="5189" y="25083"/>
                  </a:cubicBezTo>
                  <a:cubicBezTo>
                    <a:pt x="5824" y="18733"/>
                    <a:pt x="17889" y="25083"/>
                    <a:pt x="23604" y="23178"/>
                  </a:cubicBezTo>
                  <a:cubicBezTo>
                    <a:pt x="38209" y="18098"/>
                    <a:pt x="65514" y="4763"/>
                    <a:pt x="65514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4" name="任意多边形: 形状 9803">
              <a:extLst>
                <a:ext uri="{FF2B5EF4-FFF2-40B4-BE49-F238E27FC236}">
                  <a16:creationId xmlns:a16="http://schemas.microsoft.com/office/drawing/2014/main" id="{2FA031A8-CE43-4430-A22A-B94C9AD2B0BD}"/>
                </a:ext>
              </a:extLst>
            </p:cNvPr>
            <p:cNvSpPr/>
            <p:nvPr/>
          </p:nvSpPr>
          <p:spPr>
            <a:xfrm>
              <a:off x="9018588" y="2650808"/>
              <a:ext cx="6350" cy="12700"/>
            </a:xfrm>
            <a:custGeom>
              <a:avLst/>
              <a:gdLst>
                <a:gd name="connsiteX0" fmla="*/ 4763 w 6350"/>
                <a:gd name="connsiteY0" fmla="*/ 4763 h 12700"/>
                <a:gd name="connsiteX1" fmla="*/ 5397 w 6350"/>
                <a:gd name="connsiteY1" fmla="*/ 13017 h 12700"/>
                <a:gd name="connsiteX2" fmla="*/ 4763 w 6350"/>
                <a:gd name="connsiteY2" fmla="*/ 4763 h 12700"/>
                <a:gd name="connsiteX3" fmla="*/ 4763 w 6350"/>
                <a:gd name="connsiteY3" fmla="*/ 4763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12700">
                  <a:moveTo>
                    <a:pt x="4763" y="4763"/>
                  </a:moveTo>
                  <a:cubicBezTo>
                    <a:pt x="4763" y="7302"/>
                    <a:pt x="5397" y="13017"/>
                    <a:pt x="5397" y="13017"/>
                  </a:cubicBezTo>
                  <a:cubicBezTo>
                    <a:pt x="5397" y="13017"/>
                    <a:pt x="4763" y="7302"/>
                    <a:pt x="4763" y="4763"/>
                  </a:cubicBezTo>
                  <a:lnTo>
                    <a:pt x="4763" y="4763"/>
                  </a:ln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5" name="任意多边形: 形状 9804">
              <a:extLst>
                <a:ext uri="{FF2B5EF4-FFF2-40B4-BE49-F238E27FC236}">
                  <a16:creationId xmlns:a16="http://schemas.microsoft.com/office/drawing/2014/main" id="{A43DF478-2963-48C5-B3A2-E1F95D118236}"/>
                </a:ext>
              </a:extLst>
            </p:cNvPr>
            <p:cNvSpPr/>
            <p:nvPr/>
          </p:nvSpPr>
          <p:spPr>
            <a:xfrm>
              <a:off x="8962707" y="2659983"/>
              <a:ext cx="19050" cy="19050"/>
            </a:xfrm>
            <a:custGeom>
              <a:avLst/>
              <a:gdLst>
                <a:gd name="connsiteX0" fmla="*/ 4763 w 19050"/>
                <a:gd name="connsiteY0" fmla="*/ 14637 h 19050"/>
                <a:gd name="connsiteX1" fmla="*/ 18733 w 19050"/>
                <a:gd name="connsiteY1" fmla="*/ 7017 h 19050"/>
                <a:gd name="connsiteX2" fmla="*/ 6033 w 19050"/>
                <a:gd name="connsiteY2" fmla="*/ 7652 h 19050"/>
                <a:gd name="connsiteX3" fmla="*/ 4763 w 19050"/>
                <a:gd name="connsiteY3" fmla="*/ 14637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4763" y="14637"/>
                  </a:moveTo>
                  <a:cubicBezTo>
                    <a:pt x="9843" y="12097"/>
                    <a:pt x="18098" y="12097"/>
                    <a:pt x="18733" y="7017"/>
                  </a:cubicBezTo>
                  <a:cubicBezTo>
                    <a:pt x="20003" y="2572"/>
                    <a:pt x="9843" y="5747"/>
                    <a:pt x="6033" y="7652"/>
                  </a:cubicBezTo>
                  <a:cubicBezTo>
                    <a:pt x="4763" y="8922"/>
                    <a:pt x="5398" y="12732"/>
                    <a:pt x="4763" y="14637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6" name="任意多边形: 形状 9805">
              <a:extLst>
                <a:ext uri="{FF2B5EF4-FFF2-40B4-BE49-F238E27FC236}">
                  <a16:creationId xmlns:a16="http://schemas.microsoft.com/office/drawing/2014/main" id="{C61B80D4-8B84-447D-8224-F4A1CB817CE4}"/>
                </a:ext>
              </a:extLst>
            </p:cNvPr>
            <p:cNvSpPr/>
            <p:nvPr/>
          </p:nvSpPr>
          <p:spPr>
            <a:xfrm>
              <a:off x="8411381" y="2398713"/>
              <a:ext cx="298450" cy="520700"/>
            </a:xfrm>
            <a:custGeom>
              <a:avLst/>
              <a:gdLst>
                <a:gd name="connsiteX0" fmla="*/ 130004 w 298450"/>
                <a:gd name="connsiteY0" fmla="*/ 4763 h 520700"/>
                <a:gd name="connsiteX1" fmla="*/ 186519 w 298450"/>
                <a:gd name="connsiteY1" fmla="*/ 28892 h 520700"/>
                <a:gd name="connsiteX2" fmla="*/ 136354 w 298450"/>
                <a:gd name="connsiteY2" fmla="*/ 73342 h 520700"/>
                <a:gd name="connsiteX3" fmla="*/ 218904 w 298450"/>
                <a:gd name="connsiteY3" fmla="*/ 86677 h 520700"/>
                <a:gd name="connsiteX4" fmla="*/ 133179 w 298450"/>
                <a:gd name="connsiteY4" fmla="*/ 162877 h 520700"/>
                <a:gd name="connsiteX5" fmla="*/ 156039 w 298450"/>
                <a:gd name="connsiteY5" fmla="*/ 170498 h 520700"/>
                <a:gd name="connsiteX6" fmla="*/ 199219 w 298450"/>
                <a:gd name="connsiteY6" fmla="*/ 198438 h 520700"/>
                <a:gd name="connsiteX7" fmla="*/ 197950 w 298450"/>
                <a:gd name="connsiteY7" fmla="*/ 210502 h 520700"/>
                <a:gd name="connsiteX8" fmla="*/ 225889 w 298450"/>
                <a:gd name="connsiteY8" fmla="*/ 271463 h 520700"/>
                <a:gd name="connsiteX9" fmla="*/ 237319 w 298450"/>
                <a:gd name="connsiteY9" fmla="*/ 315277 h 520700"/>
                <a:gd name="connsiteX10" fmla="*/ 250019 w 298450"/>
                <a:gd name="connsiteY10" fmla="*/ 366713 h 520700"/>
                <a:gd name="connsiteX11" fmla="*/ 292564 w 298450"/>
                <a:gd name="connsiteY11" fmla="*/ 401002 h 520700"/>
                <a:gd name="connsiteX12" fmla="*/ 228429 w 298450"/>
                <a:gd name="connsiteY12" fmla="*/ 460058 h 520700"/>
                <a:gd name="connsiteX13" fmla="*/ 215094 w 298450"/>
                <a:gd name="connsiteY13" fmla="*/ 504508 h 520700"/>
                <a:gd name="connsiteX14" fmla="*/ 206204 w 298450"/>
                <a:gd name="connsiteY14" fmla="*/ 500063 h 520700"/>
                <a:gd name="connsiteX15" fmla="*/ 149054 w 298450"/>
                <a:gd name="connsiteY15" fmla="*/ 484823 h 520700"/>
                <a:gd name="connsiteX16" fmla="*/ 104604 w 298450"/>
                <a:gd name="connsiteY16" fmla="*/ 505142 h 520700"/>
                <a:gd name="connsiteX17" fmla="*/ 66504 w 298450"/>
                <a:gd name="connsiteY17" fmla="*/ 488633 h 520700"/>
                <a:gd name="connsiteX18" fmla="*/ 53169 w 298450"/>
                <a:gd name="connsiteY18" fmla="*/ 515938 h 520700"/>
                <a:gd name="connsiteX19" fmla="*/ 33485 w 298450"/>
                <a:gd name="connsiteY19" fmla="*/ 503238 h 520700"/>
                <a:gd name="connsiteX20" fmla="*/ 44914 w 298450"/>
                <a:gd name="connsiteY20" fmla="*/ 452438 h 520700"/>
                <a:gd name="connsiteX21" fmla="*/ 92539 w 298450"/>
                <a:gd name="connsiteY21" fmla="*/ 457517 h 520700"/>
                <a:gd name="connsiteX22" fmla="*/ 123654 w 298450"/>
                <a:gd name="connsiteY22" fmla="*/ 427673 h 520700"/>
                <a:gd name="connsiteX23" fmla="*/ 84285 w 298450"/>
                <a:gd name="connsiteY23" fmla="*/ 445452 h 520700"/>
                <a:gd name="connsiteX24" fmla="*/ 48089 w 298450"/>
                <a:gd name="connsiteY24" fmla="*/ 421958 h 520700"/>
                <a:gd name="connsiteX25" fmla="*/ 12529 w 298450"/>
                <a:gd name="connsiteY25" fmla="*/ 403542 h 520700"/>
                <a:gd name="connsiteX26" fmla="*/ 59519 w 298450"/>
                <a:gd name="connsiteY26" fmla="*/ 387033 h 520700"/>
                <a:gd name="connsiteX27" fmla="*/ 49994 w 298450"/>
                <a:gd name="connsiteY27" fmla="*/ 347663 h 520700"/>
                <a:gd name="connsiteX28" fmla="*/ 130639 w 298450"/>
                <a:gd name="connsiteY28" fmla="*/ 329248 h 520700"/>
                <a:gd name="connsiteX29" fmla="*/ 119844 w 298450"/>
                <a:gd name="connsiteY29" fmla="*/ 314008 h 520700"/>
                <a:gd name="connsiteX30" fmla="*/ 105875 w 298450"/>
                <a:gd name="connsiteY30" fmla="*/ 235902 h 520700"/>
                <a:gd name="connsiteX31" fmla="*/ 93810 w 298450"/>
                <a:gd name="connsiteY31" fmla="*/ 189548 h 520700"/>
                <a:gd name="connsiteX32" fmla="*/ 95079 w 298450"/>
                <a:gd name="connsiteY32" fmla="*/ 141288 h 520700"/>
                <a:gd name="connsiteX33" fmla="*/ 73489 w 298450"/>
                <a:gd name="connsiteY33" fmla="*/ 153352 h 520700"/>
                <a:gd name="connsiteX34" fmla="*/ 49360 w 298450"/>
                <a:gd name="connsiteY34" fmla="*/ 193358 h 520700"/>
                <a:gd name="connsiteX35" fmla="*/ 70950 w 298450"/>
                <a:gd name="connsiteY35" fmla="*/ 164148 h 520700"/>
                <a:gd name="connsiteX36" fmla="*/ 63329 w 298450"/>
                <a:gd name="connsiteY36" fmla="*/ 162877 h 520700"/>
                <a:gd name="connsiteX37" fmla="*/ 97619 w 298450"/>
                <a:gd name="connsiteY37" fmla="*/ 115252 h 520700"/>
                <a:gd name="connsiteX38" fmla="*/ 72854 w 298450"/>
                <a:gd name="connsiteY38" fmla="*/ 124142 h 520700"/>
                <a:gd name="connsiteX39" fmla="*/ 91904 w 298450"/>
                <a:gd name="connsiteY39" fmla="*/ 89852 h 520700"/>
                <a:gd name="connsiteX40" fmla="*/ 96350 w 298450"/>
                <a:gd name="connsiteY40" fmla="*/ 71438 h 520700"/>
                <a:gd name="connsiteX41" fmla="*/ 91269 w 298450"/>
                <a:gd name="connsiteY41" fmla="*/ 44133 h 520700"/>
                <a:gd name="connsiteX42" fmla="*/ 115400 w 298450"/>
                <a:gd name="connsiteY42" fmla="*/ 47942 h 520700"/>
                <a:gd name="connsiteX43" fmla="*/ 130004 w 298450"/>
                <a:gd name="connsiteY43" fmla="*/ 4763 h 52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98450" h="520700">
                  <a:moveTo>
                    <a:pt x="130004" y="4763"/>
                  </a:moveTo>
                  <a:cubicBezTo>
                    <a:pt x="148419" y="13017"/>
                    <a:pt x="176360" y="11113"/>
                    <a:pt x="186519" y="28892"/>
                  </a:cubicBezTo>
                  <a:cubicBezTo>
                    <a:pt x="200489" y="54927"/>
                    <a:pt x="110319" y="60008"/>
                    <a:pt x="136354" y="73342"/>
                  </a:cubicBezTo>
                  <a:cubicBezTo>
                    <a:pt x="161119" y="86042"/>
                    <a:pt x="203029" y="63817"/>
                    <a:pt x="218904" y="86677"/>
                  </a:cubicBezTo>
                  <a:cubicBezTo>
                    <a:pt x="257639" y="141288"/>
                    <a:pt x="126829" y="131127"/>
                    <a:pt x="133179" y="162877"/>
                  </a:cubicBezTo>
                  <a:cubicBezTo>
                    <a:pt x="134450" y="170498"/>
                    <a:pt x="149054" y="166052"/>
                    <a:pt x="156039" y="170498"/>
                  </a:cubicBezTo>
                  <a:cubicBezTo>
                    <a:pt x="171279" y="178752"/>
                    <a:pt x="186519" y="187008"/>
                    <a:pt x="199219" y="198438"/>
                  </a:cubicBezTo>
                  <a:cubicBezTo>
                    <a:pt x="202394" y="200977"/>
                    <a:pt x="196679" y="206692"/>
                    <a:pt x="197950" y="210502"/>
                  </a:cubicBezTo>
                  <a:cubicBezTo>
                    <a:pt x="205569" y="231458"/>
                    <a:pt x="218269" y="250508"/>
                    <a:pt x="225889" y="271463"/>
                  </a:cubicBezTo>
                  <a:cubicBezTo>
                    <a:pt x="230969" y="285433"/>
                    <a:pt x="234144" y="300673"/>
                    <a:pt x="237319" y="315277"/>
                  </a:cubicBezTo>
                  <a:cubicBezTo>
                    <a:pt x="241764" y="332423"/>
                    <a:pt x="239225" y="352742"/>
                    <a:pt x="250019" y="366713"/>
                  </a:cubicBezTo>
                  <a:cubicBezTo>
                    <a:pt x="262085" y="382588"/>
                    <a:pt x="302089" y="362902"/>
                    <a:pt x="292564" y="401002"/>
                  </a:cubicBezTo>
                  <a:cubicBezTo>
                    <a:pt x="276054" y="467677"/>
                    <a:pt x="264625" y="414973"/>
                    <a:pt x="228429" y="460058"/>
                  </a:cubicBezTo>
                  <a:cubicBezTo>
                    <a:pt x="218904" y="472123"/>
                    <a:pt x="222714" y="491173"/>
                    <a:pt x="215094" y="504508"/>
                  </a:cubicBezTo>
                  <a:cubicBezTo>
                    <a:pt x="213189" y="507048"/>
                    <a:pt x="209379" y="501333"/>
                    <a:pt x="206204" y="500063"/>
                  </a:cubicBezTo>
                  <a:cubicBezTo>
                    <a:pt x="187154" y="494348"/>
                    <a:pt x="168739" y="483552"/>
                    <a:pt x="149054" y="484823"/>
                  </a:cubicBezTo>
                  <a:cubicBezTo>
                    <a:pt x="132544" y="485458"/>
                    <a:pt x="121114" y="504508"/>
                    <a:pt x="104604" y="505142"/>
                  </a:cubicBezTo>
                  <a:cubicBezTo>
                    <a:pt x="90635" y="505777"/>
                    <a:pt x="79839" y="486092"/>
                    <a:pt x="66504" y="488633"/>
                  </a:cubicBezTo>
                  <a:cubicBezTo>
                    <a:pt x="56979" y="490538"/>
                    <a:pt x="62694" y="511492"/>
                    <a:pt x="53169" y="515938"/>
                  </a:cubicBezTo>
                  <a:cubicBezTo>
                    <a:pt x="46185" y="519113"/>
                    <a:pt x="39835" y="507683"/>
                    <a:pt x="33485" y="503238"/>
                  </a:cubicBezTo>
                  <a:cubicBezTo>
                    <a:pt x="9354" y="486727"/>
                    <a:pt x="-21761" y="474663"/>
                    <a:pt x="44914" y="452438"/>
                  </a:cubicBezTo>
                  <a:cubicBezTo>
                    <a:pt x="60154" y="447358"/>
                    <a:pt x="77300" y="461963"/>
                    <a:pt x="92539" y="457517"/>
                  </a:cubicBezTo>
                  <a:cubicBezTo>
                    <a:pt x="105875" y="453073"/>
                    <a:pt x="131275" y="439738"/>
                    <a:pt x="123654" y="427673"/>
                  </a:cubicBezTo>
                  <a:cubicBezTo>
                    <a:pt x="115400" y="415608"/>
                    <a:pt x="98889" y="446723"/>
                    <a:pt x="84285" y="445452"/>
                  </a:cubicBezTo>
                  <a:cubicBezTo>
                    <a:pt x="69679" y="444183"/>
                    <a:pt x="60789" y="428942"/>
                    <a:pt x="48089" y="421958"/>
                  </a:cubicBezTo>
                  <a:cubicBezTo>
                    <a:pt x="36660" y="414973"/>
                    <a:pt x="8085" y="416242"/>
                    <a:pt x="12529" y="403542"/>
                  </a:cubicBezTo>
                  <a:cubicBezTo>
                    <a:pt x="17610" y="387667"/>
                    <a:pt x="44914" y="394652"/>
                    <a:pt x="59519" y="387033"/>
                  </a:cubicBezTo>
                  <a:cubicBezTo>
                    <a:pt x="107779" y="360998"/>
                    <a:pt x="41104" y="377508"/>
                    <a:pt x="49994" y="347663"/>
                  </a:cubicBezTo>
                  <a:cubicBezTo>
                    <a:pt x="64600" y="299402"/>
                    <a:pt x="107144" y="336233"/>
                    <a:pt x="130639" y="329248"/>
                  </a:cubicBezTo>
                  <a:cubicBezTo>
                    <a:pt x="136354" y="327342"/>
                    <a:pt x="121750" y="320358"/>
                    <a:pt x="119844" y="314008"/>
                  </a:cubicBezTo>
                  <a:cubicBezTo>
                    <a:pt x="112860" y="288608"/>
                    <a:pt x="110954" y="261938"/>
                    <a:pt x="105875" y="235902"/>
                  </a:cubicBezTo>
                  <a:cubicBezTo>
                    <a:pt x="102700" y="220027"/>
                    <a:pt x="95714" y="205423"/>
                    <a:pt x="93810" y="189548"/>
                  </a:cubicBezTo>
                  <a:cubicBezTo>
                    <a:pt x="91904" y="173673"/>
                    <a:pt x="102700" y="155258"/>
                    <a:pt x="95079" y="141288"/>
                  </a:cubicBezTo>
                  <a:cubicBezTo>
                    <a:pt x="91269" y="134302"/>
                    <a:pt x="79204" y="147002"/>
                    <a:pt x="73489" y="153352"/>
                  </a:cubicBezTo>
                  <a:cubicBezTo>
                    <a:pt x="63329" y="164783"/>
                    <a:pt x="53169" y="178117"/>
                    <a:pt x="49360" y="193358"/>
                  </a:cubicBezTo>
                  <a:cubicBezTo>
                    <a:pt x="46185" y="204788"/>
                    <a:pt x="65869" y="174942"/>
                    <a:pt x="70950" y="164148"/>
                  </a:cubicBezTo>
                  <a:cubicBezTo>
                    <a:pt x="72219" y="161608"/>
                    <a:pt x="63964" y="165417"/>
                    <a:pt x="63329" y="162877"/>
                  </a:cubicBezTo>
                  <a:cubicBezTo>
                    <a:pt x="62060" y="143192"/>
                    <a:pt x="95714" y="134938"/>
                    <a:pt x="97619" y="115252"/>
                  </a:cubicBezTo>
                  <a:cubicBezTo>
                    <a:pt x="98254" y="106363"/>
                    <a:pt x="74760" y="133033"/>
                    <a:pt x="72854" y="124142"/>
                  </a:cubicBezTo>
                  <a:cubicBezTo>
                    <a:pt x="69679" y="111442"/>
                    <a:pt x="86825" y="101917"/>
                    <a:pt x="91904" y="89852"/>
                  </a:cubicBezTo>
                  <a:cubicBezTo>
                    <a:pt x="94444" y="84138"/>
                    <a:pt x="96350" y="77788"/>
                    <a:pt x="96350" y="71438"/>
                  </a:cubicBezTo>
                  <a:cubicBezTo>
                    <a:pt x="96350" y="62548"/>
                    <a:pt x="85554" y="51752"/>
                    <a:pt x="91269" y="44133"/>
                  </a:cubicBezTo>
                  <a:cubicBezTo>
                    <a:pt x="96350" y="37783"/>
                    <a:pt x="109685" y="53658"/>
                    <a:pt x="115400" y="47942"/>
                  </a:cubicBezTo>
                  <a:cubicBezTo>
                    <a:pt x="125560" y="37783"/>
                    <a:pt x="130004" y="4763"/>
                    <a:pt x="130004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7" name="任意多边形: 形状 9806">
              <a:extLst>
                <a:ext uri="{FF2B5EF4-FFF2-40B4-BE49-F238E27FC236}">
                  <a16:creationId xmlns:a16="http://schemas.microsoft.com/office/drawing/2014/main" id="{24A905E4-22A8-4792-8076-5DE67E0107B7}"/>
                </a:ext>
              </a:extLst>
            </p:cNvPr>
            <p:cNvSpPr/>
            <p:nvPr/>
          </p:nvSpPr>
          <p:spPr>
            <a:xfrm>
              <a:off x="8232606" y="2584097"/>
              <a:ext cx="222250" cy="196850"/>
            </a:xfrm>
            <a:custGeom>
              <a:avLst/>
              <a:gdLst>
                <a:gd name="connsiteX0" fmla="*/ 191938 w 222250"/>
                <a:gd name="connsiteY0" fmla="*/ 77823 h 196850"/>
                <a:gd name="connsiteX1" fmla="*/ 184319 w 222250"/>
                <a:gd name="connsiteY1" fmla="*/ 86713 h 196850"/>
                <a:gd name="connsiteX2" fmla="*/ 189399 w 222250"/>
                <a:gd name="connsiteY2" fmla="*/ 109573 h 196850"/>
                <a:gd name="connsiteX3" fmla="*/ 156379 w 222250"/>
                <a:gd name="connsiteY3" fmla="*/ 191488 h 196850"/>
                <a:gd name="connsiteX4" fmla="*/ 136694 w 222250"/>
                <a:gd name="connsiteY4" fmla="*/ 187678 h 196850"/>
                <a:gd name="connsiteX5" fmla="*/ 6519 w 222250"/>
                <a:gd name="connsiteY5" fmla="*/ 160373 h 196850"/>
                <a:gd name="connsiteX6" fmla="*/ 33824 w 222250"/>
                <a:gd name="connsiteY6" fmla="*/ 162278 h 196850"/>
                <a:gd name="connsiteX7" fmla="*/ 77638 w 222250"/>
                <a:gd name="connsiteY7" fmla="*/ 145133 h 196850"/>
                <a:gd name="connsiteX8" fmla="*/ 32554 w 222250"/>
                <a:gd name="connsiteY8" fmla="*/ 141958 h 196850"/>
                <a:gd name="connsiteX9" fmla="*/ 81449 w 222250"/>
                <a:gd name="connsiteY9" fmla="*/ 110843 h 196850"/>
                <a:gd name="connsiteX10" fmla="*/ 56049 w 222250"/>
                <a:gd name="connsiteY10" fmla="*/ 49248 h 196850"/>
                <a:gd name="connsiteX11" fmla="*/ 113199 w 222250"/>
                <a:gd name="connsiteY11" fmla="*/ 54963 h 196850"/>
                <a:gd name="connsiteX12" fmla="*/ 202099 w 222250"/>
                <a:gd name="connsiteY12" fmla="*/ 6068 h 196850"/>
                <a:gd name="connsiteX13" fmla="*/ 222419 w 222250"/>
                <a:gd name="connsiteY13" fmla="*/ 35278 h 196850"/>
                <a:gd name="connsiteX14" fmla="*/ 191938 w 222250"/>
                <a:gd name="connsiteY14" fmla="*/ 77823 h 19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2250" h="196850">
                  <a:moveTo>
                    <a:pt x="191938" y="77823"/>
                  </a:moveTo>
                  <a:cubicBezTo>
                    <a:pt x="189399" y="80998"/>
                    <a:pt x="184954" y="82903"/>
                    <a:pt x="184319" y="86713"/>
                  </a:cubicBezTo>
                  <a:cubicBezTo>
                    <a:pt x="183684" y="94333"/>
                    <a:pt x="191304" y="101953"/>
                    <a:pt x="189399" y="109573"/>
                  </a:cubicBezTo>
                  <a:cubicBezTo>
                    <a:pt x="181779" y="138148"/>
                    <a:pt x="172888" y="166723"/>
                    <a:pt x="156379" y="191488"/>
                  </a:cubicBezTo>
                  <a:cubicBezTo>
                    <a:pt x="152569" y="197203"/>
                    <a:pt x="143044" y="188948"/>
                    <a:pt x="136694" y="187678"/>
                  </a:cubicBezTo>
                  <a:cubicBezTo>
                    <a:pt x="92879" y="178788"/>
                    <a:pt x="49699" y="171168"/>
                    <a:pt x="6519" y="160373"/>
                  </a:cubicBezTo>
                  <a:cubicBezTo>
                    <a:pt x="-2371" y="158468"/>
                    <a:pt x="24934" y="164183"/>
                    <a:pt x="33824" y="162278"/>
                  </a:cubicBezTo>
                  <a:cubicBezTo>
                    <a:pt x="49063" y="159103"/>
                    <a:pt x="78274" y="160373"/>
                    <a:pt x="77638" y="145133"/>
                  </a:cubicBezTo>
                  <a:cubicBezTo>
                    <a:pt x="77004" y="129893"/>
                    <a:pt x="30649" y="156563"/>
                    <a:pt x="32554" y="141958"/>
                  </a:cubicBezTo>
                  <a:cubicBezTo>
                    <a:pt x="35094" y="122908"/>
                    <a:pt x="78909" y="130528"/>
                    <a:pt x="81449" y="110843"/>
                  </a:cubicBezTo>
                  <a:cubicBezTo>
                    <a:pt x="99863" y="-16792"/>
                    <a:pt x="-35391" y="199108"/>
                    <a:pt x="56049" y="49248"/>
                  </a:cubicBezTo>
                  <a:cubicBezTo>
                    <a:pt x="73829" y="20038"/>
                    <a:pt x="88434" y="56868"/>
                    <a:pt x="113199" y="54963"/>
                  </a:cubicBezTo>
                  <a:cubicBezTo>
                    <a:pt x="113199" y="54963"/>
                    <a:pt x="178604" y="-4727"/>
                    <a:pt x="202099" y="6068"/>
                  </a:cubicBezTo>
                  <a:cubicBezTo>
                    <a:pt x="212894" y="10513"/>
                    <a:pt x="224324" y="23848"/>
                    <a:pt x="222419" y="35278"/>
                  </a:cubicBezTo>
                  <a:cubicBezTo>
                    <a:pt x="221149" y="53693"/>
                    <a:pt x="191938" y="77823"/>
                    <a:pt x="191938" y="7782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8" name="任意多边形: 形状 9807">
              <a:extLst>
                <a:ext uri="{FF2B5EF4-FFF2-40B4-BE49-F238E27FC236}">
                  <a16:creationId xmlns:a16="http://schemas.microsoft.com/office/drawing/2014/main" id="{2BEF771A-0FC7-4DA6-A8F1-5DA56C8A3B4F}"/>
                </a:ext>
              </a:extLst>
            </p:cNvPr>
            <p:cNvSpPr/>
            <p:nvPr/>
          </p:nvSpPr>
          <p:spPr>
            <a:xfrm>
              <a:off x="8469313" y="2707323"/>
              <a:ext cx="12700" cy="6350"/>
            </a:xfrm>
            <a:custGeom>
              <a:avLst/>
              <a:gdLst>
                <a:gd name="connsiteX0" fmla="*/ 11113 w 12700"/>
                <a:gd name="connsiteY0" fmla="*/ 4763 h 6350"/>
                <a:gd name="connsiteX1" fmla="*/ 4763 w 12700"/>
                <a:gd name="connsiteY1" fmla="*/ 6667 h 6350"/>
                <a:gd name="connsiteX2" fmla="*/ 11113 w 12700"/>
                <a:gd name="connsiteY2" fmla="*/ 4763 h 6350"/>
                <a:gd name="connsiteX3" fmla="*/ 11113 w 12700"/>
                <a:gd name="connsiteY3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" h="6350">
                  <a:moveTo>
                    <a:pt x="11113" y="4763"/>
                  </a:moveTo>
                  <a:cubicBezTo>
                    <a:pt x="9207" y="5398"/>
                    <a:pt x="4763" y="6667"/>
                    <a:pt x="4763" y="6667"/>
                  </a:cubicBezTo>
                  <a:cubicBezTo>
                    <a:pt x="4763" y="6667"/>
                    <a:pt x="9207" y="5398"/>
                    <a:pt x="11113" y="4763"/>
                  </a:cubicBezTo>
                  <a:lnTo>
                    <a:pt x="11113" y="4763"/>
                  </a:ln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9" name="任意多边形: 形状 9808">
              <a:extLst>
                <a:ext uri="{FF2B5EF4-FFF2-40B4-BE49-F238E27FC236}">
                  <a16:creationId xmlns:a16="http://schemas.microsoft.com/office/drawing/2014/main" id="{7763546D-C5EB-45A2-AFCD-5D04D7A065C1}"/>
                </a:ext>
              </a:extLst>
            </p:cNvPr>
            <p:cNvSpPr/>
            <p:nvPr/>
          </p:nvSpPr>
          <p:spPr>
            <a:xfrm>
              <a:off x="8825235" y="2769552"/>
              <a:ext cx="25400" cy="44450"/>
            </a:xfrm>
            <a:custGeom>
              <a:avLst/>
              <a:gdLst>
                <a:gd name="connsiteX0" fmla="*/ 24760 w 25400"/>
                <a:gd name="connsiteY0" fmla="*/ 4763 h 44450"/>
                <a:gd name="connsiteX1" fmla="*/ 9520 w 25400"/>
                <a:gd name="connsiteY1" fmla="*/ 44768 h 44450"/>
                <a:gd name="connsiteX2" fmla="*/ 11425 w 25400"/>
                <a:gd name="connsiteY2" fmla="*/ 12383 h 44450"/>
                <a:gd name="connsiteX3" fmla="*/ 24760 w 25400"/>
                <a:gd name="connsiteY3" fmla="*/ 476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44450">
                  <a:moveTo>
                    <a:pt x="24760" y="4763"/>
                  </a:moveTo>
                  <a:cubicBezTo>
                    <a:pt x="19680" y="18098"/>
                    <a:pt x="21585" y="37783"/>
                    <a:pt x="9520" y="44768"/>
                  </a:cubicBezTo>
                  <a:cubicBezTo>
                    <a:pt x="-5" y="49848"/>
                    <a:pt x="6980" y="22543"/>
                    <a:pt x="11425" y="12383"/>
                  </a:cubicBezTo>
                  <a:cubicBezTo>
                    <a:pt x="12695" y="7302"/>
                    <a:pt x="24760" y="4763"/>
                    <a:pt x="24760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2" name="任意多边形: 形状 9811">
              <a:extLst>
                <a:ext uri="{FF2B5EF4-FFF2-40B4-BE49-F238E27FC236}">
                  <a16:creationId xmlns:a16="http://schemas.microsoft.com/office/drawing/2014/main" id="{F58058B4-EF06-45FB-A6EC-6D0C3CF29379}"/>
                </a:ext>
              </a:extLst>
            </p:cNvPr>
            <p:cNvSpPr/>
            <p:nvPr/>
          </p:nvSpPr>
          <p:spPr>
            <a:xfrm>
              <a:off x="10056813" y="3092767"/>
              <a:ext cx="69850" cy="25400"/>
            </a:xfrm>
            <a:custGeom>
              <a:avLst/>
              <a:gdLst>
                <a:gd name="connsiteX0" fmla="*/ 4763 w 69850"/>
                <a:gd name="connsiteY0" fmla="*/ 4763 h 25400"/>
                <a:gd name="connsiteX1" fmla="*/ 66993 w 69850"/>
                <a:gd name="connsiteY1" fmla="*/ 25083 h 25400"/>
                <a:gd name="connsiteX2" fmla="*/ 51753 w 69850"/>
                <a:gd name="connsiteY2" fmla="*/ 21273 h 25400"/>
                <a:gd name="connsiteX3" fmla="*/ 4763 w 69850"/>
                <a:gd name="connsiteY3" fmla="*/ 4763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50" h="25400">
                  <a:moveTo>
                    <a:pt x="4763" y="4763"/>
                  </a:moveTo>
                  <a:cubicBezTo>
                    <a:pt x="25718" y="11113"/>
                    <a:pt x="46672" y="17463"/>
                    <a:pt x="66993" y="25083"/>
                  </a:cubicBezTo>
                  <a:cubicBezTo>
                    <a:pt x="72072" y="26988"/>
                    <a:pt x="56197" y="23178"/>
                    <a:pt x="51753" y="21273"/>
                  </a:cubicBezTo>
                  <a:cubicBezTo>
                    <a:pt x="35878" y="16193"/>
                    <a:pt x="4763" y="4763"/>
                    <a:pt x="4763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3" name="任意多边形: 形状 9812">
              <a:extLst>
                <a:ext uri="{FF2B5EF4-FFF2-40B4-BE49-F238E27FC236}">
                  <a16:creationId xmlns:a16="http://schemas.microsoft.com/office/drawing/2014/main" id="{CEF47F49-3AD5-4E30-9473-5EAAF7B701B2}"/>
                </a:ext>
              </a:extLst>
            </p:cNvPr>
            <p:cNvSpPr/>
            <p:nvPr/>
          </p:nvSpPr>
          <p:spPr>
            <a:xfrm>
              <a:off x="9240838" y="3309303"/>
              <a:ext cx="31750" cy="31750"/>
            </a:xfrm>
            <a:custGeom>
              <a:avLst/>
              <a:gdLst>
                <a:gd name="connsiteX0" fmla="*/ 4763 w 31750"/>
                <a:gd name="connsiteY0" fmla="*/ 4763 h 31750"/>
                <a:gd name="connsiteX1" fmla="*/ 28893 w 31750"/>
                <a:gd name="connsiteY1" fmla="*/ 27622 h 31750"/>
                <a:gd name="connsiteX2" fmla="*/ 4763 w 31750"/>
                <a:gd name="connsiteY2" fmla="*/ 476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" h="31750">
                  <a:moveTo>
                    <a:pt x="4763" y="4763"/>
                  </a:moveTo>
                  <a:cubicBezTo>
                    <a:pt x="13018" y="12382"/>
                    <a:pt x="28893" y="27622"/>
                    <a:pt x="28893" y="27622"/>
                  </a:cubicBezTo>
                  <a:cubicBezTo>
                    <a:pt x="28893" y="27622"/>
                    <a:pt x="13018" y="12382"/>
                    <a:pt x="4763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4" name="任意多边形: 形状 9813">
              <a:extLst>
                <a:ext uri="{FF2B5EF4-FFF2-40B4-BE49-F238E27FC236}">
                  <a16:creationId xmlns:a16="http://schemas.microsoft.com/office/drawing/2014/main" id="{5BB09D67-989A-43C4-B68C-9E5150773D69}"/>
                </a:ext>
              </a:extLst>
            </p:cNvPr>
            <p:cNvSpPr/>
            <p:nvPr/>
          </p:nvSpPr>
          <p:spPr>
            <a:xfrm>
              <a:off x="8941193" y="3424238"/>
              <a:ext cx="57150" cy="88900"/>
            </a:xfrm>
            <a:custGeom>
              <a:avLst/>
              <a:gdLst>
                <a:gd name="connsiteX0" fmla="*/ 52947 w 57150"/>
                <a:gd name="connsiteY0" fmla="*/ 4763 h 88900"/>
                <a:gd name="connsiteX1" fmla="*/ 12942 w 57150"/>
                <a:gd name="connsiteY1" fmla="*/ 86678 h 88900"/>
                <a:gd name="connsiteX2" fmla="*/ 9132 w 57150"/>
                <a:gd name="connsiteY2" fmla="*/ 44767 h 88900"/>
                <a:gd name="connsiteX3" fmla="*/ 45962 w 57150"/>
                <a:gd name="connsiteY3" fmla="*/ 25717 h 88900"/>
                <a:gd name="connsiteX4" fmla="*/ 52947 w 57150"/>
                <a:gd name="connsiteY4" fmla="*/ 4763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88900">
                  <a:moveTo>
                    <a:pt x="52947" y="4763"/>
                  </a:moveTo>
                  <a:cubicBezTo>
                    <a:pt x="39612" y="32067"/>
                    <a:pt x="35167" y="66358"/>
                    <a:pt x="12942" y="86678"/>
                  </a:cubicBezTo>
                  <a:cubicBezTo>
                    <a:pt x="2782" y="96203"/>
                    <a:pt x="2782" y="56833"/>
                    <a:pt x="9132" y="44767"/>
                  </a:cubicBezTo>
                  <a:cubicBezTo>
                    <a:pt x="15482" y="32703"/>
                    <a:pt x="35802" y="35242"/>
                    <a:pt x="45962" y="25717"/>
                  </a:cubicBezTo>
                  <a:cubicBezTo>
                    <a:pt x="51677" y="20638"/>
                    <a:pt x="52947" y="4763"/>
                    <a:pt x="52947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5" name="任意多边形: 形状 9814">
              <a:extLst>
                <a:ext uri="{FF2B5EF4-FFF2-40B4-BE49-F238E27FC236}">
                  <a16:creationId xmlns:a16="http://schemas.microsoft.com/office/drawing/2014/main" id="{E199CBFB-ADE4-4D20-95B1-09A6348D571C}"/>
                </a:ext>
              </a:extLst>
            </p:cNvPr>
            <p:cNvSpPr/>
            <p:nvPr/>
          </p:nvSpPr>
          <p:spPr>
            <a:xfrm>
              <a:off x="8929360" y="3539808"/>
              <a:ext cx="82550" cy="165100"/>
            </a:xfrm>
            <a:custGeom>
              <a:avLst/>
              <a:gdLst>
                <a:gd name="connsiteX0" fmla="*/ 53349 w 82550"/>
                <a:gd name="connsiteY0" fmla="*/ 4763 h 165100"/>
                <a:gd name="connsiteX1" fmla="*/ 81924 w 82550"/>
                <a:gd name="connsiteY1" fmla="*/ 52388 h 165100"/>
                <a:gd name="connsiteX2" fmla="*/ 70495 w 82550"/>
                <a:gd name="connsiteY2" fmla="*/ 70802 h 165100"/>
                <a:gd name="connsiteX3" fmla="*/ 76209 w 82550"/>
                <a:gd name="connsiteY3" fmla="*/ 82867 h 165100"/>
                <a:gd name="connsiteX4" fmla="*/ 29855 w 82550"/>
                <a:gd name="connsiteY4" fmla="*/ 160338 h 165100"/>
                <a:gd name="connsiteX5" fmla="*/ 5090 w 82550"/>
                <a:gd name="connsiteY5" fmla="*/ 149542 h 165100"/>
                <a:gd name="connsiteX6" fmla="*/ 11440 w 82550"/>
                <a:gd name="connsiteY6" fmla="*/ 146367 h 165100"/>
                <a:gd name="connsiteX7" fmla="*/ 53349 w 82550"/>
                <a:gd name="connsiteY7" fmla="*/ 4763 h 16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550" h="165100">
                  <a:moveTo>
                    <a:pt x="53349" y="4763"/>
                  </a:moveTo>
                  <a:cubicBezTo>
                    <a:pt x="62874" y="20638"/>
                    <a:pt x="76845" y="34608"/>
                    <a:pt x="81924" y="52388"/>
                  </a:cubicBezTo>
                  <a:cubicBezTo>
                    <a:pt x="83830" y="59372"/>
                    <a:pt x="73034" y="64452"/>
                    <a:pt x="70495" y="70802"/>
                  </a:cubicBezTo>
                  <a:cubicBezTo>
                    <a:pt x="66684" y="79692"/>
                    <a:pt x="76209" y="75247"/>
                    <a:pt x="76209" y="82867"/>
                  </a:cubicBezTo>
                  <a:cubicBezTo>
                    <a:pt x="74940" y="124777"/>
                    <a:pt x="78749" y="148272"/>
                    <a:pt x="29855" y="160338"/>
                  </a:cubicBezTo>
                  <a:cubicBezTo>
                    <a:pt x="20965" y="162242"/>
                    <a:pt x="12709" y="155258"/>
                    <a:pt x="5090" y="149542"/>
                  </a:cubicBezTo>
                  <a:cubicBezTo>
                    <a:pt x="3184" y="148272"/>
                    <a:pt x="10170" y="148272"/>
                    <a:pt x="11440" y="146367"/>
                  </a:cubicBezTo>
                  <a:cubicBezTo>
                    <a:pt x="27315" y="100013"/>
                    <a:pt x="53349" y="4763"/>
                    <a:pt x="53349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6" name="任意多边形: 形状 9815">
              <a:extLst>
                <a:ext uri="{FF2B5EF4-FFF2-40B4-BE49-F238E27FC236}">
                  <a16:creationId xmlns:a16="http://schemas.microsoft.com/office/drawing/2014/main" id="{550FE96F-9368-45E3-807B-4BB898642B19}"/>
                </a:ext>
              </a:extLst>
            </p:cNvPr>
            <p:cNvSpPr/>
            <p:nvPr/>
          </p:nvSpPr>
          <p:spPr>
            <a:xfrm>
              <a:off x="9827537" y="3596460"/>
              <a:ext cx="25400" cy="31750"/>
            </a:xfrm>
            <a:custGeom>
              <a:avLst/>
              <a:gdLst>
                <a:gd name="connsiteX0" fmla="*/ 14963 w 25400"/>
                <a:gd name="connsiteY0" fmla="*/ 7800 h 31750"/>
                <a:gd name="connsiteX1" fmla="*/ 18773 w 25400"/>
                <a:gd name="connsiteY1" fmla="*/ 31295 h 31750"/>
                <a:gd name="connsiteX2" fmla="*/ 4803 w 25400"/>
                <a:gd name="connsiteY2" fmla="*/ 5895 h 31750"/>
                <a:gd name="connsiteX3" fmla="*/ 14963 w 25400"/>
                <a:gd name="connsiteY3" fmla="*/ 780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31750">
                  <a:moveTo>
                    <a:pt x="14963" y="7800"/>
                  </a:moveTo>
                  <a:cubicBezTo>
                    <a:pt x="16233" y="15420"/>
                    <a:pt x="27028" y="32565"/>
                    <a:pt x="18773" y="31295"/>
                  </a:cubicBezTo>
                  <a:cubicBezTo>
                    <a:pt x="9248" y="30025"/>
                    <a:pt x="6073" y="15420"/>
                    <a:pt x="4803" y="5895"/>
                  </a:cubicBezTo>
                  <a:cubicBezTo>
                    <a:pt x="4168" y="2720"/>
                    <a:pt x="11153" y="7165"/>
                    <a:pt x="14963" y="7800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7" name="任意多边形: 形状 9816">
              <a:extLst>
                <a:ext uri="{FF2B5EF4-FFF2-40B4-BE49-F238E27FC236}">
                  <a16:creationId xmlns:a16="http://schemas.microsoft.com/office/drawing/2014/main" id="{A915E9F2-F0A6-46B0-B8A4-3358DB2DCD2C}"/>
                </a:ext>
              </a:extLst>
            </p:cNvPr>
            <p:cNvSpPr/>
            <p:nvPr/>
          </p:nvSpPr>
          <p:spPr>
            <a:xfrm>
              <a:off x="9138283" y="3732213"/>
              <a:ext cx="171450" cy="114300"/>
            </a:xfrm>
            <a:custGeom>
              <a:avLst/>
              <a:gdLst>
                <a:gd name="connsiteX0" fmla="*/ 170817 w 171450"/>
                <a:gd name="connsiteY0" fmla="*/ 4763 h 114300"/>
                <a:gd name="connsiteX1" fmla="*/ 145417 w 171450"/>
                <a:gd name="connsiteY1" fmla="*/ 56833 h 114300"/>
                <a:gd name="connsiteX2" fmla="*/ 147957 w 171450"/>
                <a:gd name="connsiteY2" fmla="*/ 111442 h 114300"/>
                <a:gd name="connsiteX3" fmla="*/ 102872 w 171450"/>
                <a:gd name="connsiteY3" fmla="*/ 86042 h 114300"/>
                <a:gd name="connsiteX4" fmla="*/ 76202 w 171450"/>
                <a:gd name="connsiteY4" fmla="*/ 81597 h 114300"/>
                <a:gd name="connsiteX5" fmla="*/ 45087 w 171450"/>
                <a:gd name="connsiteY5" fmla="*/ 60642 h 114300"/>
                <a:gd name="connsiteX6" fmla="*/ 5717 w 171450"/>
                <a:gd name="connsiteY6" fmla="*/ 40322 h 114300"/>
                <a:gd name="connsiteX7" fmla="*/ 21592 w 171450"/>
                <a:gd name="connsiteY7" fmla="*/ 14922 h 114300"/>
                <a:gd name="connsiteX8" fmla="*/ 75567 w 171450"/>
                <a:gd name="connsiteY8" fmla="*/ 27622 h 114300"/>
                <a:gd name="connsiteX9" fmla="*/ 88267 w 171450"/>
                <a:gd name="connsiteY9" fmla="*/ 21908 h 114300"/>
                <a:gd name="connsiteX10" fmla="*/ 134622 w 171450"/>
                <a:gd name="connsiteY10" fmla="*/ 11113 h 114300"/>
                <a:gd name="connsiteX11" fmla="*/ 170817 w 171450"/>
                <a:gd name="connsiteY11" fmla="*/ 476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1450" h="114300">
                  <a:moveTo>
                    <a:pt x="170817" y="4763"/>
                  </a:moveTo>
                  <a:cubicBezTo>
                    <a:pt x="162562" y="21908"/>
                    <a:pt x="147957" y="37783"/>
                    <a:pt x="145417" y="56833"/>
                  </a:cubicBezTo>
                  <a:cubicBezTo>
                    <a:pt x="143512" y="69533"/>
                    <a:pt x="181612" y="98108"/>
                    <a:pt x="147957" y="111442"/>
                  </a:cubicBezTo>
                  <a:cubicBezTo>
                    <a:pt x="113032" y="125413"/>
                    <a:pt x="120652" y="96203"/>
                    <a:pt x="102872" y="86042"/>
                  </a:cubicBezTo>
                  <a:cubicBezTo>
                    <a:pt x="95252" y="81597"/>
                    <a:pt x="84457" y="84772"/>
                    <a:pt x="76202" y="81597"/>
                  </a:cubicBezTo>
                  <a:cubicBezTo>
                    <a:pt x="64772" y="76517"/>
                    <a:pt x="55882" y="66992"/>
                    <a:pt x="45087" y="60642"/>
                  </a:cubicBezTo>
                  <a:cubicBezTo>
                    <a:pt x="32387" y="53022"/>
                    <a:pt x="12067" y="53658"/>
                    <a:pt x="5717" y="40322"/>
                  </a:cubicBezTo>
                  <a:cubicBezTo>
                    <a:pt x="1272" y="31433"/>
                    <a:pt x="13337" y="20003"/>
                    <a:pt x="21592" y="14922"/>
                  </a:cubicBezTo>
                  <a:cubicBezTo>
                    <a:pt x="53342" y="-4763"/>
                    <a:pt x="50802" y="21272"/>
                    <a:pt x="75567" y="27622"/>
                  </a:cubicBezTo>
                  <a:cubicBezTo>
                    <a:pt x="80012" y="28892"/>
                    <a:pt x="83822" y="23178"/>
                    <a:pt x="88267" y="21908"/>
                  </a:cubicBezTo>
                  <a:cubicBezTo>
                    <a:pt x="103507" y="17463"/>
                    <a:pt x="118747" y="14288"/>
                    <a:pt x="134622" y="11113"/>
                  </a:cubicBezTo>
                  <a:cubicBezTo>
                    <a:pt x="146687" y="8572"/>
                    <a:pt x="170817" y="4763"/>
                    <a:pt x="170817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8" name="任意多边形: 形状 9817">
              <a:extLst>
                <a:ext uri="{FF2B5EF4-FFF2-40B4-BE49-F238E27FC236}">
                  <a16:creationId xmlns:a16="http://schemas.microsoft.com/office/drawing/2014/main" id="{757112AA-EA41-4FD6-97F9-C94FB73D7F23}"/>
                </a:ext>
              </a:extLst>
            </p:cNvPr>
            <p:cNvSpPr/>
            <p:nvPr/>
          </p:nvSpPr>
          <p:spPr>
            <a:xfrm>
              <a:off x="10167541" y="3741738"/>
              <a:ext cx="107950" cy="101600"/>
            </a:xfrm>
            <a:custGeom>
              <a:avLst/>
              <a:gdLst>
                <a:gd name="connsiteX0" fmla="*/ 106124 w 107950"/>
                <a:gd name="connsiteY0" fmla="*/ 4763 h 101600"/>
                <a:gd name="connsiteX1" fmla="*/ 93424 w 107950"/>
                <a:gd name="connsiteY1" fmla="*/ 56197 h 101600"/>
                <a:gd name="connsiteX2" fmla="*/ 73103 w 107950"/>
                <a:gd name="connsiteY2" fmla="*/ 61913 h 101600"/>
                <a:gd name="connsiteX3" fmla="*/ 5159 w 107950"/>
                <a:gd name="connsiteY3" fmla="*/ 72708 h 101600"/>
                <a:gd name="connsiteX4" fmla="*/ 32464 w 107950"/>
                <a:gd name="connsiteY4" fmla="*/ 60008 h 101600"/>
                <a:gd name="connsiteX5" fmla="*/ 31828 w 107950"/>
                <a:gd name="connsiteY5" fmla="*/ 43497 h 101600"/>
                <a:gd name="connsiteX6" fmla="*/ 75644 w 107950"/>
                <a:gd name="connsiteY6" fmla="*/ 31433 h 101600"/>
                <a:gd name="connsiteX7" fmla="*/ 106124 w 107950"/>
                <a:gd name="connsiteY7" fmla="*/ 4763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950" h="101600">
                  <a:moveTo>
                    <a:pt x="106124" y="4763"/>
                  </a:moveTo>
                  <a:cubicBezTo>
                    <a:pt x="102314" y="21908"/>
                    <a:pt x="102314" y="40958"/>
                    <a:pt x="93424" y="56197"/>
                  </a:cubicBezTo>
                  <a:cubicBezTo>
                    <a:pt x="90249" y="62547"/>
                    <a:pt x="78819" y="57467"/>
                    <a:pt x="73103" y="61913"/>
                  </a:cubicBezTo>
                  <a:cubicBezTo>
                    <a:pt x="59769" y="73342"/>
                    <a:pt x="35639" y="140017"/>
                    <a:pt x="5159" y="72708"/>
                  </a:cubicBezTo>
                  <a:cubicBezTo>
                    <a:pt x="1349" y="63183"/>
                    <a:pt x="26114" y="66992"/>
                    <a:pt x="32464" y="60008"/>
                  </a:cubicBezTo>
                  <a:cubicBezTo>
                    <a:pt x="36274" y="56197"/>
                    <a:pt x="26749" y="46672"/>
                    <a:pt x="31828" y="43497"/>
                  </a:cubicBezTo>
                  <a:cubicBezTo>
                    <a:pt x="44528" y="35242"/>
                    <a:pt x="62309" y="38417"/>
                    <a:pt x="75644" y="31433"/>
                  </a:cubicBezTo>
                  <a:cubicBezTo>
                    <a:pt x="87709" y="25083"/>
                    <a:pt x="106124" y="4763"/>
                    <a:pt x="106124" y="4763"/>
                  </a:cubicBezTo>
                  <a:close/>
                </a:path>
              </a:pathLst>
            </a:custGeom>
            <a:solidFill>
              <a:srgbClr val="EA9C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1" name="任意多边形: 形状 9830">
              <a:extLst>
                <a:ext uri="{FF2B5EF4-FFF2-40B4-BE49-F238E27FC236}">
                  <a16:creationId xmlns:a16="http://schemas.microsoft.com/office/drawing/2014/main" id="{8BC81055-B398-4034-B759-8CE9675DC6C2}"/>
                </a:ext>
              </a:extLst>
            </p:cNvPr>
            <p:cNvSpPr/>
            <p:nvPr/>
          </p:nvSpPr>
          <p:spPr>
            <a:xfrm>
              <a:off x="7245033" y="4075748"/>
              <a:ext cx="1250950" cy="292100"/>
            </a:xfrm>
            <a:custGeom>
              <a:avLst/>
              <a:gdLst>
                <a:gd name="connsiteX0" fmla="*/ 4762 w 1250950"/>
                <a:gd name="connsiteY0" fmla="*/ 4762 h 292100"/>
                <a:gd name="connsiteX1" fmla="*/ 1247457 w 1250950"/>
                <a:gd name="connsiteY1" fmla="*/ 4762 h 292100"/>
                <a:gd name="connsiteX2" fmla="*/ 1247457 w 1250950"/>
                <a:gd name="connsiteY2" fmla="*/ 293053 h 292100"/>
                <a:gd name="connsiteX3" fmla="*/ 4762 w 1250950"/>
                <a:gd name="connsiteY3" fmla="*/ 293053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0950" h="292100">
                  <a:moveTo>
                    <a:pt x="4762" y="4762"/>
                  </a:moveTo>
                  <a:lnTo>
                    <a:pt x="1247457" y="4762"/>
                  </a:lnTo>
                  <a:lnTo>
                    <a:pt x="1247457" y="293053"/>
                  </a:lnTo>
                  <a:lnTo>
                    <a:pt x="4762" y="293053"/>
                  </a:lnTo>
                  <a:close/>
                </a:path>
              </a:pathLst>
            </a:custGeom>
            <a:solidFill>
              <a:srgbClr val="5462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2" name="任意多边形: 形状 9831">
              <a:extLst>
                <a:ext uri="{FF2B5EF4-FFF2-40B4-BE49-F238E27FC236}">
                  <a16:creationId xmlns:a16="http://schemas.microsoft.com/office/drawing/2014/main" id="{658638E6-26F9-4274-A3C6-2851805E8EE8}"/>
                </a:ext>
              </a:extLst>
            </p:cNvPr>
            <p:cNvSpPr/>
            <p:nvPr/>
          </p:nvSpPr>
          <p:spPr>
            <a:xfrm>
              <a:off x="7461409" y="4132104"/>
              <a:ext cx="800100" cy="171450"/>
            </a:xfrm>
            <a:custGeom>
              <a:avLst/>
              <a:gdLst>
                <a:gd name="connsiteX0" fmla="*/ 802481 w 800100"/>
                <a:gd name="connsiteY0" fmla="*/ 127476 h 171450"/>
                <a:gd name="connsiteX1" fmla="*/ 760571 w 800100"/>
                <a:gd name="connsiteY1" fmla="*/ 169387 h 171450"/>
                <a:gd name="connsiteX2" fmla="*/ 44291 w 800100"/>
                <a:gd name="connsiteY2" fmla="*/ 169387 h 171450"/>
                <a:gd name="connsiteX3" fmla="*/ 2381 w 800100"/>
                <a:gd name="connsiteY3" fmla="*/ 127476 h 171450"/>
                <a:gd name="connsiteX4" fmla="*/ 2381 w 800100"/>
                <a:gd name="connsiteY4" fmla="*/ 44291 h 171450"/>
                <a:gd name="connsiteX5" fmla="*/ 44291 w 800100"/>
                <a:gd name="connsiteY5" fmla="*/ 2381 h 171450"/>
                <a:gd name="connsiteX6" fmla="*/ 759936 w 800100"/>
                <a:gd name="connsiteY6" fmla="*/ 2381 h 171450"/>
                <a:gd name="connsiteX7" fmla="*/ 801846 w 800100"/>
                <a:gd name="connsiteY7" fmla="*/ 44291 h 171450"/>
                <a:gd name="connsiteX8" fmla="*/ 801846 w 800100"/>
                <a:gd name="connsiteY8" fmla="*/ 127476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0100" h="171450">
                  <a:moveTo>
                    <a:pt x="802481" y="127476"/>
                  </a:moveTo>
                  <a:cubicBezTo>
                    <a:pt x="802481" y="150971"/>
                    <a:pt x="783431" y="169387"/>
                    <a:pt x="760571" y="169387"/>
                  </a:cubicBezTo>
                  <a:lnTo>
                    <a:pt x="44291" y="169387"/>
                  </a:lnTo>
                  <a:cubicBezTo>
                    <a:pt x="20796" y="169387"/>
                    <a:pt x="2381" y="150337"/>
                    <a:pt x="2381" y="127476"/>
                  </a:cubicBezTo>
                  <a:lnTo>
                    <a:pt x="2381" y="44291"/>
                  </a:lnTo>
                  <a:cubicBezTo>
                    <a:pt x="2381" y="21431"/>
                    <a:pt x="21431" y="2381"/>
                    <a:pt x="44291" y="2381"/>
                  </a:cubicBezTo>
                  <a:lnTo>
                    <a:pt x="759936" y="2381"/>
                  </a:lnTo>
                  <a:cubicBezTo>
                    <a:pt x="783431" y="2381"/>
                    <a:pt x="801846" y="21431"/>
                    <a:pt x="801846" y="44291"/>
                  </a:cubicBezTo>
                  <a:lnTo>
                    <a:pt x="801846" y="127476"/>
                  </a:lnTo>
                  <a:close/>
                </a:path>
              </a:pathLst>
            </a:custGeom>
            <a:noFill/>
            <a:ln w="476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3" name="任意多边形: 形状 9832">
              <a:extLst>
                <a:ext uri="{FF2B5EF4-FFF2-40B4-BE49-F238E27FC236}">
                  <a16:creationId xmlns:a16="http://schemas.microsoft.com/office/drawing/2014/main" id="{93A357BE-25D1-4F89-86DA-C6340C473465}"/>
                </a:ext>
              </a:extLst>
            </p:cNvPr>
            <p:cNvSpPr/>
            <p:nvPr/>
          </p:nvSpPr>
          <p:spPr>
            <a:xfrm>
              <a:off x="7317422" y="3792538"/>
              <a:ext cx="1104900" cy="292100"/>
            </a:xfrm>
            <a:custGeom>
              <a:avLst/>
              <a:gdLst>
                <a:gd name="connsiteX0" fmla="*/ 4762 w 1104900"/>
                <a:gd name="connsiteY0" fmla="*/ 4763 h 292100"/>
                <a:gd name="connsiteX1" fmla="*/ 1105853 w 1104900"/>
                <a:gd name="connsiteY1" fmla="*/ 4763 h 292100"/>
                <a:gd name="connsiteX2" fmla="*/ 1105853 w 1104900"/>
                <a:gd name="connsiteY2" fmla="*/ 287972 h 292100"/>
                <a:gd name="connsiteX3" fmla="*/ 4762 w 1104900"/>
                <a:gd name="connsiteY3" fmla="*/ 287972 h 2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4900" h="292100">
                  <a:moveTo>
                    <a:pt x="4762" y="4763"/>
                  </a:moveTo>
                  <a:lnTo>
                    <a:pt x="1105853" y="4763"/>
                  </a:lnTo>
                  <a:lnTo>
                    <a:pt x="1105853" y="287972"/>
                  </a:lnTo>
                  <a:lnTo>
                    <a:pt x="4762" y="287972"/>
                  </a:lnTo>
                  <a:close/>
                </a:path>
              </a:pathLst>
            </a:custGeom>
            <a:solidFill>
              <a:srgbClr val="F65B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4" name="任意多边形: 形状 9833">
              <a:extLst>
                <a:ext uri="{FF2B5EF4-FFF2-40B4-BE49-F238E27FC236}">
                  <a16:creationId xmlns:a16="http://schemas.microsoft.com/office/drawing/2014/main" id="{8221CB3C-019F-4591-9D7D-DB24B687FBA9}"/>
                </a:ext>
              </a:extLst>
            </p:cNvPr>
            <p:cNvSpPr/>
            <p:nvPr/>
          </p:nvSpPr>
          <p:spPr>
            <a:xfrm>
              <a:off x="7698899" y="3833654"/>
              <a:ext cx="342900" cy="203200"/>
            </a:xfrm>
            <a:custGeom>
              <a:avLst/>
              <a:gdLst>
                <a:gd name="connsiteX0" fmla="*/ 346551 w 342900"/>
                <a:gd name="connsiteY0" fmla="*/ 163037 h 203200"/>
                <a:gd name="connsiteX1" fmla="*/ 304641 w 342900"/>
                <a:gd name="connsiteY1" fmla="*/ 204946 h 203200"/>
                <a:gd name="connsiteX2" fmla="*/ 44291 w 342900"/>
                <a:gd name="connsiteY2" fmla="*/ 204946 h 203200"/>
                <a:gd name="connsiteX3" fmla="*/ 2381 w 342900"/>
                <a:gd name="connsiteY3" fmla="*/ 163037 h 203200"/>
                <a:gd name="connsiteX4" fmla="*/ 2381 w 342900"/>
                <a:gd name="connsiteY4" fmla="*/ 44291 h 203200"/>
                <a:gd name="connsiteX5" fmla="*/ 44291 w 342900"/>
                <a:gd name="connsiteY5" fmla="*/ 2381 h 203200"/>
                <a:gd name="connsiteX6" fmla="*/ 304641 w 342900"/>
                <a:gd name="connsiteY6" fmla="*/ 2381 h 203200"/>
                <a:gd name="connsiteX7" fmla="*/ 346551 w 342900"/>
                <a:gd name="connsiteY7" fmla="*/ 44291 h 203200"/>
                <a:gd name="connsiteX8" fmla="*/ 346551 w 342900"/>
                <a:gd name="connsiteY8" fmla="*/ 163037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900" h="203200">
                  <a:moveTo>
                    <a:pt x="346551" y="163037"/>
                  </a:moveTo>
                  <a:cubicBezTo>
                    <a:pt x="346551" y="186531"/>
                    <a:pt x="327501" y="204946"/>
                    <a:pt x="304641" y="204946"/>
                  </a:cubicBezTo>
                  <a:lnTo>
                    <a:pt x="44291" y="204946"/>
                  </a:lnTo>
                  <a:cubicBezTo>
                    <a:pt x="20796" y="204946"/>
                    <a:pt x="2381" y="185896"/>
                    <a:pt x="2381" y="163037"/>
                  </a:cubicBezTo>
                  <a:lnTo>
                    <a:pt x="2381" y="44291"/>
                  </a:lnTo>
                  <a:cubicBezTo>
                    <a:pt x="2381" y="20796"/>
                    <a:pt x="21431" y="2381"/>
                    <a:pt x="44291" y="2381"/>
                  </a:cubicBezTo>
                  <a:lnTo>
                    <a:pt x="304641" y="2381"/>
                  </a:lnTo>
                  <a:cubicBezTo>
                    <a:pt x="328136" y="2381"/>
                    <a:pt x="346551" y="21431"/>
                    <a:pt x="346551" y="44291"/>
                  </a:cubicBezTo>
                  <a:lnTo>
                    <a:pt x="346551" y="163037"/>
                  </a:lnTo>
                  <a:close/>
                </a:path>
              </a:pathLst>
            </a:custGeom>
            <a:noFill/>
            <a:ln w="476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5" name="任意多边形: 形状 9834">
              <a:extLst>
                <a:ext uri="{FF2B5EF4-FFF2-40B4-BE49-F238E27FC236}">
                  <a16:creationId xmlns:a16="http://schemas.microsoft.com/office/drawing/2014/main" id="{3DD8AAD8-447C-4865-B9DA-C98B097FD725}"/>
                </a:ext>
              </a:extLst>
            </p:cNvPr>
            <p:cNvSpPr/>
            <p:nvPr/>
          </p:nvSpPr>
          <p:spPr>
            <a:xfrm>
              <a:off x="7375684" y="3843179"/>
              <a:ext cx="184150" cy="184150"/>
            </a:xfrm>
            <a:custGeom>
              <a:avLst/>
              <a:gdLst>
                <a:gd name="connsiteX0" fmla="*/ 187801 w 184150"/>
                <a:gd name="connsiteY0" fmla="*/ 95091 h 184150"/>
                <a:gd name="connsiteX1" fmla="*/ 95091 w 184150"/>
                <a:gd name="connsiteY1" fmla="*/ 187801 h 184150"/>
                <a:gd name="connsiteX2" fmla="*/ 2381 w 184150"/>
                <a:gd name="connsiteY2" fmla="*/ 95091 h 184150"/>
                <a:gd name="connsiteX3" fmla="*/ 95091 w 184150"/>
                <a:gd name="connsiteY3" fmla="*/ 2381 h 184150"/>
                <a:gd name="connsiteX4" fmla="*/ 187801 w 184150"/>
                <a:gd name="connsiteY4" fmla="*/ 95091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150" h="184150">
                  <a:moveTo>
                    <a:pt x="187801" y="95091"/>
                  </a:moveTo>
                  <a:cubicBezTo>
                    <a:pt x="187801" y="146526"/>
                    <a:pt x="146526" y="187801"/>
                    <a:pt x="95091" y="187801"/>
                  </a:cubicBezTo>
                  <a:cubicBezTo>
                    <a:pt x="43656" y="187801"/>
                    <a:pt x="2381" y="146526"/>
                    <a:pt x="2381" y="95091"/>
                  </a:cubicBezTo>
                  <a:cubicBezTo>
                    <a:pt x="2381" y="43656"/>
                    <a:pt x="43656" y="2381"/>
                    <a:pt x="95091" y="2381"/>
                  </a:cubicBezTo>
                  <a:cubicBezTo>
                    <a:pt x="145891" y="2381"/>
                    <a:pt x="187801" y="43656"/>
                    <a:pt x="187801" y="95091"/>
                  </a:cubicBezTo>
                  <a:close/>
                </a:path>
              </a:pathLst>
            </a:custGeom>
            <a:noFill/>
            <a:ln w="476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6" name="任意多边形: 形状 9835">
              <a:extLst>
                <a:ext uri="{FF2B5EF4-FFF2-40B4-BE49-F238E27FC236}">
                  <a16:creationId xmlns:a16="http://schemas.microsoft.com/office/drawing/2014/main" id="{71FE9422-37A9-42BD-A2FA-97B5F74AA231}"/>
                </a:ext>
              </a:extLst>
            </p:cNvPr>
            <p:cNvSpPr/>
            <p:nvPr/>
          </p:nvSpPr>
          <p:spPr>
            <a:xfrm>
              <a:off x="8184038" y="3843814"/>
              <a:ext cx="184150" cy="184150"/>
            </a:xfrm>
            <a:custGeom>
              <a:avLst/>
              <a:gdLst>
                <a:gd name="connsiteX0" fmla="*/ 187802 w 184150"/>
                <a:gd name="connsiteY0" fmla="*/ 95091 h 184150"/>
                <a:gd name="connsiteX1" fmla="*/ 95092 w 184150"/>
                <a:gd name="connsiteY1" fmla="*/ 187801 h 184150"/>
                <a:gd name="connsiteX2" fmla="*/ 2381 w 184150"/>
                <a:gd name="connsiteY2" fmla="*/ 95091 h 184150"/>
                <a:gd name="connsiteX3" fmla="*/ 95092 w 184150"/>
                <a:gd name="connsiteY3" fmla="*/ 2381 h 184150"/>
                <a:gd name="connsiteX4" fmla="*/ 187802 w 184150"/>
                <a:gd name="connsiteY4" fmla="*/ 95091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150" h="184150">
                  <a:moveTo>
                    <a:pt x="187802" y="95091"/>
                  </a:moveTo>
                  <a:cubicBezTo>
                    <a:pt x="187802" y="146526"/>
                    <a:pt x="146527" y="187801"/>
                    <a:pt x="95092" y="187801"/>
                  </a:cubicBezTo>
                  <a:cubicBezTo>
                    <a:pt x="43656" y="187801"/>
                    <a:pt x="2381" y="146526"/>
                    <a:pt x="2381" y="95091"/>
                  </a:cubicBezTo>
                  <a:cubicBezTo>
                    <a:pt x="2381" y="43656"/>
                    <a:pt x="43656" y="2381"/>
                    <a:pt x="95092" y="2381"/>
                  </a:cubicBezTo>
                  <a:cubicBezTo>
                    <a:pt x="146527" y="2381"/>
                    <a:pt x="187802" y="43656"/>
                    <a:pt x="187802" y="95091"/>
                  </a:cubicBezTo>
                  <a:close/>
                </a:path>
              </a:pathLst>
            </a:custGeom>
            <a:noFill/>
            <a:ln w="476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7" name="任意多边形: 形状 9836">
              <a:extLst>
                <a:ext uri="{FF2B5EF4-FFF2-40B4-BE49-F238E27FC236}">
                  <a16:creationId xmlns:a16="http://schemas.microsoft.com/office/drawing/2014/main" id="{AAC5F91D-ED0A-48E7-8708-7582078E515B}"/>
                </a:ext>
              </a:extLst>
            </p:cNvPr>
            <p:cNvSpPr/>
            <p:nvPr/>
          </p:nvSpPr>
          <p:spPr>
            <a:xfrm>
              <a:off x="7406322" y="3479483"/>
              <a:ext cx="857250" cy="317500"/>
            </a:xfrm>
            <a:custGeom>
              <a:avLst/>
              <a:gdLst>
                <a:gd name="connsiteX0" fmla="*/ 165418 w 857250"/>
                <a:gd name="connsiteY0" fmla="*/ 32702 h 317500"/>
                <a:gd name="connsiteX1" fmla="*/ 857568 w 857250"/>
                <a:gd name="connsiteY1" fmla="*/ 32702 h 317500"/>
                <a:gd name="connsiteX2" fmla="*/ 857568 w 857250"/>
                <a:gd name="connsiteY2" fmla="*/ 4763 h 317500"/>
                <a:gd name="connsiteX3" fmla="*/ 160972 w 857250"/>
                <a:gd name="connsiteY3" fmla="*/ 4763 h 317500"/>
                <a:gd name="connsiteX4" fmla="*/ 4763 w 857250"/>
                <a:gd name="connsiteY4" fmla="*/ 160972 h 317500"/>
                <a:gd name="connsiteX5" fmla="*/ 160972 w 857250"/>
                <a:gd name="connsiteY5" fmla="*/ 317183 h 317500"/>
                <a:gd name="connsiteX6" fmla="*/ 857568 w 857250"/>
                <a:gd name="connsiteY6" fmla="*/ 317183 h 317500"/>
                <a:gd name="connsiteX7" fmla="*/ 857568 w 857250"/>
                <a:gd name="connsiteY7" fmla="*/ 289242 h 317500"/>
                <a:gd name="connsiteX8" fmla="*/ 165418 w 857250"/>
                <a:gd name="connsiteY8" fmla="*/ 289242 h 317500"/>
                <a:gd name="connsiteX9" fmla="*/ 32703 w 857250"/>
                <a:gd name="connsiteY9" fmla="*/ 160972 h 317500"/>
                <a:gd name="connsiteX10" fmla="*/ 165418 w 857250"/>
                <a:gd name="connsiteY10" fmla="*/ 32702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250" h="317500">
                  <a:moveTo>
                    <a:pt x="165418" y="32702"/>
                  </a:moveTo>
                  <a:lnTo>
                    <a:pt x="857568" y="32702"/>
                  </a:lnTo>
                  <a:lnTo>
                    <a:pt x="857568" y="4763"/>
                  </a:lnTo>
                  <a:lnTo>
                    <a:pt x="160972" y="4763"/>
                  </a:lnTo>
                  <a:cubicBezTo>
                    <a:pt x="74613" y="4763"/>
                    <a:pt x="4763" y="74613"/>
                    <a:pt x="4763" y="160972"/>
                  </a:cubicBezTo>
                  <a:cubicBezTo>
                    <a:pt x="4763" y="247333"/>
                    <a:pt x="74613" y="317183"/>
                    <a:pt x="160972" y="317183"/>
                  </a:cubicBezTo>
                  <a:lnTo>
                    <a:pt x="857568" y="317183"/>
                  </a:lnTo>
                  <a:lnTo>
                    <a:pt x="857568" y="289242"/>
                  </a:lnTo>
                  <a:lnTo>
                    <a:pt x="165418" y="289242"/>
                  </a:lnTo>
                  <a:cubicBezTo>
                    <a:pt x="92393" y="289242"/>
                    <a:pt x="32703" y="231458"/>
                    <a:pt x="32703" y="160972"/>
                  </a:cubicBezTo>
                  <a:cubicBezTo>
                    <a:pt x="32068" y="90488"/>
                    <a:pt x="91758" y="32702"/>
                    <a:pt x="165418" y="32702"/>
                  </a:cubicBezTo>
                  <a:close/>
                </a:path>
              </a:pathLst>
            </a:custGeom>
            <a:solidFill>
              <a:srgbClr val="F5C3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8" name="任意多边形: 形状 9837">
              <a:extLst>
                <a:ext uri="{FF2B5EF4-FFF2-40B4-BE49-F238E27FC236}">
                  <a16:creationId xmlns:a16="http://schemas.microsoft.com/office/drawing/2014/main" id="{2AA96F99-7EF9-44E9-89E4-08ACBE6C8DB2}"/>
                </a:ext>
              </a:extLst>
            </p:cNvPr>
            <p:cNvSpPr/>
            <p:nvPr/>
          </p:nvSpPr>
          <p:spPr>
            <a:xfrm>
              <a:off x="7434263" y="3507422"/>
              <a:ext cx="831850" cy="260350"/>
            </a:xfrm>
            <a:custGeom>
              <a:avLst/>
              <a:gdLst>
                <a:gd name="connsiteX0" fmla="*/ 766128 w 831850"/>
                <a:gd name="connsiteY0" fmla="*/ 133033 h 260350"/>
                <a:gd name="connsiteX1" fmla="*/ 829628 w 831850"/>
                <a:gd name="connsiteY1" fmla="*/ 8573 h 260350"/>
                <a:gd name="connsiteX2" fmla="*/ 829628 w 831850"/>
                <a:gd name="connsiteY2" fmla="*/ 4763 h 260350"/>
                <a:gd name="connsiteX3" fmla="*/ 137478 w 831850"/>
                <a:gd name="connsiteY3" fmla="*/ 4763 h 260350"/>
                <a:gd name="connsiteX4" fmla="*/ 4763 w 831850"/>
                <a:gd name="connsiteY4" fmla="*/ 133033 h 260350"/>
                <a:gd name="connsiteX5" fmla="*/ 137478 w 831850"/>
                <a:gd name="connsiteY5" fmla="*/ 261303 h 260350"/>
                <a:gd name="connsiteX6" fmla="*/ 829628 w 831850"/>
                <a:gd name="connsiteY6" fmla="*/ 261303 h 260350"/>
                <a:gd name="connsiteX7" fmla="*/ 829628 w 831850"/>
                <a:gd name="connsiteY7" fmla="*/ 256858 h 260350"/>
                <a:gd name="connsiteX8" fmla="*/ 766128 w 831850"/>
                <a:gd name="connsiteY8" fmla="*/ 133033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1850" h="260350">
                  <a:moveTo>
                    <a:pt x="766128" y="133033"/>
                  </a:moveTo>
                  <a:cubicBezTo>
                    <a:pt x="766128" y="82233"/>
                    <a:pt x="790893" y="36513"/>
                    <a:pt x="829628" y="8573"/>
                  </a:cubicBezTo>
                  <a:lnTo>
                    <a:pt x="829628" y="4763"/>
                  </a:lnTo>
                  <a:lnTo>
                    <a:pt x="137478" y="4763"/>
                  </a:lnTo>
                  <a:cubicBezTo>
                    <a:pt x="64453" y="4763"/>
                    <a:pt x="4763" y="62548"/>
                    <a:pt x="4763" y="133033"/>
                  </a:cubicBezTo>
                  <a:cubicBezTo>
                    <a:pt x="4763" y="203518"/>
                    <a:pt x="64453" y="261303"/>
                    <a:pt x="137478" y="261303"/>
                  </a:cubicBezTo>
                  <a:lnTo>
                    <a:pt x="829628" y="261303"/>
                  </a:lnTo>
                  <a:lnTo>
                    <a:pt x="829628" y="256858"/>
                  </a:lnTo>
                  <a:cubicBezTo>
                    <a:pt x="791528" y="229553"/>
                    <a:pt x="766128" y="184468"/>
                    <a:pt x="766128" y="13303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9" name="任意多边形: 形状 9838">
              <a:extLst>
                <a:ext uri="{FF2B5EF4-FFF2-40B4-BE49-F238E27FC236}">
                  <a16:creationId xmlns:a16="http://schemas.microsoft.com/office/drawing/2014/main" id="{279F68A2-B413-4DF5-90CF-175B82A575BF}"/>
                </a:ext>
              </a:extLst>
            </p:cNvPr>
            <p:cNvSpPr/>
            <p:nvPr/>
          </p:nvSpPr>
          <p:spPr>
            <a:xfrm>
              <a:off x="7598093" y="3599497"/>
              <a:ext cx="152400" cy="260350"/>
            </a:xfrm>
            <a:custGeom>
              <a:avLst/>
              <a:gdLst>
                <a:gd name="connsiteX0" fmla="*/ 148272 w 152400"/>
                <a:gd name="connsiteY0" fmla="*/ 261303 h 260350"/>
                <a:gd name="connsiteX1" fmla="*/ 81597 w 152400"/>
                <a:gd name="connsiteY1" fmla="*/ 219393 h 260350"/>
                <a:gd name="connsiteX2" fmla="*/ 4763 w 152400"/>
                <a:gd name="connsiteY2" fmla="*/ 261303 h 260350"/>
                <a:gd name="connsiteX3" fmla="*/ 4763 w 152400"/>
                <a:gd name="connsiteY3" fmla="*/ 4763 h 260350"/>
                <a:gd name="connsiteX4" fmla="*/ 148272 w 152400"/>
                <a:gd name="connsiteY4" fmla="*/ 4763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260350">
                  <a:moveTo>
                    <a:pt x="148272" y="261303"/>
                  </a:moveTo>
                  <a:lnTo>
                    <a:pt x="81597" y="219393"/>
                  </a:lnTo>
                  <a:lnTo>
                    <a:pt x="4763" y="261303"/>
                  </a:lnTo>
                  <a:lnTo>
                    <a:pt x="4763" y="4763"/>
                  </a:lnTo>
                  <a:lnTo>
                    <a:pt x="148272" y="4763"/>
                  </a:lnTo>
                  <a:close/>
                </a:path>
              </a:pathLst>
            </a:custGeom>
            <a:solidFill>
              <a:srgbClr val="F99B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0" name="任意多边形: 形状 9839">
              <a:extLst>
                <a:ext uri="{FF2B5EF4-FFF2-40B4-BE49-F238E27FC236}">
                  <a16:creationId xmlns:a16="http://schemas.microsoft.com/office/drawing/2014/main" id="{52421F44-C568-4F5E-A19A-C2E8112AC4A0}"/>
                </a:ext>
              </a:extLst>
            </p:cNvPr>
            <p:cNvSpPr/>
            <p:nvPr/>
          </p:nvSpPr>
          <p:spPr>
            <a:xfrm>
              <a:off x="7527607" y="3281363"/>
              <a:ext cx="615950" cy="228600"/>
            </a:xfrm>
            <a:custGeom>
              <a:avLst/>
              <a:gdLst>
                <a:gd name="connsiteX0" fmla="*/ 119698 w 615950"/>
                <a:gd name="connsiteY0" fmla="*/ 25083 h 228600"/>
                <a:gd name="connsiteX1" fmla="*/ 615633 w 615950"/>
                <a:gd name="connsiteY1" fmla="*/ 25083 h 228600"/>
                <a:gd name="connsiteX2" fmla="*/ 615633 w 615950"/>
                <a:gd name="connsiteY2" fmla="*/ 4763 h 228600"/>
                <a:gd name="connsiteX3" fmla="*/ 116523 w 615950"/>
                <a:gd name="connsiteY3" fmla="*/ 4763 h 228600"/>
                <a:gd name="connsiteX4" fmla="*/ 4763 w 615950"/>
                <a:gd name="connsiteY4" fmla="*/ 116522 h 228600"/>
                <a:gd name="connsiteX5" fmla="*/ 116523 w 615950"/>
                <a:gd name="connsiteY5" fmla="*/ 228283 h 228600"/>
                <a:gd name="connsiteX6" fmla="*/ 615633 w 615950"/>
                <a:gd name="connsiteY6" fmla="*/ 228283 h 228600"/>
                <a:gd name="connsiteX7" fmla="*/ 615633 w 615950"/>
                <a:gd name="connsiteY7" fmla="*/ 207963 h 228600"/>
                <a:gd name="connsiteX8" fmla="*/ 119698 w 615950"/>
                <a:gd name="connsiteY8" fmla="*/ 207963 h 228600"/>
                <a:gd name="connsiteX9" fmla="*/ 24448 w 615950"/>
                <a:gd name="connsiteY9" fmla="*/ 115888 h 228600"/>
                <a:gd name="connsiteX10" fmla="*/ 119698 w 615950"/>
                <a:gd name="connsiteY10" fmla="*/ 2508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950" h="228600">
                  <a:moveTo>
                    <a:pt x="119698" y="25083"/>
                  </a:moveTo>
                  <a:lnTo>
                    <a:pt x="615633" y="25083"/>
                  </a:lnTo>
                  <a:lnTo>
                    <a:pt x="615633" y="4763"/>
                  </a:lnTo>
                  <a:lnTo>
                    <a:pt x="116523" y="4763"/>
                  </a:lnTo>
                  <a:cubicBezTo>
                    <a:pt x="54928" y="4763"/>
                    <a:pt x="4763" y="54928"/>
                    <a:pt x="4763" y="116522"/>
                  </a:cubicBezTo>
                  <a:cubicBezTo>
                    <a:pt x="4763" y="178117"/>
                    <a:pt x="54928" y="228283"/>
                    <a:pt x="116523" y="228283"/>
                  </a:cubicBezTo>
                  <a:lnTo>
                    <a:pt x="615633" y="228283"/>
                  </a:lnTo>
                  <a:lnTo>
                    <a:pt x="615633" y="207963"/>
                  </a:lnTo>
                  <a:lnTo>
                    <a:pt x="119698" y="207963"/>
                  </a:lnTo>
                  <a:cubicBezTo>
                    <a:pt x="66993" y="207963"/>
                    <a:pt x="24448" y="166688"/>
                    <a:pt x="24448" y="115888"/>
                  </a:cubicBezTo>
                  <a:cubicBezTo>
                    <a:pt x="24448" y="65088"/>
                    <a:pt x="66993" y="25083"/>
                    <a:pt x="119698" y="25083"/>
                  </a:cubicBezTo>
                  <a:close/>
                </a:path>
              </a:pathLst>
            </a:custGeom>
            <a:solidFill>
              <a:srgbClr val="1D9DB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1" name="任意多边形: 形状 9840">
              <a:extLst>
                <a:ext uri="{FF2B5EF4-FFF2-40B4-BE49-F238E27FC236}">
                  <a16:creationId xmlns:a16="http://schemas.microsoft.com/office/drawing/2014/main" id="{9886524D-C540-4664-98A9-7AA19242E875}"/>
                </a:ext>
              </a:extLst>
            </p:cNvPr>
            <p:cNvSpPr/>
            <p:nvPr/>
          </p:nvSpPr>
          <p:spPr>
            <a:xfrm>
              <a:off x="7546657" y="3301683"/>
              <a:ext cx="596900" cy="190500"/>
            </a:xfrm>
            <a:custGeom>
              <a:avLst/>
              <a:gdLst>
                <a:gd name="connsiteX0" fmla="*/ 550863 w 596900"/>
                <a:gd name="connsiteY0" fmla="*/ 96838 h 190500"/>
                <a:gd name="connsiteX1" fmla="*/ 595948 w 596900"/>
                <a:gd name="connsiteY1" fmla="*/ 7938 h 190500"/>
                <a:gd name="connsiteX2" fmla="*/ 595948 w 596900"/>
                <a:gd name="connsiteY2" fmla="*/ 4763 h 190500"/>
                <a:gd name="connsiteX3" fmla="*/ 100013 w 596900"/>
                <a:gd name="connsiteY3" fmla="*/ 4763 h 190500"/>
                <a:gd name="connsiteX4" fmla="*/ 4763 w 596900"/>
                <a:gd name="connsiteY4" fmla="*/ 96838 h 190500"/>
                <a:gd name="connsiteX5" fmla="*/ 100013 w 596900"/>
                <a:gd name="connsiteY5" fmla="*/ 188913 h 190500"/>
                <a:gd name="connsiteX6" fmla="*/ 595948 w 596900"/>
                <a:gd name="connsiteY6" fmla="*/ 188913 h 190500"/>
                <a:gd name="connsiteX7" fmla="*/ 595948 w 596900"/>
                <a:gd name="connsiteY7" fmla="*/ 185738 h 190500"/>
                <a:gd name="connsiteX8" fmla="*/ 550863 w 596900"/>
                <a:gd name="connsiteY8" fmla="*/ 9683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6900" h="190500">
                  <a:moveTo>
                    <a:pt x="550863" y="96838"/>
                  </a:moveTo>
                  <a:cubicBezTo>
                    <a:pt x="550863" y="60008"/>
                    <a:pt x="568643" y="27622"/>
                    <a:pt x="595948" y="7938"/>
                  </a:cubicBezTo>
                  <a:lnTo>
                    <a:pt x="595948" y="4763"/>
                  </a:lnTo>
                  <a:lnTo>
                    <a:pt x="100013" y="4763"/>
                  </a:lnTo>
                  <a:cubicBezTo>
                    <a:pt x="47308" y="4763"/>
                    <a:pt x="4763" y="46038"/>
                    <a:pt x="4763" y="96838"/>
                  </a:cubicBezTo>
                  <a:cubicBezTo>
                    <a:pt x="4763" y="147638"/>
                    <a:pt x="47308" y="188913"/>
                    <a:pt x="100013" y="188913"/>
                  </a:cubicBezTo>
                  <a:lnTo>
                    <a:pt x="595948" y="188913"/>
                  </a:lnTo>
                  <a:lnTo>
                    <a:pt x="595948" y="185738"/>
                  </a:lnTo>
                  <a:cubicBezTo>
                    <a:pt x="568643" y="165417"/>
                    <a:pt x="550863" y="133667"/>
                    <a:pt x="550863" y="9683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2" name="任意多边形: 形状 9841">
              <a:extLst>
                <a:ext uri="{FF2B5EF4-FFF2-40B4-BE49-F238E27FC236}">
                  <a16:creationId xmlns:a16="http://schemas.microsoft.com/office/drawing/2014/main" id="{B889D1EB-4929-442A-99B8-03F5BB35193B}"/>
                </a:ext>
              </a:extLst>
            </p:cNvPr>
            <p:cNvSpPr/>
            <p:nvPr/>
          </p:nvSpPr>
          <p:spPr>
            <a:xfrm>
              <a:off x="7664768" y="3367722"/>
              <a:ext cx="107950" cy="190500"/>
            </a:xfrm>
            <a:custGeom>
              <a:avLst/>
              <a:gdLst>
                <a:gd name="connsiteX0" fmla="*/ 107632 w 107950"/>
                <a:gd name="connsiteY0" fmla="*/ 188278 h 190500"/>
                <a:gd name="connsiteX1" fmla="*/ 60007 w 107950"/>
                <a:gd name="connsiteY1" fmla="*/ 158433 h 190500"/>
                <a:gd name="connsiteX2" fmla="*/ 4763 w 107950"/>
                <a:gd name="connsiteY2" fmla="*/ 188278 h 190500"/>
                <a:gd name="connsiteX3" fmla="*/ 4763 w 107950"/>
                <a:gd name="connsiteY3" fmla="*/ 4763 h 190500"/>
                <a:gd name="connsiteX4" fmla="*/ 107632 w 107950"/>
                <a:gd name="connsiteY4" fmla="*/ 47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950" h="190500">
                  <a:moveTo>
                    <a:pt x="107632" y="188278"/>
                  </a:moveTo>
                  <a:lnTo>
                    <a:pt x="60007" y="158433"/>
                  </a:lnTo>
                  <a:lnTo>
                    <a:pt x="4763" y="188278"/>
                  </a:lnTo>
                  <a:lnTo>
                    <a:pt x="4763" y="4763"/>
                  </a:lnTo>
                  <a:lnTo>
                    <a:pt x="107632" y="4763"/>
                  </a:lnTo>
                  <a:close/>
                </a:path>
              </a:pathLst>
            </a:custGeom>
            <a:solidFill>
              <a:srgbClr val="F99B5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3" name="任意多边形: 形状 9842">
              <a:extLst>
                <a:ext uri="{FF2B5EF4-FFF2-40B4-BE49-F238E27FC236}">
                  <a16:creationId xmlns:a16="http://schemas.microsoft.com/office/drawing/2014/main" id="{427421FF-A9DF-470A-96D1-810143561785}"/>
                </a:ext>
              </a:extLst>
            </p:cNvPr>
            <p:cNvSpPr/>
            <p:nvPr/>
          </p:nvSpPr>
          <p:spPr>
            <a:xfrm>
              <a:off x="8231188" y="5491163"/>
              <a:ext cx="2241550" cy="88900"/>
            </a:xfrm>
            <a:custGeom>
              <a:avLst/>
              <a:gdLst>
                <a:gd name="connsiteX0" fmla="*/ 2191703 w 2241550"/>
                <a:gd name="connsiteY0" fmla="*/ 54292 h 88900"/>
                <a:gd name="connsiteX1" fmla="*/ 54293 w 2241550"/>
                <a:gd name="connsiteY1" fmla="*/ 54292 h 88900"/>
                <a:gd name="connsiteX2" fmla="*/ 4763 w 2241550"/>
                <a:gd name="connsiteY2" fmla="*/ 4763 h 88900"/>
                <a:gd name="connsiteX3" fmla="*/ 4763 w 2241550"/>
                <a:gd name="connsiteY3" fmla="*/ 40322 h 88900"/>
                <a:gd name="connsiteX4" fmla="*/ 54293 w 2241550"/>
                <a:gd name="connsiteY4" fmla="*/ 89853 h 88900"/>
                <a:gd name="connsiteX5" fmla="*/ 2191703 w 2241550"/>
                <a:gd name="connsiteY5" fmla="*/ 89853 h 88900"/>
                <a:gd name="connsiteX6" fmla="*/ 2241232 w 2241550"/>
                <a:gd name="connsiteY6" fmla="*/ 40322 h 88900"/>
                <a:gd name="connsiteX7" fmla="*/ 2241232 w 2241550"/>
                <a:gd name="connsiteY7" fmla="*/ 4763 h 88900"/>
                <a:gd name="connsiteX8" fmla="*/ 2191703 w 2241550"/>
                <a:gd name="connsiteY8" fmla="*/ 54292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1550" h="88900">
                  <a:moveTo>
                    <a:pt x="2191703" y="54292"/>
                  </a:moveTo>
                  <a:lnTo>
                    <a:pt x="54293" y="54292"/>
                  </a:lnTo>
                  <a:cubicBezTo>
                    <a:pt x="26988" y="54292"/>
                    <a:pt x="4763" y="32067"/>
                    <a:pt x="4763" y="4763"/>
                  </a:cubicBezTo>
                  <a:lnTo>
                    <a:pt x="4763" y="40322"/>
                  </a:lnTo>
                  <a:cubicBezTo>
                    <a:pt x="4763" y="67628"/>
                    <a:pt x="26988" y="89853"/>
                    <a:pt x="54293" y="89853"/>
                  </a:cubicBezTo>
                  <a:lnTo>
                    <a:pt x="2191703" y="89853"/>
                  </a:lnTo>
                  <a:cubicBezTo>
                    <a:pt x="2219007" y="89853"/>
                    <a:pt x="2241232" y="67628"/>
                    <a:pt x="2241232" y="40322"/>
                  </a:cubicBezTo>
                  <a:lnTo>
                    <a:pt x="2241232" y="4763"/>
                  </a:lnTo>
                  <a:cubicBezTo>
                    <a:pt x="2241232" y="32067"/>
                    <a:pt x="2219007" y="54292"/>
                    <a:pt x="2191703" y="54292"/>
                  </a:cubicBezTo>
                  <a:close/>
                </a:path>
              </a:pathLst>
            </a:custGeom>
            <a:solidFill>
              <a:srgbClr val="ABA9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4" name="任意多边形: 形状 9843">
              <a:extLst>
                <a:ext uri="{FF2B5EF4-FFF2-40B4-BE49-F238E27FC236}">
                  <a16:creationId xmlns:a16="http://schemas.microsoft.com/office/drawing/2014/main" id="{BF8107E8-390C-4779-BC75-9EF08C5B2D71}"/>
                </a:ext>
              </a:extLst>
            </p:cNvPr>
            <p:cNvSpPr/>
            <p:nvPr/>
          </p:nvSpPr>
          <p:spPr>
            <a:xfrm>
              <a:off x="8231188" y="4693603"/>
              <a:ext cx="2241550" cy="850900"/>
            </a:xfrm>
            <a:custGeom>
              <a:avLst/>
              <a:gdLst>
                <a:gd name="connsiteX0" fmla="*/ 2241232 w 2241550"/>
                <a:gd name="connsiteY0" fmla="*/ 802322 h 850900"/>
                <a:gd name="connsiteX1" fmla="*/ 2191703 w 2241550"/>
                <a:gd name="connsiteY1" fmla="*/ 851852 h 850900"/>
                <a:gd name="connsiteX2" fmla="*/ 54293 w 2241550"/>
                <a:gd name="connsiteY2" fmla="*/ 851852 h 850900"/>
                <a:gd name="connsiteX3" fmla="*/ 4763 w 2241550"/>
                <a:gd name="connsiteY3" fmla="*/ 802322 h 850900"/>
                <a:gd name="connsiteX4" fmla="*/ 4763 w 2241550"/>
                <a:gd name="connsiteY4" fmla="*/ 54292 h 850900"/>
                <a:gd name="connsiteX5" fmla="*/ 54293 w 2241550"/>
                <a:gd name="connsiteY5" fmla="*/ 4763 h 850900"/>
                <a:gd name="connsiteX6" fmla="*/ 2191703 w 2241550"/>
                <a:gd name="connsiteY6" fmla="*/ 4763 h 850900"/>
                <a:gd name="connsiteX7" fmla="*/ 2241232 w 2241550"/>
                <a:gd name="connsiteY7" fmla="*/ 54292 h 850900"/>
                <a:gd name="connsiteX8" fmla="*/ 2241232 w 2241550"/>
                <a:gd name="connsiteY8" fmla="*/ 802322 h 850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1550" h="850900">
                  <a:moveTo>
                    <a:pt x="2241232" y="802322"/>
                  </a:moveTo>
                  <a:cubicBezTo>
                    <a:pt x="2241232" y="829627"/>
                    <a:pt x="2219007" y="851852"/>
                    <a:pt x="2191703" y="851852"/>
                  </a:cubicBezTo>
                  <a:lnTo>
                    <a:pt x="54293" y="851852"/>
                  </a:lnTo>
                  <a:cubicBezTo>
                    <a:pt x="26988" y="851852"/>
                    <a:pt x="4763" y="829627"/>
                    <a:pt x="4763" y="802322"/>
                  </a:cubicBezTo>
                  <a:lnTo>
                    <a:pt x="4763" y="54292"/>
                  </a:lnTo>
                  <a:cubicBezTo>
                    <a:pt x="4763" y="26988"/>
                    <a:pt x="26988" y="4763"/>
                    <a:pt x="54293" y="4763"/>
                  </a:cubicBezTo>
                  <a:lnTo>
                    <a:pt x="2191703" y="4763"/>
                  </a:lnTo>
                  <a:cubicBezTo>
                    <a:pt x="2219007" y="4763"/>
                    <a:pt x="2241232" y="26988"/>
                    <a:pt x="2241232" y="54292"/>
                  </a:cubicBezTo>
                  <a:lnTo>
                    <a:pt x="2241232" y="8023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5" name="任意多边形: 形状 9844">
              <a:extLst>
                <a:ext uri="{FF2B5EF4-FFF2-40B4-BE49-F238E27FC236}">
                  <a16:creationId xmlns:a16="http://schemas.microsoft.com/office/drawing/2014/main" id="{7E3DA19A-27D9-4C94-B3F3-78CD917BADC4}"/>
                </a:ext>
              </a:extLst>
            </p:cNvPr>
            <p:cNvSpPr/>
            <p:nvPr/>
          </p:nvSpPr>
          <p:spPr>
            <a:xfrm>
              <a:off x="8385493" y="4985703"/>
              <a:ext cx="152400" cy="31750"/>
            </a:xfrm>
            <a:custGeom>
              <a:avLst/>
              <a:gdLst>
                <a:gd name="connsiteX0" fmla="*/ 134302 w 152400"/>
                <a:gd name="connsiteY0" fmla="*/ 18732 h 31750"/>
                <a:gd name="connsiteX1" fmla="*/ 18732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2 w 152400"/>
                <a:gd name="connsiteY4" fmla="*/ 32702 h 31750"/>
                <a:gd name="connsiteX5" fmla="*/ 134302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2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2" y="18732"/>
                  </a:moveTo>
                  <a:lnTo>
                    <a:pt x="18732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2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272" y="12382"/>
                    <a:pt x="141922" y="18732"/>
                    <a:pt x="134302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6" name="任意多边形: 形状 9845">
              <a:extLst>
                <a:ext uri="{FF2B5EF4-FFF2-40B4-BE49-F238E27FC236}">
                  <a16:creationId xmlns:a16="http://schemas.microsoft.com/office/drawing/2014/main" id="{731BA195-A7EA-4EA5-A382-F54EE148EC30}"/>
                </a:ext>
              </a:extLst>
            </p:cNvPr>
            <p:cNvSpPr/>
            <p:nvPr/>
          </p:nvSpPr>
          <p:spPr>
            <a:xfrm>
              <a:off x="8385493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2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2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7" name="任意多边形: 形状 9846">
              <a:extLst>
                <a:ext uri="{FF2B5EF4-FFF2-40B4-BE49-F238E27FC236}">
                  <a16:creationId xmlns:a16="http://schemas.microsoft.com/office/drawing/2014/main" id="{5B9375BD-8314-425F-9BD0-F119DA55A5EC}"/>
                </a:ext>
              </a:extLst>
            </p:cNvPr>
            <p:cNvSpPr/>
            <p:nvPr/>
          </p:nvSpPr>
          <p:spPr>
            <a:xfrm>
              <a:off x="8582978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2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2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272" y="12382"/>
                    <a:pt x="141922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8" name="任意多边形: 形状 9847">
              <a:extLst>
                <a:ext uri="{FF2B5EF4-FFF2-40B4-BE49-F238E27FC236}">
                  <a16:creationId xmlns:a16="http://schemas.microsoft.com/office/drawing/2014/main" id="{1709EA9A-D9E7-4C4D-9B35-76DAC945A51B}"/>
                </a:ext>
              </a:extLst>
            </p:cNvPr>
            <p:cNvSpPr/>
            <p:nvPr/>
          </p:nvSpPr>
          <p:spPr>
            <a:xfrm>
              <a:off x="8582978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9" name="任意多边形: 形状 9848">
              <a:extLst>
                <a:ext uri="{FF2B5EF4-FFF2-40B4-BE49-F238E27FC236}">
                  <a16:creationId xmlns:a16="http://schemas.microsoft.com/office/drawing/2014/main" id="{9726B1A9-3DD6-49A2-B916-C65C02F0A2AE}"/>
                </a:ext>
              </a:extLst>
            </p:cNvPr>
            <p:cNvSpPr/>
            <p:nvPr/>
          </p:nvSpPr>
          <p:spPr>
            <a:xfrm>
              <a:off x="8781097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3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3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272" y="12382"/>
                    <a:pt x="141922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0" name="任意多边形: 形状 9849">
              <a:extLst>
                <a:ext uri="{FF2B5EF4-FFF2-40B4-BE49-F238E27FC236}">
                  <a16:creationId xmlns:a16="http://schemas.microsoft.com/office/drawing/2014/main" id="{6426394C-4B63-4E3B-B205-A4F3623C8944}"/>
                </a:ext>
              </a:extLst>
            </p:cNvPr>
            <p:cNvSpPr/>
            <p:nvPr/>
          </p:nvSpPr>
          <p:spPr>
            <a:xfrm>
              <a:off x="8781097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7 h 158750"/>
                <a:gd name="connsiteX2" fmla="*/ 18733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3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3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1" name="任意多边形: 形状 9850">
              <a:extLst>
                <a:ext uri="{FF2B5EF4-FFF2-40B4-BE49-F238E27FC236}">
                  <a16:creationId xmlns:a16="http://schemas.microsoft.com/office/drawing/2014/main" id="{66FBA1F6-A01F-41CC-9E10-A181D2B2A728}"/>
                </a:ext>
              </a:extLst>
            </p:cNvPr>
            <p:cNvSpPr/>
            <p:nvPr/>
          </p:nvSpPr>
          <p:spPr>
            <a:xfrm>
              <a:off x="8978582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3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3 w 152400"/>
                <a:gd name="connsiteY6" fmla="*/ 18732 h 31750"/>
                <a:gd name="connsiteX7" fmla="*/ 148273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3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3" y="32702"/>
                    <a:pt x="148273" y="26352"/>
                    <a:pt x="148273" y="18732"/>
                  </a:cubicBezTo>
                  <a:lnTo>
                    <a:pt x="148273" y="4763"/>
                  </a:lnTo>
                  <a:cubicBezTo>
                    <a:pt x="148273" y="12382"/>
                    <a:pt x="141923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2" name="任意多边形: 形状 9851">
              <a:extLst>
                <a:ext uri="{FF2B5EF4-FFF2-40B4-BE49-F238E27FC236}">
                  <a16:creationId xmlns:a16="http://schemas.microsoft.com/office/drawing/2014/main" id="{D2DEC3F5-B43F-4A54-964A-3FB5DEDBC499}"/>
                </a:ext>
              </a:extLst>
            </p:cNvPr>
            <p:cNvSpPr/>
            <p:nvPr/>
          </p:nvSpPr>
          <p:spPr>
            <a:xfrm>
              <a:off x="8978582" y="4845367"/>
              <a:ext cx="152400" cy="158750"/>
            </a:xfrm>
            <a:custGeom>
              <a:avLst/>
              <a:gdLst>
                <a:gd name="connsiteX0" fmla="*/ 148273 w 152400"/>
                <a:gd name="connsiteY0" fmla="*/ 145098 h 158750"/>
                <a:gd name="connsiteX1" fmla="*/ 134303 w 152400"/>
                <a:gd name="connsiteY1" fmla="*/ 159067 h 158750"/>
                <a:gd name="connsiteX2" fmla="*/ 18733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3 w 152400"/>
                <a:gd name="connsiteY5" fmla="*/ 4763 h 158750"/>
                <a:gd name="connsiteX6" fmla="*/ 134303 w 152400"/>
                <a:gd name="connsiteY6" fmla="*/ 4763 h 158750"/>
                <a:gd name="connsiteX7" fmla="*/ 148273 w 152400"/>
                <a:gd name="connsiteY7" fmla="*/ 18733 h 158750"/>
                <a:gd name="connsiteX8" fmla="*/ 148273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3" y="145098"/>
                  </a:moveTo>
                  <a:cubicBezTo>
                    <a:pt x="148273" y="152717"/>
                    <a:pt x="141923" y="159067"/>
                    <a:pt x="134303" y="159067"/>
                  </a:cubicBezTo>
                  <a:lnTo>
                    <a:pt x="18733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134303" y="4763"/>
                  </a:lnTo>
                  <a:cubicBezTo>
                    <a:pt x="141923" y="4763"/>
                    <a:pt x="148273" y="11113"/>
                    <a:pt x="148273" y="18733"/>
                  </a:cubicBezTo>
                  <a:lnTo>
                    <a:pt x="148273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3" name="任意多边形: 形状 9852">
              <a:extLst>
                <a:ext uri="{FF2B5EF4-FFF2-40B4-BE49-F238E27FC236}">
                  <a16:creationId xmlns:a16="http://schemas.microsoft.com/office/drawing/2014/main" id="{B616A72F-C85C-4652-8DF3-8CE4D1DCEFB1}"/>
                </a:ext>
              </a:extLst>
            </p:cNvPr>
            <p:cNvSpPr/>
            <p:nvPr/>
          </p:nvSpPr>
          <p:spPr>
            <a:xfrm>
              <a:off x="9176068" y="4985703"/>
              <a:ext cx="152400" cy="31750"/>
            </a:xfrm>
            <a:custGeom>
              <a:avLst/>
              <a:gdLst>
                <a:gd name="connsiteX0" fmla="*/ 134302 w 152400"/>
                <a:gd name="connsiteY0" fmla="*/ 18732 h 31750"/>
                <a:gd name="connsiteX1" fmla="*/ 18732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2 w 152400"/>
                <a:gd name="connsiteY4" fmla="*/ 32702 h 31750"/>
                <a:gd name="connsiteX5" fmla="*/ 134302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2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2" y="18732"/>
                  </a:moveTo>
                  <a:lnTo>
                    <a:pt x="18732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2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907" y="12382"/>
                    <a:pt x="142557" y="18732"/>
                    <a:pt x="134302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4" name="任意多边形: 形状 9853">
              <a:extLst>
                <a:ext uri="{FF2B5EF4-FFF2-40B4-BE49-F238E27FC236}">
                  <a16:creationId xmlns:a16="http://schemas.microsoft.com/office/drawing/2014/main" id="{DB4BEE6C-1C06-46EB-909D-8AAE725CEC20}"/>
                </a:ext>
              </a:extLst>
            </p:cNvPr>
            <p:cNvSpPr/>
            <p:nvPr/>
          </p:nvSpPr>
          <p:spPr>
            <a:xfrm>
              <a:off x="9176068" y="4845367"/>
              <a:ext cx="152400" cy="158750"/>
            </a:xfrm>
            <a:custGeom>
              <a:avLst/>
              <a:gdLst>
                <a:gd name="connsiteX0" fmla="*/ 148907 w 152400"/>
                <a:gd name="connsiteY0" fmla="*/ 145098 h 158750"/>
                <a:gd name="connsiteX1" fmla="*/ 134938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907" y="145098"/>
                  </a:moveTo>
                  <a:cubicBezTo>
                    <a:pt x="148907" y="152717"/>
                    <a:pt x="142557" y="159067"/>
                    <a:pt x="134938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5" name="任意多边形: 形状 9854">
              <a:extLst>
                <a:ext uri="{FF2B5EF4-FFF2-40B4-BE49-F238E27FC236}">
                  <a16:creationId xmlns:a16="http://schemas.microsoft.com/office/drawing/2014/main" id="{6087CDD8-6DFD-4A4F-BD1C-F27319D41539}"/>
                </a:ext>
              </a:extLst>
            </p:cNvPr>
            <p:cNvSpPr/>
            <p:nvPr/>
          </p:nvSpPr>
          <p:spPr>
            <a:xfrm>
              <a:off x="9374188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2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2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272" y="12382"/>
                    <a:pt x="141922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6" name="任意多边形: 形状 9855">
              <a:extLst>
                <a:ext uri="{FF2B5EF4-FFF2-40B4-BE49-F238E27FC236}">
                  <a16:creationId xmlns:a16="http://schemas.microsoft.com/office/drawing/2014/main" id="{F9F6F38D-5223-49CA-8DE4-F3EAD2099E7D}"/>
                </a:ext>
              </a:extLst>
            </p:cNvPr>
            <p:cNvSpPr/>
            <p:nvPr/>
          </p:nvSpPr>
          <p:spPr>
            <a:xfrm>
              <a:off x="9374188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7" name="任意多边形: 形状 9856">
              <a:extLst>
                <a:ext uri="{FF2B5EF4-FFF2-40B4-BE49-F238E27FC236}">
                  <a16:creationId xmlns:a16="http://schemas.microsoft.com/office/drawing/2014/main" id="{3EEF8F55-F1E8-45B6-A057-0C66B3F2C418}"/>
                </a:ext>
              </a:extLst>
            </p:cNvPr>
            <p:cNvSpPr/>
            <p:nvPr/>
          </p:nvSpPr>
          <p:spPr>
            <a:xfrm>
              <a:off x="9571672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3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3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272" y="12382"/>
                    <a:pt x="141922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8" name="任意多边形: 形状 9857">
              <a:extLst>
                <a:ext uri="{FF2B5EF4-FFF2-40B4-BE49-F238E27FC236}">
                  <a16:creationId xmlns:a16="http://schemas.microsoft.com/office/drawing/2014/main" id="{5E3D28A3-686D-4C0A-8185-0A9988430F3E}"/>
                </a:ext>
              </a:extLst>
            </p:cNvPr>
            <p:cNvSpPr/>
            <p:nvPr/>
          </p:nvSpPr>
          <p:spPr>
            <a:xfrm>
              <a:off x="9571672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7 h 158750"/>
                <a:gd name="connsiteX2" fmla="*/ 18733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3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3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9" name="任意多边形: 形状 9858">
              <a:extLst>
                <a:ext uri="{FF2B5EF4-FFF2-40B4-BE49-F238E27FC236}">
                  <a16:creationId xmlns:a16="http://schemas.microsoft.com/office/drawing/2014/main" id="{9839F513-535C-4918-8935-9033108E95F6}"/>
                </a:ext>
              </a:extLst>
            </p:cNvPr>
            <p:cNvSpPr/>
            <p:nvPr/>
          </p:nvSpPr>
          <p:spPr>
            <a:xfrm>
              <a:off x="9769157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3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3 w 152400"/>
                <a:gd name="connsiteY6" fmla="*/ 18732 h 31750"/>
                <a:gd name="connsiteX7" fmla="*/ 148273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3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3" y="32702"/>
                    <a:pt x="148273" y="26352"/>
                    <a:pt x="148273" y="18732"/>
                  </a:cubicBezTo>
                  <a:lnTo>
                    <a:pt x="148273" y="4763"/>
                  </a:lnTo>
                  <a:cubicBezTo>
                    <a:pt x="148908" y="12382"/>
                    <a:pt x="142558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0" name="任意多边形: 形状 9859">
              <a:extLst>
                <a:ext uri="{FF2B5EF4-FFF2-40B4-BE49-F238E27FC236}">
                  <a16:creationId xmlns:a16="http://schemas.microsoft.com/office/drawing/2014/main" id="{2AE85838-72E1-4991-90CC-15633D4D9047}"/>
                </a:ext>
              </a:extLst>
            </p:cNvPr>
            <p:cNvSpPr/>
            <p:nvPr/>
          </p:nvSpPr>
          <p:spPr>
            <a:xfrm>
              <a:off x="9769793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2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2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1" name="任意多边形: 形状 9860">
              <a:extLst>
                <a:ext uri="{FF2B5EF4-FFF2-40B4-BE49-F238E27FC236}">
                  <a16:creationId xmlns:a16="http://schemas.microsoft.com/office/drawing/2014/main" id="{993F8952-A614-42FF-B69E-CFAB2A5E381B}"/>
                </a:ext>
              </a:extLst>
            </p:cNvPr>
            <p:cNvSpPr/>
            <p:nvPr/>
          </p:nvSpPr>
          <p:spPr>
            <a:xfrm>
              <a:off x="9967278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2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2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272" y="12382"/>
                    <a:pt x="141922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2" name="任意多边形: 形状 9861">
              <a:extLst>
                <a:ext uri="{FF2B5EF4-FFF2-40B4-BE49-F238E27FC236}">
                  <a16:creationId xmlns:a16="http://schemas.microsoft.com/office/drawing/2014/main" id="{CBBEEF90-B911-48DE-84D2-635E06EB6715}"/>
                </a:ext>
              </a:extLst>
            </p:cNvPr>
            <p:cNvSpPr/>
            <p:nvPr/>
          </p:nvSpPr>
          <p:spPr>
            <a:xfrm>
              <a:off x="9967278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3" name="任意多边形: 形状 9862">
              <a:extLst>
                <a:ext uri="{FF2B5EF4-FFF2-40B4-BE49-F238E27FC236}">
                  <a16:creationId xmlns:a16="http://schemas.microsoft.com/office/drawing/2014/main" id="{8874FF5F-F664-4098-9469-DBDAE822E4B1}"/>
                </a:ext>
              </a:extLst>
            </p:cNvPr>
            <p:cNvSpPr/>
            <p:nvPr/>
          </p:nvSpPr>
          <p:spPr>
            <a:xfrm>
              <a:off x="10164763" y="4985703"/>
              <a:ext cx="152400" cy="31750"/>
            </a:xfrm>
            <a:custGeom>
              <a:avLst/>
              <a:gdLst>
                <a:gd name="connsiteX0" fmla="*/ 134303 w 152400"/>
                <a:gd name="connsiteY0" fmla="*/ 18732 h 31750"/>
                <a:gd name="connsiteX1" fmla="*/ 18732 w 152400"/>
                <a:gd name="connsiteY1" fmla="*/ 18732 h 31750"/>
                <a:gd name="connsiteX2" fmla="*/ 4763 w 152400"/>
                <a:gd name="connsiteY2" fmla="*/ 4763 h 31750"/>
                <a:gd name="connsiteX3" fmla="*/ 4763 w 152400"/>
                <a:gd name="connsiteY3" fmla="*/ 18732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2 h 31750"/>
                <a:gd name="connsiteX7" fmla="*/ 148272 w 152400"/>
                <a:gd name="connsiteY7" fmla="*/ 4763 h 31750"/>
                <a:gd name="connsiteX8" fmla="*/ 134303 w 152400"/>
                <a:gd name="connsiteY8" fmla="*/ 1873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2"/>
                  </a:moveTo>
                  <a:lnTo>
                    <a:pt x="18732" y="18732"/>
                  </a:lnTo>
                  <a:cubicBezTo>
                    <a:pt x="11113" y="18732"/>
                    <a:pt x="4763" y="12382"/>
                    <a:pt x="4763" y="4763"/>
                  </a:cubicBezTo>
                  <a:lnTo>
                    <a:pt x="4763" y="18732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2"/>
                  </a:cubicBezTo>
                  <a:lnTo>
                    <a:pt x="148272" y="4763"/>
                  </a:lnTo>
                  <a:cubicBezTo>
                    <a:pt x="148272" y="12382"/>
                    <a:pt x="141922" y="18732"/>
                    <a:pt x="134303" y="18732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4" name="任意多边形: 形状 9863">
              <a:extLst>
                <a:ext uri="{FF2B5EF4-FFF2-40B4-BE49-F238E27FC236}">
                  <a16:creationId xmlns:a16="http://schemas.microsoft.com/office/drawing/2014/main" id="{6FC6BCC2-D912-44CE-A763-71699EA23024}"/>
                </a:ext>
              </a:extLst>
            </p:cNvPr>
            <p:cNvSpPr/>
            <p:nvPr/>
          </p:nvSpPr>
          <p:spPr>
            <a:xfrm>
              <a:off x="10164763" y="4845367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5" name="任意多边形: 形状 9864">
              <a:extLst>
                <a:ext uri="{FF2B5EF4-FFF2-40B4-BE49-F238E27FC236}">
                  <a16:creationId xmlns:a16="http://schemas.microsoft.com/office/drawing/2014/main" id="{FBC95369-865F-4CE2-B7C2-EE1C7E6855A1}"/>
                </a:ext>
              </a:extLst>
            </p:cNvPr>
            <p:cNvSpPr/>
            <p:nvPr/>
          </p:nvSpPr>
          <p:spPr>
            <a:xfrm>
              <a:off x="8385493" y="5184458"/>
              <a:ext cx="152400" cy="31750"/>
            </a:xfrm>
            <a:custGeom>
              <a:avLst/>
              <a:gdLst>
                <a:gd name="connsiteX0" fmla="*/ 134302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2 h 31750"/>
                <a:gd name="connsiteX5" fmla="*/ 134302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2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2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2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2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6" name="任意多边形: 形状 9865">
              <a:extLst>
                <a:ext uri="{FF2B5EF4-FFF2-40B4-BE49-F238E27FC236}">
                  <a16:creationId xmlns:a16="http://schemas.microsoft.com/office/drawing/2014/main" id="{149797B0-5930-43DB-9FD7-6B1574121BDD}"/>
                </a:ext>
              </a:extLst>
            </p:cNvPr>
            <p:cNvSpPr/>
            <p:nvPr/>
          </p:nvSpPr>
          <p:spPr>
            <a:xfrm>
              <a:off x="8385493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2 w 152400"/>
                <a:gd name="connsiteY1" fmla="*/ 159068 h 158750"/>
                <a:gd name="connsiteX2" fmla="*/ 18732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2" y="159068"/>
                  </a:cubicBezTo>
                  <a:lnTo>
                    <a:pt x="18732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7" name="任意多边形: 形状 9866">
              <a:extLst>
                <a:ext uri="{FF2B5EF4-FFF2-40B4-BE49-F238E27FC236}">
                  <a16:creationId xmlns:a16="http://schemas.microsoft.com/office/drawing/2014/main" id="{A5E86EEB-F63D-4CA3-A9DC-81D166BF1F99}"/>
                </a:ext>
              </a:extLst>
            </p:cNvPr>
            <p:cNvSpPr/>
            <p:nvPr/>
          </p:nvSpPr>
          <p:spPr>
            <a:xfrm>
              <a:off x="8582978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8" name="任意多边形: 形状 9867">
              <a:extLst>
                <a:ext uri="{FF2B5EF4-FFF2-40B4-BE49-F238E27FC236}">
                  <a16:creationId xmlns:a16="http://schemas.microsoft.com/office/drawing/2014/main" id="{79055220-2FC5-4FCC-A8FD-048A876AE51F}"/>
                </a:ext>
              </a:extLst>
            </p:cNvPr>
            <p:cNvSpPr/>
            <p:nvPr/>
          </p:nvSpPr>
          <p:spPr>
            <a:xfrm>
              <a:off x="8582978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8 h 158750"/>
                <a:gd name="connsiteX2" fmla="*/ 18732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3" y="159068"/>
                  </a:cubicBezTo>
                  <a:lnTo>
                    <a:pt x="18732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9" name="任意多边形: 形状 9868">
              <a:extLst>
                <a:ext uri="{FF2B5EF4-FFF2-40B4-BE49-F238E27FC236}">
                  <a16:creationId xmlns:a16="http://schemas.microsoft.com/office/drawing/2014/main" id="{BAEEDEAE-214E-4A54-83E0-9000921F9FB6}"/>
                </a:ext>
              </a:extLst>
            </p:cNvPr>
            <p:cNvSpPr/>
            <p:nvPr/>
          </p:nvSpPr>
          <p:spPr>
            <a:xfrm>
              <a:off x="8781097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3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3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0" name="任意多边形: 形状 9869">
              <a:extLst>
                <a:ext uri="{FF2B5EF4-FFF2-40B4-BE49-F238E27FC236}">
                  <a16:creationId xmlns:a16="http://schemas.microsoft.com/office/drawing/2014/main" id="{690CBF0A-AA82-4AA5-9E41-9468C814AB59}"/>
                </a:ext>
              </a:extLst>
            </p:cNvPr>
            <p:cNvSpPr/>
            <p:nvPr/>
          </p:nvSpPr>
          <p:spPr>
            <a:xfrm>
              <a:off x="8781097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8 h 158750"/>
                <a:gd name="connsiteX2" fmla="*/ 18733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3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3" y="159068"/>
                  </a:cubicBezTo>
                  <a:lnTo>
                    <a:pt x="18733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1" name="任意多边形: 形状 9870">
              <a:extLst>
                <a:ext uri="{FF2B5EF4-FFF2-40B4-BE49-F238E27FC236}">
                  <a16:creationId xmlns:a16="http://schemas.microsoft.com/office/drawing/2014/main" id="{DEDDE82D-4EC9-4A8E-8C61-B76B890E6C46}"/>
                </a:ext>
              </a:extLst>
            </p:cNvPr>
            <p:cNvSpPr/>
            <p:nvPr/>
          </p:nvSpPr>
          <p:spPr>
            <a:xfrm>
              <a:off x="8978582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3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3 w 152400"/>
                <a:gd name="connsiteY6" fmla="*/ 18733 h 31750"/>
                <a:gd name="connsiteX7" fmla="*/ 148273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3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3" y="32702"/>
                    <a:pt x="148273" y="26352"/>
                    <a:pt x="148273" y="18733"/>
                  </a:cubicBezTo>
                  <a:lnTo>
                    <a:pt x="148273" y="4763"/>
                  </a:lnTo>
                  <a:cubicBezTo>
                    <a:pt x="148273" y="12383"/>
                    <a:pt x="141923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2" name="任意多边形: 形状 9871">
              <a:extLst>
                <a:ext uri="{FF2B5EF4-FFF2-40B4-BE49-F238E27FC236}">
                  <a16:creationId xmlns:a16="http://schemas.microsoft.com/office/drawing/2014/main" id="{716FD481-0E80-414D-B134-4E7A5563891E}"/>
                </a:ext>
              </a:extLst>
            </p:cNvPr>
            <p:cNvSpPr/>
            <p:nvPr/>
          </p:nvSpPr>
          <p:spPr>
            <a:xfrm>
              <a:off x="8978582" y="5044122"/>
              <a:ext cx="152400" cy="158750"/>
            </a:xfrm>
            <a:custGeom>
              <a:avLst/>
              <a:gdLst>
                <a:gd name="connsiteX0" fmla="*/ 148273 w 152400"/>
                <a:gd name="connsiteY0" fmla="*/ 145098 h 158750"/>
                <a:gd name="connsiteX1" fmla="*/ 134303 w 152400"/>
                <a:gd name="connsiteY1" fmla="*/ 159068 h 158750"/>
                <a:gd name="connsiteX2" fmla="*/ 18733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3 w 152400"/>
                <a:gd name="connsiteY5" fmla="*/ 4763 h 158750"/>
                <a:gd name="connsiteX6" fmla="*/ 134303 w 152400"/>
                <a:gd name="connsiteY6" fmla="*/ 4763 h 158750"/>
                <a:gd name="connsiteX7" fmla="*/ 148273 w 152400"/>
                <a:gd name="connsiteY7" fmla="*/ 18733 h 158750"/>
                <a:gd name="connsiteX8" fmla="*/ 148273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3" y="145098"/>
                  </a:moveTo>
                  <a:cubicBezTo>
                    <a:pt x="148273" y="152718"/>
                    <a:pt x="141923" y="159068"/>
                    <a:pt x="134303" y="159068"/>
                  </a:cubicBezTo>
                  <a:lnTo>
                    <a:pt x="18733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134303" y="4763"/>
                  </a:lnTo>
                  <a:cubicBezTo>
                    <a:pt x="141923" y="4763"/>
                    <a:pt x="148273" y="11113"/>
                    <a:pt x="148273" y="18733"/>
                  </a:cubicBezTo>
                  <a:lnTo>
                    <a:pt x="148273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3" name="任意多边形: 形状 9872">
              <a:extLst>
                <a:ext uri="{FF2B5EF4-FFF2-40B4-BE49-F238E27FC236}">
                  <a16:creationId xmlns:a16="http://schemas.microsoft.com/office/drawing/2014/main" id="{2024ED19-BFA0-4899-AAFC-C5CB07F698FC}"/>
                </a:ext>
              </a:extLst>
            </p:cNvPr>
            <p:cNvSpPr/>
            <p:nvPr/>
          </p:nvSpPr>
          <p:spPr>
            <a:xfrm>
              <a:off x="9176068" y="5184458"/>
              <a:ext cx="152400" cy="31750"/>
            </a:xfrm>
            <a:custGeom>
              <a:avLst/>
              <a:gdLst>
                <a:gd name="connsiteX0" fmla="*/ 134302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2 h 31750"/>
                <a:gd name="connsiteX5" fmla="*/ 134302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2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2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2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907" y="12383"/>
                    <a:pt x="142557" y="18733"/>
                    <a:pt x="134302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4" name="任意多边形: 形状 9873">
              <a:extLst>
                <a:ext uri="{FF2B5EF4-FFF2-40B4-BE49-F238E27FC236}">
                  <a16:creationId xmlns:a16="http://schemas.microsoft.com/office/drawing/2014/main" id="{E4A9C4D5-F9E2-418D-9813-1777C7B02030}"/>
                </a:ext>
              </a:extLst>
            </p:cNvPr>
            <p:cNvSpPr/>
            <p:nvPr/>
          </p:nvSpPr>
          <p:spPr>
            <a:xfrm>
              <a:off x="9176068" y="5044122"/>
              <a:ext cx="152400" cy="158750"/>
            </a:xfrm>
            <a:custGeom>
              <a:avLst/>
              <a:gdLst>
                <a:gd name="connsiteX0" fmla="*/ 148907 w 152400"/>
                <a:gd name="connsiteY0" fmla="*/ 145098 h 158750"/>
                <a:gd name="connsiteX1" fmla="*/ 134938 w 152400"/>
                <a:gd name="connsiteY1" fmla="*/ 159068 h 158750"/>
                <a:gd name="connsiteX2" fmla="*/ 18732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907" y="145098"/>
                  </a:moveTo>
                  <a:cubicBezTo>
                    <a:pt x="148907" y="152718"/>
                    <a:pt x="142557" y="159068"/>
                    <a:pt x="134938" y="159068"/>
                  </a:cubicBezTo>
                  <a:lnTo>
                    <a:pt x="18732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5" name="任意多边形: 形状 9874">
              <a:extLst>
                <a:ext uri="{FF2B5EF4-FFF2-40B4-BE49-F238E27FC236}">
                  <a16:creationId xmlns:a16="http://schemas.microsoft.com/office/drawing/2014/main" id="{0639177D-4148-4778-AD17-E2F5E3F8B985}"/>
                </a:ext>
              </a:extLst>
            </p:cNvPr>
            <p:cNvSpPr/>
            <p:nvPr/>
          </p:nvSpPr>
          <p:spPr>
            <a:xfrm>
              <a:off x="9374188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6" name="任意多边形: 形状 9875">
              <a:extLst>
                <a:ext uri="{FF2B5EF4-FFF2-40B4-BE49-F238E27FC236}">
                  <a16:creationId xmlns:a16="http://schemas.microsoft.com/office/drawing/2014/main" id="{D90F94E7-A993-4F02-93CD-3510A96DE018}"/>
                </a:ext>
              </a:extLst>
            </p:cNvPr>
            <p:cNvSpPr/>
            <p:nvPr/>
          </p:nvSpPr>
          <p:spPr>
            <a:xfrm>
              <a:off x="9374188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8 h 158750"/>
                <a:gd name="connsiteX2" fmla="*/ 18732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3" y="159068"/>
                  </a:cubicBezTo>
                  <a:lnTo>
                    <a:pt x="18732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7" name="任意多边形: 形状 9876">
              <a:extLst>
                <a:ext uri="{FF2B5EF4-FFF2-40B4-BE49-F238E27FC236}">
                  <a16:creationId xmlns:a16="http://schemas.microsoft.com/office/drawing/2014/main" id="{90C66110-9C7E-441E-83FA-974147C469C6}"/>
                </a:ext>
              </a:extLst>
            </p:cNvPr>
            <p:cNvSpPr/>
            <p:nvPr/>
          </p:nvSpPr>
          <p:spPr>
            <a:xfrm>
              <a:off x="9571672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3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3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8" name="任意多边形: 形状 9877">
              <a:extLst>
                <a:ext uri="{FF2B5EF4-FFF2-40B4-BE49-F238E27FC236}">
                  <a16:creationId xmlns:a16="http://schemas.microsoft.com/office/drawing/2014/main" id="{36B901F1-36F4-4BFA-9BDD-DCD27FF96353}"/>
                </a:ext>
              </a:extLst>
            </p:cNvPr>
            <p:cNvSpPr/>
            <p:nvPr/>
          </p:nvSpPr>
          <p:spPr>
            <a:xfrm>
              <a:off x="9571672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8 h 158750"/>
                <a:gd name="connsiteX2" fmla="*/ 18733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3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3" y="159068"/>
                  </a:cubicBezTo>
                  <a:lnTo>
                    <a:pt x="18733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9" name="任意多边形: 形状 9878">
              <a:extLst>
                <a:ext uri="{FF2B5EF4-FFF2-40B4-BE49-F238E27FC236}">
                  <a16:creationId xmlns:a16="http://schemas.microsoft.com/office/drawing/2014/main" id="{87FF1FCE-A955-47F6-A87B-0FC5A7F72B1E}"/>
                </a:ext>
              </a:extLst>
            </p:cNvPr>
            <p:cNvSpPr/>
            <p:nvPr/>
          </p:nvSpPr>
          <p:spPr>
            <a:xfrm>
              <a:off x="9769157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3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3 w 152400"/>
                <a:gd name="connsiteY4" fmla="*/ 32702 h 31750"/>
                <a:gd name="connsiteX5" fmla="*/ 134303 w 152400"/>
                <a:gd name="connsiteY5" fmla="*/ 32702 h 31750"/>
                <a:gd name="connsiteX6" fmla="*/ 148273 w 152400"/>
                <a:gd name="connsiteY6" fmla="*/ 18733 h 31750"/>
                <a:gd name="connsiteX7" fmla="*/ 148273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3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3" y="32702"/>
                  </a:cubicBezTo>
                  <a:lnTo>
                    <a:pt x="134303" y="32702"/>
                  </a:lnTo>
                  <a:cubicBezTo>
                    <a:pt x="141923" y="32702"/>
                    <a:pt x="148273" y="26352"/>
                    <a:pt x="148273" y="18733"/>
                  </a:cubicBezTo>
                  <a:lnTo>
                    <a:pt x="148273" y="4763"/>
                  </a:lnTo>
                  <a:cubicBezTo>
                    <a:pt x="148908" y="12383"/>
                    <a:pt x="142558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0" name="任意多边形: 形状 9879">
              <a:extLst>
                <a:ext uri="{FF2B5EF4-FFF2-40B4-BE49-F238E27FC236}">
                  <a16:creationId xmlns:a16="http://schemas.microsoft.com/office/drawing/2014/main" id="{52ADDB94-6E82-49EC-B2F4-2A0973669E9F}"/>
                </a:ext>
              </a:extLst>
            </p:cNvPr>
            <p:cNvSpPr/>
            <p:nvPr/>
          </p:nvSpPr>
          <p:spPr>
            <a:xfrm>
              <a:off x="9769793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2 w 152400"/>
                <a:gd name="connsiteY1" fmla="*/ 159068 h 158750"/>
                <a:gd name="connsiteX2" fmla="*/ 18732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2" y="159068"/>
                  </a:cubicBezTo>
                  <a:lnTo>
                    <a:pt x="18732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1" name="任意多边形: 形状 9880">
              <a:extLst>
                <a:ext uri="{FF2B5EF4-FFF2-40B4-BE49-F238E27FC236}">
                  <a16:creationId xmlns:a16="http://schemas.microsoft.com/office/drawing/2014/main" id="{0B4A38A6-7C5B-4075-A531-78C5A10BDE05}"/>
                </a:ext>
              </a:extLst>
            </p:cNvPr>
            <p:cNvSpPr/>
            <p:nvPr/>
          </p:nvSpPr>
          <p:spPr>
            <a:xfrm>
              <a:off x="9967278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2" name="任意多边形: 形状 9881">
              <a:extLst>
                <a:ext uri="{FF2B5EF4-FFF2-40B4-BE49-F238E27FC236}">
                  <a16:creationId xmlns:a16="http://schemas.microsoft.com/office/drawing/2014/main" id="{8614706B-0304-4B7B-8CA9-80D111F8BC21}"/>
                </a:ext>
              </a:extLst>
            </p:cNvPr>
            <p:cNvSpPr/>
            <p:nvPr/>
          </p:nvSpPr>
          <p:spPr>
            <a:xfrm>
              <a:off x="9967278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8 h 158750"/>
                <a:gd name="connsiteX2" fmla="*/ 18732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3" y="159068"/>
                  </a:cubicBezTo>
                  <a:lnTo>
                    <a:pt x="18732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3" name="任意多边形: 形状 9882">
              <a:extLst>
                <a:ext uri="{FF2B5EF4-FFF2-40B4-BE49-F238E27FC236}">
                  <a16:creationId xmlns:a16="http://schemas.microsoft.com/office/drawing/2014/main" id="{A883FAC9-1852-469E-A7AF-5C32CCCABFD3}"/>
                </a:ext>
              </a:extLst>
            </p:cNvPr>
            <p:cNvSpPr/>
            <p:nvPr/>
          </p:nvSpPr>
          <p:spPr>
            <a:xfrm>
              <a:off x="10164763" y="5184458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2 h 31750"/>
                <a:gd name="connsiteX5" fmla="*/ 134303 w 152400"/>
                <a:gd name="connsiteY5" fmla="*/ 32702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2"/>
                    <a:pt x="11113" y="32702"/>
                    <a:pt x="18732" y="32702"/>
                  </a:cubicBezTo>
                  <a:lnTo>
                    <a:pt x="134303" y="32702"/>
                  </a:lnTo>
                  <a:cubicBezTo>
                    <a:pt x="141922" y="32702"/>
                    <a:pt x="148272" y="26352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4" name="任意多边形: 形状 9883">
              <a:extLst>
                <a:ext uri="{FF2B5EF4-FFF2-40B4-BE49-F238E27FC236}">
                  <a16:creationId xmlns:a16="http://schemas.microsoft.com/office/drawing/2014/main" id="{F37A4AE8-AC54-47EA-8386-3726F2203133}"/>
                </a:ext>
              </a:extLst>
            </p:cNvPr>
            <p:cNvSpPr/>
            <p:nvPr/>
          </p:nvSpPr>
          <p:spPr>
            <a:xfrm>
              <a:off x="10164763" y="5044122"/>
              <a:ext cx="152400" cy="158750"/>
            </a:xfrm>
            <a:custGeom>
              <a:avLst/>
              <a:gdLst>
                <a:gd name="connsiteX0" fmla="*/ 148272 w 152400"/>
                <a:gd name="connsiteY0" fmla="*/ 145098 h 158750"/>
                <a:gd name="connsiteX1" fmla="*/ 134303 w 152400"/>
                <a:gd name="connsiteY1" fmla="*/ 159068 h 158750"/>
                <a:gd name="connsiteX2" fmla="*/ 18732 w 152400"/>
                <a:gd name="connsiteY2" fmla="*/ 159068 h 158750"/>
                <a:gd name="connsiteX3" fmla="*/ 4763 w 152400"/>
                <a:gd name="connsiteY3" fmla="*/ 145098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8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8"/>
                  </a:moveTo>
                  <a:cubicBezTo>
                    <a:pt x="148272" y="152718"/>
                    <a:pt x="141922" y="159068"/>
                    <a:pt x="134303" y="159068"/>
                  </a:cubicBezTo>
                  <a:lnTo>
                    <a:pt x="18732" y="159068"/>
                  </a:lnTo>
                  <a:cubicBezTo>
                    <a:pt x="11113" y="159068"/>
                    <a:pt x="4763" y="152718"/>
                    <a:pt x="4763" y="145098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8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5" name="任意多边形: 形状 9884">
              <a:extLst>
                <a:ext uri="{FF2B5EF4-FFF2-40B4-BE49-F238E27FC236}">
                  <a16:creationId xmlns:a16="http://schemas.microsoft.com/office/drawing/2014/main" id="{72BA57B5-5F99-4EF4-AA67-3EE02F172375}"/>
                </a:ext>
              </a:extLst>
            </p:cNvPr>
            <p:cNvSpPr/>
            <p:nvPr/>
          </p:nvSpPr>
          <p:spPr>
            <a:xfrm>
              <a:off x="8385493" y="5387022"/>
              <a:ext cx="152400" cy="31750"/>
            </a:xfrm>
            <a:custGeom>
              <a:avLst/>
              <a:gdLst>
                <a:gd name="connsiteX0" fmla="*/ 134302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3 h 31750"/>
                <a:gd name="connsiteX5" fmla="*/ 134302 w 152400"/>
                <a:gd name="connsiteY5" fmla="*/ 32703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2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2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3"/>
                    <a:pt x="11113" y="32703"/>
                    <a:pt x="18732" y="32703"/>
                  </a:cubicBezTo>
                  <a:lnTo>
                    <a:pt x="134302" y="32703"/>
                  </a:lnTo>
                  <a:cubicBezTo>
                    <a:pt x="141922" y="32703"/>
                    <a:pt x="148272" y="26353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2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6" name="任意多边形: 形状 9885">
              <a:extLst>
                <a:ext uri="{FF2B5EF4-FFF2-40B4-BE49-F238E27FC236}">
                  <a16:creationId xmlns:a16="http://schemas.microsoft.com/office/drawing/2014/main" id="{CD2CED20-4193-4070-A3C1-77F4D2D853B5}"/>
                </a:ext>
              </a:extLst>
            </p:cNvPr>
            <p:cNvSpPr/>
            <p:nvPr/>
          </p:nvSpPr>
          <p:spPr>
            <a:xfrm>
              <a:off x="8385493" y="5246688"/>
              <a:ext cx="152400" cy="158750"/>
            </a:xfrm>
            <a:custGeom>
              <a:avLst/>
              <a:gdLst>
                <a:gd name="connsiteX0" fmla="*/ 148272 w 152400"/>
                <a:gd name="connsiteY0" fmla="*/ 145097 h 158750"/>
                <a:gd name="connsiteX1" fmla="*/ 134302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7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7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7"/>
                  </a:moveTo>
                  <a:cubicBezTo>
                    <a:pt x="148272" y="152717"/>
                    <a:pt x="141922" y="159067"/>
                    <a:pt x="134302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7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7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7" name="任意多边形: 形状 9886">
              <a:extLst>
                <a:ext uri="{FF2B5EF4-FFF2-40B4-BE49-F238E27FC236}">
                  <a16:creationId xmlns:a16="http://schemas.microsoft.com/office/drawing/2014/main" id="{3AFA8DD7-38B6-42D7-A7C6-B3B42D7A77F8}"/>
                </a:ext>
              </a:extLst>
            </p:cNvPr>
            <p:cNvSpPr/>
            <p:nvPr/>
          </p:nvSpPr>
          <p:spPr>
            <a:xfrm>
              <a:off x="8582978" y="5387022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3 h 31750"/>
                <a:gd name="connsiteX5" fmla="*/ 134303 w 152400"/>
                <a:gd name="connsiteY5" fmla="*/ 32703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3"/>
                    <a:pt x="11113" y="32703"/>
                    <a:pt x="18732" y="32703"/>
                  </a:cubicBezTo>
                  <a:lnTo>
                    <a:pt x="134303" y="32703"/>
                  </a:lnTo>
                  <a:cubicBezTo>
                    <a:pt x="141922" y="32703"/>
                    <a:pt x="148272" y="26353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8" name="任意多边形: 形状 9887">
              <a:extLst>
                <a:ext uri="{FF2B5EF4-FFF2-40B4-BE49-F238E27FC236}">
                  <a16:creationId xmlns:a16="http://schemas.microsoft.com/office/drawing/2014/main" id="{21630D6B-6D0A-4889-8CE5-04E551930154}"/>
                </a:ext>
              </a:extLst>
            </p:cNvPr>
            <p:cNvSpPr/>
            <p:nvPr/>
          </p:nvSpPr>
          <p:spPr>
            <a:xfrm>
              <a:off x="8582978" y="5246688"/>
              <a:ext cx="152400" cy="158750"/>
            </a:xfrm>
            <a:custGeom>
              <a:avLst/>
              <a:gdLst>
                <a:gd name="connsiteX0" fmla="*/ 148272 w 152400"/>
                <a:gd name="connsiteY0" fmla="*/ 145097 h 158750"/>
                <a:gd name="connsiteX1" fmla="*/ 134303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7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7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7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7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7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9" name="任意多边形: 形状 9888">
              <a:extLst>
                <a:ext uri="{FF2B5EF4-FFF2-40B4-BE49-F238E27FC236}">
                  <a16:creationId xmlns:a16="http://schemas.microsoft.com/office/drawing/2014/main" id="{F9248592-AAEF-4A4D-9992-9559D8829A24}"/>
                </a:ext>
              </a:extLst>
            </p:cNvPr>
            <p:cNvSpPr/>
            <p:nvPr/>
          </p:nvSpPr>
          <p:spPr>
            <a:xfrm>
              <a:off x="8781097" y="5387022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3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3 w 152400"/>
                <a:gd name="connsiteY4" fmla="*/ 32703 h 31750"/>
                <a:gd name="connsiteX5" fmla="*/ 134303 w 152400"/>
                <a:gd name="connsiteY5" fmla="*/ 32703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3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3"/>
                    <a:pt x="11113" y="32703"/>
                    <a:pt x="18733" y="32703"/>
                  </a:cubicBezTo>
                  <a:lnTo>
                    <a:pt x="134303" y="32703"/>
                  </a:lnTo>
                  <a:cubicBezTo>
                    <a:pt x="141922" y="32703"/>
                    <a:pt x="148272" y="26353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0" name="任意多边形: 形状 9889">
              <a:extLst>
                <a:ext uri="{FF2B5EF4-FFF2-40B4-BE49-F238E27FC236}">
                  <a16:creationId xmlns:a16="http://schemas.microsoft.com/office/drawing/2014/main" id="{F1C6249D-2618-4CC4-B0D6-87CCA58F7A67}"/>
                </a:ext>
              </a:extLst>
            </p:cNvPr>
            <p:cNvSpPr/>
            <p:nvPr/>
          </p:nvSpPr>
          <p:spPr>
            <a:xfrm>
              <a:off x="8781097" y="5246688"/>
              <a:ext cx="152400" cy="158750"/>
            </a:xfrm>
            <a:custGeom>
              <a:avLst/>
              <a:gdLst>
                <a:gd name="connsiteX0" fmla="*/ 148272 w 152400"/>
                <a:gd name="connsiteY0" fmla="*/ 145097 h 158750"/>
                <a:gd name="connsiteX1" fmla="*/ 134303 w 152400"/>
                <a:gd name="connsiteY1" fmla="*/ 159067 h 158750"/>
                <a:gd name="connsiteX2" fmla="*/ 18733 w 152400"/>
                <a:gd name="connsiteY2" fmla="*/ 159067 h 158750"/>
                <a:gd name="connsiteX3" fmla="*/ 4763 w 152400"/>
                <a:gd name="connsiteY3" fmla="*/ 145097 h 158750"/>
                <a:gd name="connsiteX4" fmla="*/ 4763 w 152400"/>
                <a:gd name="connsiteY4" fmla="*/ 18733 h 158750"/>
                <a:gd name="connsiteX5" fmla="*/ 18733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7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7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3" y="159067"/>
                  </a:lnTo>
                  <a:cubicBezTo>
                    <a:pt x="11113" y="159067"/>
                    <a:pt x="4763" y="152717"/>
                    <a:pt x="4763" y="145097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7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1" name="任意多边形: 形状 9890">
              <a:extLst>
                <a:ext uri="{FF2B5EF4-FFF2-40B4-BE49-F238E27FC236}">
                  <a16:creationId xmlns:a16="http://schemas.microsoft.com/office/drawing/2014/main" id="{D35FFD7A-3B4B-446D-939C-A333AD99AB49}"/>
                </a:ext>
              </a:extLst>
            </p:cNvPr>
            <p:cNvSpPr/>
            <p:nvPr/>
          </p:nvSpPr>
          <p:spPr>
            <a:xfrm>
              <a:off x="9769157" y="5387022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3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3 w 152400"/>
                <a:gd name="connsiteY4" fmla="*/ 32703 h 31750"/>
                <a:gd name="connsiteX5" fmla="*/ 134303 w 152400"/>
                <a:gd name="connsiteY5" fmla="*/ 32703 h 31750"/>
                <a:gd name="connsiteX6" fmla="*/ 148273 w 152400"/>
                <a:gd name="connsiteY6" fmla="*/ 18733 h 31750"/>
                <a:gd name="connsiteX7" fmla="*/ 148273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3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3"/>
                    <a:pt x="11113" y="32703"/>
                    <a:pt x="18733" y="32703"/>
                  </a:cubicBezTo>
                  <a:lnTo>
                    <a:pt x="134303" y="32703"/>
                  </a:lnTo>
                  <a:cubicBezTo>
                    <a:pt x="141923" y="32703"/>
                    <a:pt x="148273" y="26353"/>
                    <a:pt x="148273" y="18733"/>
                  </a:cubicBezTo>
                  <a:lnTo>
                    <a:pt x="148273" y="4763"/>
                  </a:lnTo>
                  <a:cubicBezTo>
                    <a:pt x="148908" y="12383"/>
                    <a:pt x="142558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2" name="任意多边形: 形状 9891">
              <a:extLst>
                <a:ext uri="{FF2B5EF4-FFF2-40B4-BE49-F238E27FC236}">
                  <a16:creationId xmlns:a16="http://schemas.microsoft.com/office/drawing/2014/main" id="{3B57FD59-7666-43F1-8927-8A44EBE2F724}"/>
                </a:ext>
              </a:extLst>
            </p:cNvPr>
            <p:cNvSpPr/>
            <p:nvPr/>
          </p:nvSpPr>
          <p:spPr>
            <a:xfrm>
              <a:off x="9769793" y="5246688"/>
              <a:ext cx="152400" cy="158750"/>
            </a:xfrm>
            <a:custGeom>
              <a:avLst/>
              <a:gdLst>
                <a:gd name="connsiteX0" fmla="*/ 148272 w 152400"/>
                <a:gd name="connsiteY0" fmla="*/ 145097 h 158750"/>
                <a:gd name="connsiteX1" fmla="*/ 134302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7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2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7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7"/>
                  </a:moveTo>
                  <a:cubicBezTo>
                    <a:pt x="148272" y="152717"/>
                    <a:pt x="141922" y="159067"/>
                    <a:pt x="134302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7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2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7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3" name="任意多边形: 形状 9892">
              <a:extLst>
                <a:ext uri="{FF2B5EF4-FFF2-40B4-BE49-F238E27FC236}">
                  <a16:creationId xmlns:a16="http://schemas.microsoft.com/office/drawing/2014/main" id="{816DEDD6-9A43-4005-AE20-EE757EBF03A9}"/>
                </a:ext>
              </a:extLst>
            </p:cNvPr>
            <p:cNvSpPr/>
            <p:nvPr/>
          </p:nvSpPr>
          <p:spPr>
            <a:xfrm>
              <a:off x="9967278" y="5387022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3 h 31750"/>
                <a:gd name="connsiteX5" fmla="*/ 134303 w 152400"/>
                <a:gd name="connsiteY5" fmla="*/ 32703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3"/>
                    <a:pt x="11113" y="32703"/>
                    <a:pt x="18732" y="32703"/>
                  </a:cubicBezTo>
                  <a:lnTo>
                    <a:pt x="134303" y="32703"/>
                  </a:lnTo>
                  <a:cubicBezTo>
                    <a:pt x="141922" y="32703"/>
                    <a:pt x="148272" y="26353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>
              <a:extLst>
                <a:ext uri="{FF2B5EF4-FFF2-40B4-BE49-F238E27FC236}">
                  <a16:creationId xmlns:a16="http://schemas.microsoft.com/office/drawing/2014/main" id="{6EC4245C-13C9-47F7-8236-1CDEB3AEEC49}"/>
                </a:ext>
              </a:extLst>
            </p:cNvPr>
            <p:cNvSpPr/>
            <p:nvPr/>
          </p:nvSpPr>
          <p:spPr>
            <a:xfrm>
              <a:off x="9967278" y="5246688"/>
              <a:ext cx="152400" cy="158750"/>
            </a:xfrm>
            <a:custGeom>
              <a:avLst/>
              <a:gdLst>
                <a:gd name="connsiteX0" fmla="*/ 148272 w 152400"/>
                <a:gd name="connsiteY0" fmla="*/ 145097 h 158750"/>
                <a:gd name="connsiteX1" fmla="*/ 134303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7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7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7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7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7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>
              <a:extLst>
                <a:ext uri="{FF2B5EF4-FFF2-40B4-BE49-F238E27FC236}">
                  <a16:creationId xmlns:a16="http://schemas.microsoft.com/office/drawing/2014/main" id="{CEB9A8C8-EF7A-41A4-8BBB-627CA64C29A1}"/>
                </a:ext>
              </a:extLst>
            </p:cNvPr>
            <p:cNvSpPr/>
            <p:nvPr/>
          </p:nvSpPr>
          <p:spPr>
            <a:xfrm>
              <a:off x="10164763" y="5387022"/>
              <a:ext cx="152400" cy="31750"/>
            </a:xfrm>
            <a:custGeom>
              <a:avLst/>
              <a:gdLst>
                <a:gd name="connsiteX0" fmla="*/ 134303 w 152400"/>
                <a:gd name="connsiteY0" fmla="*/ 18733 h 31750"/>
                <a:gd name="connsiteX1" fmla="*/ 18732 w 152400"/>
                <a:gd name="connsiteY1" fmla="*/ 18733 h 31750"/>
                <a:gd name="connsiteX2" fmla="*/ 4763 w 152400"/>
                <a:gd name="connsiteY2" fmla="*/ 4763 h 31750"/>
                <a:gd name="connsiteX3" fmla="*/ 4763 w 152400"/>
                <a:gd name="connsiteY3" fmla="*/ 18733 h 31750"/>
                <a:gd name="connsiteX4" fmla="*/ 18732 w 152400"/>
                <a:gd name="connsiteY4" fmla="*/ 32703 h 31750"/>
                <a:gd name="connsiteX5" fmla="*/ 134303 w 152400"/>
                <a:gd name="connsiteY5" fmla="*/ 32703 h 31750"/>
                <a:gd name="connsiteX6" fmla="*/ 148272 w 152400"/>
                <a:gd name="connsiteY6" fmla="*/ 18733 h 31750"/>
                <a:gd name="connsiteX7" fmla="*/ 148272 w 152400"/>
                <a:gd name="connsiteY7" fmla="*/ 4763 h 31750"/>
                <a:gd name="connsiteX8" fmla="*/ 134303 w 15240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31750">
                  <a:moveTo>
                    <a:pt x="134303" y="18733"/>
                  </a:moveTo>
                  <a:lnTo>
                    <a:pt x="18732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3"/>
                    <a:pt x="11113" y="32703"/>
                    <a:pt x="18732" y="32703"/>
                  </a:cubicBezTo>
                  <a:lnTo>
                    <a:pt x="134303" y="32703"/>
                  </a:lnTo>
                  <a:cubicBezTo>
                    <a:pt x="141922" y="32703"/>
                    <a:pt x="148272" y="26353"/>
                    <a:pt x="148272" y="18733"/>
                  </a:cubicBezTo>
                  <a:lnTo>
                    <a:pt x="148272" y="4763"/>
                  </a:lnTo>
                  <a:cubicBezTo>
                    <a:pt x="148272" y="12383"/>
                    <a:pt x="141922" y="18733"/>
                    <a:pt x="13430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>
              <a:extLst>
                <a:ext uri="{FF2B5EF4-FFF2-40B4-BE49-F238E27FC236}">
                  <a16:creationId xmlns:a16="http://schemas.microsoft.com/office/drawing/2014/main" id="{4CC2B667-F700-4918-99F1-E8521CC26366}"/>
                </a:ext>
              </a:extLst>
            </p:cNvPr>
            <p:cNvSpPr/>
            <p:nvPr/>
          </p:nvSpPr>
          <p:spPr>
            <a:xfrm>
              <a:off x="10164763" y="5246688"/>
              <a:ext cx="152400" cy="158750"/>
            </a:xfrm>
            <a:custGeom>
              <a:avLst/>
              <a:gdLst>
                <a:gd name="connsiteX0" fmla="*/ 148272 w 152400"/>
                <a:gd name="connsiteY0" fmla="*/ 145097 h 158750"/>
                <a:gd name="connsiteX1" fmla="*/ 134303 w 152400"/>
                <a:gd name="connsiteY1" fmla="*/ 159067 h 158750"/>
                <a:gd name="connsiteX2" fmla="*/ 18732 w 152400"/>
                <a:gd name="connsiteY2" fmla="*/ 159067 h 158750"/>
                <a:gd name="connsiteX3" fmla="*/ 4763 w 152400"/>
                <a:gd name="connsiteY3" fmla="*/ 145097 h 158750"/>
                <a:gd name="connsiteX4" fmla="*/ 4763 w 152400"/>
                <a:gd name="connsiteY4" fmla="*/ 18733 h 158750"/>
                <a:gd name="connsiteX5" fmla="*/ 18732 w 152400"/>
                <a:gd name="connsiteY5" fmla="*/ 4763 h 158750"/>
                <a:gd name="connsiteX6" fmla="*/ 134303 w 152400"/>
                <a:gd name="connsiteY6" fmla="*/ 4763 h 158750"/>
                <a:gd name="connsiteX7" fmla="*/ 148272 w 152400"/>
                <a:gd name="connsiteY7" fmla="*/ 18733 h 158750"/>
                <a:gd name="connsiteX8" fmla="*/ 148272 w 152400"/>
                <a:gd name="connsiteY8" fmla="*/ 145097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58750">
                  <a:moveTo>
                    <a:pt x="148272" y="145097"/>
                  </a:moveTo>
                  <a:cubicBezTo>
                    <a:pt x="148272" y="152717"/>
                    <a:pt x="141922" y="159067"/>
                    <a:pt x="134303" y="159067"/>
                  </a:cubicBezTo>
                  <a:lnTo>
                    <a:pt x="18732" y="159067"/>
                  </a:lnTo>
                  <a:cubicBezTo>
                    <a:pt x="11113" y="159067"/>
                    <a:pt x="4763" y="152717"/>
                    <a:pt x="4763" y="145097"/>
                  </a:cubicBezTo>
                  <a:lnTo>
                    <a:pt x="4763" y="18733"/>
                  </a:lnTo>
                  <a:cubicBezTo>
                    <a:pt x="4763" y="11113"/>
                    <a:pt x="11113" y="4763"/>
                    <a:pt x="18732" y="4763"/>
                  </a:cubicBezTo>
                  <a:lnTo>
                    <a:pt x="134303" y="4763"/>
                  </a:lnTo>
                  <a:cubicBezTo>
                    <a:pt x="141922" y="4763"/>
                    <a:pt x="148272" y="11113"/>
                    <a:pt x="148272" y="18733"/>
                  </a:cubicBezTo>
                  <a:lnTo>
                    <a:pt x="148272" y="145097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>
              <a:extLst>
                <a:ext uri="{FF2B5EF4-FFF2-40B4-BE49-F238E27FC236}">
                  <a16:creationId xmlns:a16="http://schemas.microsoft.com/office/drawing/2014/main" id="{0806BAEA-23D4-49E4-8C7B-267561D9D76D}"/>
                </a:ext>
              </a:extLst>
            </p:cNvPr>
            <p:cNvSpPr/>
            <p:nvPr/>
          </p:nvSpPr>
          <p:spPr>
            <a:xfrm>
              <a:off x="8974772" y="5378767"/>
              <a:ext cx="755650" cy="31750"/>
            </a:xfrm>
            <a:custGeom>
              <a:avLst/>
              <a:gdLst>
                <a:gd name="connsiteX0" fmla="*/ 737553 w 755650"/>
                <a:gd name="connsiteY0" fmla="*/ 18733 h 31750"/>
                <a:gd name="connsiteX1" fmla="*/ 18733 w 755650"/>
                <a:gd name="connsiteY1" fmla="*/ 18733 h 31750"/>
                <a:gd name="connsiteX2" fmla="*/ 4763 w 755650"/>
                <a:gd name="connsiteY2" fmla="*/ 4763 h 31750"/>
                <a:gd name="connsiteX3" fmla="*/ 4763 w 755650"/>
                <a:gd name="connsiteY3" fmla="*/ 18733 h 31750"/>
                <a:gd name="connsiteX4" fmla="*/ 18733 w 755650"/>
                <a:gd name="connsiteY4" fmla="*/ 32703 h 31750"/>
                <a:gd name="connsiteX5" fmla="*/ 737553 w 755650"/>
                <a:gd name="connsiteY5" fmla="*/ 32703 h 31750"/>
                <a:gd name="connsiteX6" fmla="*/ 751522 w 755650"/>
                <a:gd name="connsiteY6" fmla="*/ 18733 h 31750"/>
                <a:gd name="connsiteX7" fmla="*/ 751522 w 755650"/>
                <a:gd name="connsiteY7" fmla="*/ 4763 h 31750"/>
                <a:gd name="connsiteX8" fmla="*/ 737553 w 755650"/>
                <a:gd name="connsiteY8" fmla="*/ 18733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5650" h="31750">
                  <a:moveTo>
                    <a:pt x="737553" y="18733"/>
                  </a:moveTo>
                  <a:lnTo>
                    <a:pt x="18733" y="18733"/>
                  </a:lnTo>
                  <a:cubicBezTo>
                    <a:pt x="11113" y="18733"/>
                    <a:pt x="4763" y="12383"/>
                    <a:pt x="4763" y="4763"/>
                  </a:cubicBezTo>
                  <a:lnTo>
                    <a:pt x="4763" y="18733"/>
                  </a:lnTo>
                  <a:cubicBezTo>
                    <a:pt x="4763" y="26353"/>
                    <a:pt x="11113" y="32703"/>
                    <a:pt x="18733" y="32703"/>
                  </a:cubicBezTo>
                  <a:lnTo>
                    <a:pt x="737553" y="32703"/>
                  </a:lnTo>
                  <a:cubicBezTo>
                    <a:pt x="745172" y="32703"/>
                    <a:pt x="751522" y="26353"/>
                    <a:pt x="751522" y="18733"/>
                  </a:cubicBezTo>
                  <a:lnTo>
                    <a:pt x="751522" y="4763"/>
                  </a:lnTo>
                  <a:cubicBezTo>
                    <a:pt x="752158" y="12383"/>
                    <a:pt x="745808" y="18733"/>
                    <a:pt x="737553" y="18733"/>
                  </a:cubicBezTo>
                  <a:close/>
                </a:path>
              </a:pathLst>
            </a:custGeom>
            <a:solidFill>
              <a:srgbClr val="A5A7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>
              <a:extLst>
                <a:ext uri="{FF2B5EF4-FFF2-40B4-BE49-F238E27FC236}">
                  <a16:creationId xmlns:a16="http://schemas.microsoft.com/office/drawing/2014/main" id="{5FAE5BB3-8D24-47B2-89A9-FA715956CC45}"/>
                </a:ext>
              </a:extLst>
            </p:cNvPr>
            <p:cNvSpPr/>
            <p:nvPr/>
          </p:nvSpPr>
          <p:spPr>
            <a:xfrm>
              <a:off x="8975407" y="5242878"/>
              <a:ext cx="755650" cy="158750"/>
            </a:xfrm>
            <a:custGeom>
              <a:avLst/>
              <a:gdLst>
                <a:gd name="connsiteX0" fmla="*/ 751523 w 755650"/>
                <a:gd name="connsiteY0" fmla="*/ 140652 h 158750"/>
                <a:gd name="connsiteX1" fmla="*/ 737553 w 755650"/>
                <a:gd name="connsiteY1" fmla="*/ 154622 h 158750"/>
                <a:gd name="connsiteX2" fmla="*/ 18733 w 755650"/>
                <a:gd name="connsiteY2" fmla="*/ 154622 h 158750"/>
                <a:gd name="connsiteX3" fmla="*/ 4763 w 755650"/>
                <a:gd name="connsiteY3" fmla="*/ 140652 h 158750"/>
                <a:gd name="connsiteX4" fmla="*/ 4763 w 755650"/>
                <a:gd name="connsiteY4" fmla="*/ 18732 h 158750"/>
                <a:gd name="connsiteX5" fmla="*/ 18733 w 755650"/>
                <a:gd name="connsiteY5" fmla="*/ 4763 h 158750"/>
                <a:gd name="connsiteX6" fmla="*/ 737553 w 755650"/>
                <a:gd name="connsiteY6" fmla="*/ 4763 h 158750"/>
                <a:gd name="connsiteX7" fmla="*/ 751523 w 755650"/>
                <a:gd name="connsiteY7" fmla="*/ 18732 h 158750"/>
                <a:gd name="connsiteX8" fmla="*/ 751523 w 755650"/>
                <a:gd name="connsiteY8" fmla="*/ 14065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5650" h="158750">
                  <a:moveTo>
                    <a:pt x="751523" y="140652"/>
                  </a:moveTo>
                  <a:cubicBezTo>
                    <a:pt x="751523" y="148272"/>
                    <a:pt x="745173" y="154622"/>
                    <a:pt x="737553" y="154622"/>
                  </a:cubicBezTo>
                  <a:lnTo>
                    <a:pt x="18733" y="154622"/>
                  </a:lnTo>
                  <a:cubicBezTo>
                    <a:pt x="11113" y="154622"/>
                    <a:pt x="4763" y="148272"/>
                    <a:pt x="4763" y="140652"/>
                  </a:cubicBezTo>
                  <a:lnTo>
                    <a:pt x="4763" y="18732"/>
                  </a:lnTo>
                  <a:cubicBezTo>
                    <a:pt x="4763" y="11113"/>
                    <a:pt x="11113" y="4763"/>
                    <a:pt x="18733" y="4763"/>
                  </a:cubicBezTo>
                  <a:lnTo>
                    <a:pt x="737553" y="4763"/>
                  </a:lnTo>
                  <a:cubicBezTo>
                    <a:pt x="745173" y="4763"/>
                    <a:pt x="751523" y="11113"/>
                    <a:pt x="751523" y="18732"/>
                  </a:cubicBezTo>
                  <a:lnTo>
                    <a:pt x="751523" y="140652"/>
                  </a:lnTo>
                  <a:close/>
                </a:path>
              </a:pathLst>
            </a:custGeom>
            <a:solidFill>
              <a:srgbClr val="D2D3D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>
              <a:extLst>
                <a:ext uri="{FF2B5EF4-FFF2-40B4-BE49-F238E27FC236}">
                  <a16:creationId xmlns:a16="http://schemas.microsoft.com/office/drawing/2014/main" id="{83B86662-8B09-40D0-9EA3-3AAA61416464}"/>
                </a:ext>
              </a:extLst>
            </p:cNvPr>
            <p:cNvSpPr/>
            <p:nvPr/>
          </p:nvSpPr>
          <p:spPr>
            <a:xfrm>
              <a:off x="8815388" y="3873183"/>
              <a:ext cx="812800" cy="869950"/>
            </a:xfrm>
            <a:custGeom>
              <a:avLst/>
              <a:gdLst>
                <a:gd name="connsiteX0" fmla="*/ 800418 w 812800"/>
                <a:gd name="connsiteY0" fmla="*/ 4763 h 869950"/>
                <a:gd name="connsiteX1" fmla="*/ 214947 w 812800"/>
                <a:gd name="connsiteY1" fmla="*/ 4763 h 869950"/>
                <a:gd name="connsiteX2" fmla="*/ 135572 w 812800"/>
                <a:gd name="connsiteY2" fmla="*/ 97472 h 869950"/>
                <a:gd name="connsiteX3" fmla="*/ 209232 w 812800"/>
                <a:gd name="connsiteY3" fmla="*/ 203517 h 869950"/>
                <a:gd name="connsiteX4" fmla="*/ 282893 w 812800"/>
                <a:gd name="connsiteY4" fmla="*/ 203517 h 869950"/>
                <a:gd name="connsiteX5" fmla="*/ 333693 w 812800"/>
                <a:gd name="connsiteY5" fmla="*/ 294322 h 869950"/>
                <a:gd name="connsiteX6" fmla="*/ 240982 w 812800"/>
                <a:gd name="connsiteY6" fmla="*/ 367983 h 869950"/>
                <a:gd name="connsiteX7" fmla="*/ 82232 w 812800"/>
                <a:gd name="connsiteY7" fmla="*/ 367983 h 869950"/>
                <a:gd name="connsiteX8" fmla="*/ 6668 w 812800"/>
                <a:gd name="connsiteY8" fmla="*/ 445452 h 869950"/>
                <a:gd name="connsiteX9" fmla="*/ 4763 w 812800"/>
                <a:gd name="connsiteY9" fmla="*/ 585152 h 869950"/>
                <a:gd name="connsiteX10" fmla="*/ 86043 w 812800"/>
                <a:gd name="connsiteY10" fmla="*/ 660717 h 869950"/>
                <a:gd name="connsiteX11" fmla="*/ 529907 w 812800"/>
                <a:gd name="connsiteY11" fmla="*/ 662622 h 869950"/>
                <a:gd name="connsiteX12" fmla="*/ 584518 w 812800"/>
                <a:gd name="connsiteY12" fmla="*/ 728663 h 869950"/>
                <a:gd name="connsiteX13" fmla="*/ 584518 w 812800"/>
                <a:gd name="connsiteY13" fmla="*/ 870267 h 869950"/>
                <a:gd name="connsiteX14" fmla="*/ 618807 w 812800"/>
                <a:gd name="connsiteY14" fmla="*/ 870267 h 869950"/>
                <a:gd name="connsiteX15" fmla="*/ 618807 w 812800"/>
                <a:gd name="connsiteY15" fmla="*/ 717233 h 869950"/>
                <a:gd name="connsiteX16" fmla="*/ 541338 w 812800"/>
                <a:gd name="connsiteY16" fmla="*/ 630238 h 869950"/>
                <a:gd name="connsiteX17" fmla="*/ 91757 w 812800"/>
                <a:gd name="connsiteY17" fmla="*/ 628333 h 869950"/>
                <a:gd name="connsiteX18" fmla="*/ 39053 w 812800"/>
                <a:gd name="connsiteY18" fmla="*/ 571817 h 869950"/>
                <a:gd name="connsiteX19" fmla="*/ 39053 w 812800"/>
                <a:gd name="connsiteY19" fmla="*/ 454977 h 869950"/>
                <a:gd name="connsiteX20" fmla="*/ 99378 w 812800"/>
                <a:gd name="connsiteY20" fmla="*/ 402272 h 869950"/>
                <a:gd name="connsiteX21" fmla="*/ 282893 w 812800"/>
                <a:gd name="connsiteY21" fmla="*/ 398463 h 869950"/>
                <a:gd name="connsiteX22" fmla="*/ 364172 w 812800"/>
                <a:gd name="connsiteY22" fmla="*/ 326708 h 869950"/>
                <a:gd name="connsiteX23" fmla="*/ 366078 w 812800"/>
                <a:gd name="connsiteY23" fmla="*/ 249238 h 869950"/>
                <a:gd name="connsiteX24" fmla="*/ 288607 w 812800"/>
                <a:gd name="connsiteY24" fmla="*/ 171767 h 869950"/>
                <a:gd name="connsiteX25" fmla="*/ 214947 w 812800"/>
                <a:gd name="connsiteY25" fmla="*/ 169863 h 869950"/>
                <a:gd name="connsiteX26" fmla="*/ 169863 w 812800"/>
                <a:gd name="connsiteY26" fmla="*/ 105727 h 869950"/>
                <a:gd name="connsiteX27" fmla="*/ 214947 w 812800"/>
                <a:gd name="connsiteY27" fmla="*/ 39052 h 869950"/>
                <a:gd name="connsiteX28" fmla="*/ 811847 w 812800"/>
                <a:gd name="connsiteY28" fmla="*/ 37783 h 869950"/>
                <a:gd name="connsiteX29" fmla="*/ 800418 w 812800"/>
                <a:gd name="connsiteY29" fmla="*/ 4763 h 86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12800" h="869950">
                  <a:moveTo>
                    <a:pt x="800418" y="4763"/>
                  </a:moveTo>
                  <a:lnTo>
                    <a:pt x="214947" y="4763"/>
                  </a:lnTo>
                  <a:cubicBezTo>
                    <a:pt x="214947" y="4763"/>
                    <a:pt x="135572" y="23813"/>
                    <a:pt x="135572" y="97472"/>
                  </a:cubicBezTo>
                  <a:cubicBezTo>
                    <a:pt x="135572" y="171133"/>
                    <a:pt x="178753" y="203517"/>
                    <a:pt x="209232" y="203517"/>
                  </a:cubicBezTo>
                  <a:cubicBezTo>
                    <a:pt x="239713" y="203517"/>
                    <a:pt x="282893" y="203517"/>
                    <a:pt x="282893" y="203517"/>
                  </a:cubicBezTo>
                  <a:cubicBezTo>
                    <a:pt x="282893" y="203517"/>
                    <a:pt x="333693" y="214947"/>
                    <a:pt x="333693" y="294322"/>
                  </a:cubicBezTo>
                  <a:cubicBezTo>
                    <a:pt x="333693" y="373697"/>
                    <a:pt x="240982" y="367983"/>
                    <a:pt x="240982" y="367983"/>
                  </a:cubicBezTo>
                  <a:lnTo>
                    <a:pt x="82232" y="367983"/>
                  </a:lnTo>
                  <a:cubicBezTo>
                    <a:pt x="82232" y="367983"/>
                    <a:pt x="21907" y="377508"/>
                    <a:pt x="6668" y="445452"/>
                  </a:cubicBezTo>
                  <a:lnTo>
                    <a:pt x="4763" y="585152"/>
                  </a:lnTo>
                  <a:cubicBezTo>
                    <a:pt x="4763" y="585152"/>
                    <a:pt x="18097" y="647383"/>
                    <a:pt x="86043" y="660717"/>
                  </a:cubicBezTo>
                  <a:lnTo>
                    <a:pt x="529907" y="662622"/>
                  </a:lnTo>
                  <a:cubicBezTo>
                    <a:pt x="529907" y="662622"/>
                    <a:pt x="584518" y="668338"/>
                    <a:pt x="584518" y="728663"/>
                  </a:cubicBezTo>
                  <a:cubicBezTo>
                    <a:pt x="584518" y="788988"/>
                    <a:pt x="584518" y="870267"/>
                    <a:pt x="584518" y="870267"/>
                  </a:cubicBezTo>
                  <a:lnTo>
                    <a:pt x="618807" y="870267"/>
                  </a:lnTo>
                  <a:lnTo>
                    <a:pt x="618807" y="717233"/>
                  </a:lnTo>
                  <a:cubicBezTo>
                    <a:pt x="618807" y="717233"/>
                    <a:pt x="614997" y="653097"/>
                    <a:pt x="541338" y="630238"/>
                  </a:cubicBezTo>
                  <a:lnTo>
                    <a:pt x="91757" y="628333"/>
                  </a:lnTo>
                  <a:cubicBezTo>
                    <a:pt x="91757" y="628333"/>
                    <a:pt x="39053" y="611188"/>
                    <a:pt x="39053" y="571817"/>
                  </a:cubicBezTo>
                  <a:lnTo>
                    <a:pt x="39053" y="454977"/>
                  </a:lnTo>
                  <a:cubicBezTo>
                    <a:pt x="39053" y="454977"/>
                    <a:pt x="48578" y="402272"/>
                    <a:pt x="99378" y="402272"/>
                  </a:cubicBezTo>
                  <a:lnTo>
                    <a:pt x="282893" y="398463"/>
                  </a:lnTo>
                  <a:cubicBezTo>
                    <a:pt x="282893" y="398463"/>
                    <a:pt x="343218" y="400367"/>
                    <a:pt x="364172" y="326708"/>
                  </a:cubicBezTo>
                  <a:lnTo>
                    <a:pt x="366078" y="249238"/>
                  </a:lnTo>
                  <a:cubicBezTo>
                    <a:pt x="366078" y="249238"/>
                    <a:pt x="350838" y="187008"/>
                    <a:pt x="288607" y="171767"/>
                  </a:cubicBezTo>
                  <a:lnTo>
                    <a:pt x="214947" y="169863"/>
                  </a:lnTo>
                  <a:cubicBezTo>
                    <a:pt x="214947" y="169863"/>
                    <a:pt x="167957" y="156527"/>
                    <a:pt x="169863" y="105727"/>
                  </a:cubicBezTo>
                  <a:cubicBezTo>
                    <a:pt x="169863" y="105727"/>
                    <a:pt x="166053" y="54292"/>
                    <a:pt x="214947" y="39052"/>
                  </a:cubicBezTo>
                  <a:lnTo>
                    <a:pt x="811847" y="37783"/>
                  </a:lnTo>
                  <a:lnTo>
                    <a:pt x="800418" y="4763"/>
                  </a:lnTo>
                  <a:close/>
                </a:path>
              </a:pathLst>
            </a:custGeom>
            <a:solidFill>
              <a:srgbClr val="FE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>
              <a:extLst>
                <a:ext uri="{FF2B5EF4-FFF2-40B4-BE49-F238E27FC236}">
                  <a16:creationId xmlns:a16="http://schemas.microsoft.com/office/drawing/2014/main" id="{529FC772-3738-4B0E-BD6B-D9B743A1AEC8}"/>
                </a:ext>
              </a:extLst>
            </p:cNvPr>
            <p:cNvSpPr/>
            <p:nvPr/>
          </p:nvSpPr>
          <p:spPr>
            <a:xfrm>
              <a:off x="8120697" y="2462213"/>
              <a:ext cx="2374900" cy="1530350"/>
            </a:xfrm>
            <a:custGeom>
              <a:avLst/>
              <a:gdLst>
                <a:gd name="connsiteX0" fmla="*/ 2375853 w 2374900"/>
                <a:gd name="connsiteY0" fmla="*/ 1444942 h 1530350"/>
                <a:gd name="connsiteX1" fmla="*/ 2292033 w 2374900"/>
                <a:gd name="connsiteY1" fmla="*/ 1529397 h 1530350"/>
                <a:gd name="connsiteX2" fmla="*/ 89218 w 2374900"/>
                <a:gd name="connsiteY2" fmla="*/ 1529397 h 1530350"/>
                <a:gd name="connsiteX3" fmla="*/ 4763 w 2374900"/>
                <a:gd name="connsiteY3" fmla="*/ 1444942 h 1530350"/>
                <a:gd name="connsiteX4" fmla="*/ 4763 w 2374900"/>
                <a:gd name="connsiteY4" fmla="*/ 88583 h 1530350"/>
                <a:gd name="connsiteX5" fmla="*/ 89218 w 2374900"/>
                <a:gd name="connsiteY5" fmla="*/ 4763 h 1530350"/>
                <a:gd name="connsiteX6" fmla="*/ 2292033 w 2374900"/>
                <a:gd name="connsiteY6" fmla="*/ 4763 h 1530350"/>
                <a:gd name="connsiteX7" fmla="*/ 2375853 w 2374900"/>
                <a:gd name="connsiteY7" fmla="*/ 88583 h 1530350"/>
                <a:gd name="connsiteX8" fmla="*/ 2375853 w 2374900"/>
                <a:gd name="connsiteY8" fmla="*/ 1444942 h 15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74900" h="1530350">
                  <a:moveTo>
                    <a:pt x="2375853" y="1444942"/>
                  </a:moveTo>
                  <a:cubicBezTo>
                    <a:pt x="2375853" y="1491297"/>
                    <a:pt x="2337753" y="1529397"/>
                    <a:pt x="2292033" y="1529397"/>
                  </a:cubicBezTo>
                  <a:lnTo>
                    <a:pt x="89218" y="1529397"/>
                  </a:lnTo>
                  <a:cubicBezTo>
                    <a:pt x="42863" y="1529397"/>
                    <a:pt x="4763" y="1491297"/>
                    <a:pt x="4763" y="1444942"/>
                  </a:cubicBezTo>
                  <a:lnTo>
                    <a:pt x="4763" y="88583"/>
                  </a:lnTo>
                  <a:cubicBezTo>
                    <a:pt x="4763" y="42227"/>
                    <a:pt x="42863" y="4763"/>
                    <a:pt x="89218" y="4763"/>
                  </a:cubicBezTo>
                  <a:lnTo>
                    <a:pt x="2292033" y="4763"/>
                  </a:lnTo>
                  <a:cubicBezTo>
                    <a:pt x="2338388" y="4763"/>
                    <a:pt x="2375853" y="42863"/>
                    <a:pt x="2375853" y="88583"/>
                  </a:cubicBezTo>
                  <a:lnTo>
                    <a:pt x="2375853" y="1444942"/>
                  </a:lnTo>
                  <a:close/>
                </a:path>
              </a:pathLst>
            </a:custGeom>
            <a:solidFill>
              <a:srgbClr val="4150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>
              <a:extLst>
                <a:ext uri="{FF2B5EF4-FFF2-40B4-BE49-F238E27FC236}">
                  <a16:creationId xmlns:a16="http://schemas.microsoft.com/office/drawing/2014/main" id="{88631AD3-FA67-4224-B256-B1322045BB07}"/>
                </a:ext>
              </a:extLst>
            </p:cNvPr>
            <p:cNvSpPr/>
            <p:nvPr/>
          </p:nvSpPr>
          <p:spPr>
            <a:xfrm>
              <a:off x="9176068" y="2461578"/>
              <a:ext cx="247650" cy="1530350"/>
            </a:xfrm>
            <a:custGeom>
              <a:avLst/>
              <a:gdLst>
                <a:gd name="connsiteX0" fmla="*/ 4763 w 247650"/>
                <a:gd name="connsiteY0" fmla="*/ 4762 h 1530350"/>
                <a:gd name="connsiteX1" fmla="*/ 246698 w 247650"/>
                <a:gd name="connsiteY1" fmla="*/ 4762 h 1530350"/>
                <a:gd name="connsiteX2" fmla="*/ 246698 w 247650"/>
                <a:gd name="connsiteY2" fmla="*/ 1529398 h 1530350"/>
                <a:gd name="connsiteX3" fmla="*/ 4763 w 247650"/>
                <a:gd name="connsiteY3" fmla="*/ 1529398 h 153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1530350">
                  <a:moveTo>
                    <a:pt x="4763" y="4762"/>
                  </a:moveTo>
                  <a:lnTo>
                    <a:pt x="246698" y="4762"/>
                  </a:lnTo>
                  <a:lnTo>
                    <a:pt x="246698" y="1529398"/>
                  </a:lnTo>
                  <a:lnTo>
                    <a:pt x="4763" y="1529398"/>
                  </a:lnTo>
                  <a:close/>
                </a:path>
              </a:pathLst>
            </a:custGeom>
            <a:solidFill>
              <a:srgbClr val="12192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>
              <a:extLst>
                <a:ext uri="{FF2B5EF4-FFF2-40B4-BE49-F238E27FC236}">
                  <a16:creationId xmlns:a16="http://schemas.microsoft.com/office/drawing/2014/main" id="{A433A59B-DBEE-4F79-A67B-CFA57387666A}"/>
                </a:ext>
              </a:extLst>
            </p:cNvPr>
            <p:cNvSpPr/>
            <p:nvPr/>
          </p:nvSpPr>
          <p:spPr>
            <a:xfrm>
              <a:off x="8214678" y="2551113"/>
              <a:ext cx="2184400" cy="1358900"/>
            </a:xfrm>
            <a:custGeom>
              <a:avLst/>
              <a:gdLst>
                <a:gd name="connsiteX0" fmla="*/ 4763 w 2184400"/>
                <a:gd name="connsiteY0" fmla="*/ 4763 h 1358900"/>
                <a:gd name="connsiteX1" fmla="*/ 2185353 w 2184400"/>
                <a:gd name="connsiteY1" fmla="*/ 4763 h 1358900"/>
                <a:gd name="connsiteX2" fmla="*/ 2185353 w 2184400"/>
                <a:gd name="connsiteY2" fmla="*/ 1356042 h 1358900"/>
                <a:gd name="connsiteX3" fmla="*/ 4763 w 2184400"/>
                <a:gd name="connsiteY3" fmla="*/ 1356042 h 135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4400" h="1358900">
                  <a:moveTo>
                    <a:pt x="4763" y="4763"/>
                  </a:moveTo>
                  <a:lnTo>
                    <a:pt x="2185353" y="4763"/>
                  </a:lnTo>
                  <a:lnTo>
                    <a:pt x="2185353" y="1356042"/>
                  </a:lnTo>
                  <a:lnTo>
                    <a:pt x="4763" y="135604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>
              <a:extLst>
                <a:ext uri="{FF2B5EF4-FFF2-40B4-BE49-F238E27FC236}">
                  <a16:creationId xmlns:a16="http://schemas.microsoft.com/office/drawing/2014/main" id="{4E3B05C8-3D2F-4491-91B9-18AF51494F3F}"/>
                </a:ext>
              </a:extLst>
            </p:cNvPr>
            <p:cNvSpPr/>
            <p:nvPr/>
          </p:nvSpPr>
          <p:spPr>
            <a:xfrm>
              <a:off x="9902508" y="2608898"/>
              <a:ext cx="361950" cy="368300"/>
            </a:xfrm>
            <a:custGeom>
              <a:avLst/>
              <a:gdLst>
                <a:gd name="connsiteX0" fmla="*/ 4762 w 361950"/>
                <a:gd name="connsiteY0" fmla="*/ 4763 h 368300"/>
                <a:gd name="connsiteX1" fmla="*/ 357187 w 361950"/>
                <a:gd name="connsiteY1" fmla="*/ 4763 h 368300"/>
                <a:gd name="connsiteX2" fmla="*/ 357187 w 361950"/>
                <a:gd name="connsiteY2" fmla="*/ 367348 h 368300"/>
                <a:gd name="connsiteX3" fmla="*/ 4762 w 361950"/>
                <a:gd name="connsiteY3" fmla="*/ 367348 h 36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950" h="368300">
                  <a:moveTo>
                    <a:pt x="4762" y="4763"/>
                  </a:moveTo>
                  <a:lnTo>
                    <a:pt x="357187" y="4763"/>
                  </a:lnTo>
                  <a:lnTo>
                    <a:pt x="357187" y="367348"/>
                  </a:lnTo>
                  <a:lnTo>
                    <a:pt x="4762" y="367348"/>
                  </a:lnTo>
                  <a:close/>
                </a:path>
              </a:pathLst>
            </a:custGeom>
            <a:solidFill>
              <a:srgbClr val="BEC6C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>
              <a:extLst>
                <a:ext uri="{FF2B5EF4-FFF2-40B4-BE49-F238E27FC236}">
                  <a16:creationId xmlns:a16="http://schemas.microsoft.com/office/drawing/2014/main" id="{BDF80FF0-BFD7-4EC4-A562-8777D33D1C30}"/>
                </a:ext>
              </a:extLst>
            </p:cNvPr>
            <p:cNvSpPr/>
            <p:nvPr/>
          </p:nvSpPr>
          <p:spPr>
            <a:xfrm>
              <a:off x="9308624" y="2553494"/>
              <a:ext cx="6350" cy="1352550"/>
            </a:xfrm>
            <a:custGeom>
              <a:avLst/>
              <a:gdLst>
                <a:gd name="connsiteX0" fmla="*/ 2382 w 0"/>
                <a:gd name="connsiteY0" fmla="*/ 2381 h 1352550"/>
                <a:gd name="connsiteX1" fmla="*/ 2382 w 0"/>
                <a:gd name="connsiteY1" fmla="*/ 1353661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52550">
                  <a:moveTo>
                    <a:pt x="2382" y="2381"/>
                  </a:moveTo>
                  <a:lnTo>
                    <a:pt x="2382" y="1353661"/>
                  </a:lnTo>
                </a:path>
              </a:pathLst>
            </a:custGeom>
            <a:ln w="4763" cap="flat">
              <a:solidFill>
                <a:srgbClr val="7E878E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>
              <a:extLst>
                <a:ext uri="{FF2B5EF4-FFF2-40B4-BE49-F238E27FC236}">
                  <a16:creationId xmlns:a16="http://schemas.microsoft.com/office/drawing/2014/main" id="{E3AE0F60-AA64-4799-89BF-2F4DEC9E3E33}"/>
                </a:ext>
              </a:extLst>
            </p:cNvPr>
            <p:cNvSpPr/>
            <p:nvPr/>
          </p:nvSpPr>
          <p:spPr>
            <a:xfrm>
              <a:off x="8346122" y="2638108"/>
              <a:ext cx="920750" cy="6350"/>
            </a:xfrm>
            <a:custGeom>
              <a:avLst/>
              <a:gdLst>
                <a:gd name="connsiteX0" fmla="*/ 4762 w 920750"/>
                <a:gd name="connsiteY0" fmla="*/ 4763 h 6350"/>
                <a:gd name="connsiteX1" fmla="*/ 921068 w 92075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3"/>
                  </a:moveTo>
                  <a:lnTo>
                    <a:pt x="921068" y="4763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>
              <a:extLst>
                <a:ext uri="{FF2B5EF4-FFF2-40B4-BE49-F238E27FC236}">
                  <a16:creationId xmlns:a16="http://schemas.microsoft.com/office/drawing/2014/main" id="{05DE03E5-687E-4191-A0D1-2731F4A82E2B}"/>
                </a:ext>
              </a:extLst>
            </p:cNvPr>
            <p:cNvSpPr/>
            <p:nvPr/>
          </p:nvSpPr>
          <p:spPr>
            <a:xfrm>
              <a:off x="8346122" y="2742883"/>
              <a:ext cx="920750" cy="6350"/>
            </a:xfrm>
            <a:custGeom>
              <a:avLst/>
              <a:gdLst>
                <a:gd name="connsiteX0" fmla="*/ 4762 w 920750"/>
                <a:gd name="connsiteY0" fmla="*/ 4763 h 6350"/>
                <a:gd name="connsiteX1" fmla="*/ 921068 w 92075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3"/>
                  </a:moveTo>
                  <a:lnTo>
                    <a:pt x="921068" y="4763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>
              <a:extLst>
                <a:ext uri="{FF2B5EF4-FFF2-40B4-BE49-F238E27FC236}">
                  <a16:creationId xmlns:a16="http://schemas.microsoft.com/office/drawing/2014/main" id="{E8ADEE12-4675-4597-B030-A9C627C909A8}"/>
                </a:ext>
              </a:extLst>
            </p:cNvPr>
            <p:cNvSpPr/>
            <p:nvPr/>
          </p:nvSpPr>
          <p:spPr>
            <a:xfrm>
              <a:off x="8346122" y="2848293"/>
              <a:ext cx="920750" cy="6350"/>
            </a:xfrm>
            <a:custGeom>
              <a:avLst/>
              <a:gdLst>
                <a:gd name="connsiteX0" fmla="*/ 4762 w 920750"/>
                <a:gd name="connsiteY0" fmla="*/ 4762 h 6350"/>
                <a:gd name="connsiteX1" fmla="*/ 921068 w 9207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2"/>
                  </a:moveTo>
                  <a:lnTo>
                    <a:pt x="921068" y="4762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>
              <a:extLst>
                <a:ext uri="{FF2B5EF4-FFF2-40B4-BE49-F238E27FC236}">
                  <a16:creationId xmlns:a16="http://schemas.microsoft.com/office/drawing/2014/main" id="{F7C3EDA3-3431-4871-A971-70F72428FDE5}"/>
                </a:ext>
              </a:extLst>
            </p:cNvPr>
            <p:cNvSpPr/>
            <p:nvPr/>
          </p:nvSpPr>
          <p:spPr>
            <a:xfrm>
              <a:off x="8346122" y="2953068"/>
              <a:ext cx="920750" cy="6350"/>
            </a:xfrm>
            <a:custGeom>
              <a:avLst/>
              <a:gdLst>
                <a:gd name="connsiteX0" fmla="*/ 4762 w 920750"/>
                <a:gd name="connsiteY0" fmla="*/ 4762 h 6350"/>
                <a:gd name="connsiteX1" fmla="*/ 921068 w 9207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2"/>
                  </a:moveTo>
                  <a:lnTo>
                    <a:pt x="921068" y="4762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>
              <a:extLst>
                <a:ext uri="{FF2B5EF4-FFF2-40B4-BE49-F238E27FC236}">
                  <a16:creationId xmlns:a16="http://schemas.microsoft.com/office/drawing/2014/main" id="{BE71917B-77E6-4360-9009-04500E87628C}"/>
                </a:ext>
              </a:extLst>
            </p:cNvPr>
            <p:cNvSpPr/>
            <p:nvPr/>
          </p:nvSpPr>
          <p:spPr>
            <a:xfrm>
              <a:off x="8346122" y="3058478"/>
              <a:ext cx="920750" cy="6350"/>
            </a:xfrm>
            <a:custGeom>
              <a:avLst/>
              <a:gdLst>
                <a:gd name="connsiteX0" fmla="*/ 4762 w 920750"/>
                <a:gd name="connsiteY0" fmla="*/ 4762 h 6350"/>
                <a:gd name="connsiteX1" fmla="*/ 921068 w 9207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2"/>
                  </a:moveTo>
                  <a:lnTo>
                    <a:pt x="921068" y="4762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>
              <a:extLst>
                <a:ext uri="{FF2B5EF4-FFF2-40B4-BE49-F238E27FC236}">
                  <a16:creationId xmlns:a16="http://schemas.microsoft.com/office/drawing/2014/main" id="{C18C4165-2588-45EF-A990-6E2DC0752046}"/>
                </a:ext>
              </a:extLst>
            </p:cNvPr>
            <p:cNvSpPr/>
            <p:nvPr/>
          </p:nvSpPr>
          <p:spPr>
            <a:xfrm>
              <a:off x="8346122" y="3163888"/>
              <a:ext cx="920750" cy="6350"/>
            </a:xfrm>
            <a:custGeom>
              <a:avLst/>
              <a:gdLst>
                <a:gd name="connsiteX0" fmla="*/ 4762 w 920750"/>
                <a:gd name="connsiteY0" fmla="*/ 4763 h 6350"/>
                <a:gd name="connsiteX1" fmla="*/ 921068 w 92075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3"/>
                  </a:moveTo>
                  <a:lnTo>
                    <a:pt x="921068" y="4763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>
              <a:extLst>
                <a:ext uri="{FF2B5EF4-FFF2-40B4-BE49-F238E27FC236}">
                  <a16:creationId xmlns:a16="http://schemas.microsoft.com/office/drawing/2014/main" id="{3600850D-2905-48B4-81FF-C68278A183E0}"/>
                </a:ext>
              </a:extLst>
            </p:cNvPr>
            <p:cNvSpPr/>
            <p:nvPr/>
          </p:nvSpPr>
          <p:spPr>
            <a:xfrm>
              <a:off x="8346122" y="3268663"/>
              <a:ext cx="920750" cy="6350"/>
            </a:xfrm>
            <a:custGeom>
              <a:avLst/>
              <a:gdLst>
                <a:gd name="connsiteX0" fmla="*/ 4762 w 920750"/>
                <a:gd name="connsiteY0" fmla="*/ 4763 h 6350"/>
                <a:gd name="connsiteX1" fmla="*/ 921068 w 92075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3"/>
                  </a:moveTo>
                  <a:lnTo>
                    <a:pt x="921068" y="4763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>
              <a:extLst>
                <a:ext uri="{FF2B5EF4-FFF2-40B4-BE49-F238E27FC236}">
                  <a16:creationId xmlns:a16="http://schemas.microsoft.com/office/drawing/2014/main" id="{C9EB7B93-9D61-4559-9F7E-8773BE44063B}"/>
                </a:ext>
              </a:extLst>
            </p:cNvPr>
            <p:cNvSpPr/>
            <p:nvPr/>
          </p:nvSpPr>
          <p:spPr>
            <a:xfrm>
              <a:off x="8346122" y="3374073"/>
              <a:ext cx="920750" cy="6350"/>
            </a:xfrm>
            <a:custGeom>
              <a:avLst/>
              <a:gdLst>
                <a:gd name="connsiteX0" fmla="*/ 4762 w 920750"/>
                <a:gd name="connsiteY0" fmla="*/ 4762 h 6350"/>
                <a:gd name="connsiteX1" fmla="*/ 921068 w 9207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2"/>
                  </a:moveTo>
                  <a:lnTo>
                    <a:pt x="921068" y="4762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>
              <a:extLst>
                <a:ext uri="{FF2B5EF4-FFF2-40B4-BE49-F238E27FC236}">
                  <a16:creationId xmlns:a16="http://schemas.microsoft.com/office/drawing/2014/main" id="{0A795E4D-2CD5-4AEE-BAFB-FB22FC00F217}"/>
                </a:ext>
              </a:extLst>
            </p:cNvPr>
            <p:cNvSpPr/>
            <p:nvPr/>
          </p:nvSpPr>
          <p:spPr>
            <a:xfrm>
              <a:off x="8346122" y="3478848"/>
              <a:ext cx="920750" cy="6350"/>
            </a:xfrm>
            <a:custGeom>
              <a:avLst/>
              <a:gdLst>
                <a:gd name="connsiteX0" fmla="*/ 4762 w 920750"/>
                <a:gd name="connsiteY0" fmla="*/ 4762 h 6350"/>
                <a:gd name="connsiteX1" fmla="*/ 921068 w 9207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2"/>
                  </a:moveTo>
                  <a:lnTo>
                    <a:pt x="921068" y="4762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>
              <a:extLst>
                <a:ext uri="{FF2B5EF4-FFF2-40B4-BE49-F238E27FC236}">
                  <a16:creationId xmlns:a16="http://schemas.microsoft.com/office/drawing/2014/main" id="{0A1D64B4-8416-46F5-A901-D623D1CD3ECF}"/>
                </a:ext>
              </a:extLst>
            </p:cNvPr>
            <p:cNvSpPr/>
            <p:nvPr/>
          </p:nvSpPr>
          <p:spPr>
            <a:xfrm>
              <a:off x="8346122" y="3584258"/>
              <a:ext cx="920750" cy="6350"/>
            </a:xfrm>
            <a:custGeom>
              <a:avLst/>
              <a:gdLst>
                <a:gd name="connsiteX0" fmla="*/ 4762 w 920750"/>
                <a:gd name="connsiteY0" fmla="*/ 4763 h 6350"/>
                <a:gd name="connsiteX1" fmla="*/ 921068 w 92075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3"/>
                  </a:moveTo>
                  <a:lnTo>
                    <a:pt x="921068" y="4763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>
              <a:extLst>
                <a:ext uri="{FF2B5EF4-FFF2-40B4-BE49-F238E27FC236}">
                  <a16:creationId xmlns:a16="http://schemas.microsoft.com/office/drawing/2014/main" id="{275B45C2-9006-44CC-AF9C-B8F23A374F5F}"/>
                </a:ext>
              </a:extLst>
            </p:cNvPr>
            <p:cNvSpPr/>
            <p:nvPr/>
          </p:nvSpPr>
          <p:spPr>
            <a:xfrm>
              <a:off x="8346122" y="3689667"/>
              <a:ext cx="920750" cy="6350"/>
            </a:xfrm>
            <a:custGeom>
              <a:avLst/>
              <a:gdLst>
                <a:gd name="connsiteX0" fmla="*/ 4762 w 920750"/>
                <a:gd name="connsiteY0" fmla="*/ 4762 h 6350"/>
                <a:gd name="connsiteX1" fmla="*/ 921068 w 9207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0750" h="6350">
                  <a:moveTo>
                    <a:pt x="4762" y="4762"/>
                  </a:moveTo>
                  <a:lnTo>
                    <a:pt x="921068" y="4762"/>
                  </a:lnTo>
                </a:path>
              </a:pathLst>
            </a:custGeom>
            <a:ln w="9525" cap="flat">
              <a:solidFill>
                <a:srgbClr val="C8C8C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>
              <a:extLst>
                <a:ext uri="{FF2B5EF4-FFF2-40B4-BE49-F238E27FC236}">
                  <a16:creationId xmlns:a16="http://schemas.microsoft.com/office/drawing/2014/main" id="{823C90BE-0885-4002-8E4F-1E58D266BE8A}"/>
                </a:ext>
              </a:extLst>
            </p:cNvPr>
            <p:cNvSpPr/>
            <p:nvPr/>
          </p:nvSpPr>
          <p:spPr>
            <a:xfrm>
              <a:off x="9349423" y="2638108"/>
              <a:ext cx="450850" cy="6350"/>
            </a:xfrm>
            <a:custGeom>
              <a:avLst/>
              <a:gdLst>
                <a:gd name="connsiteX0" fmla="*/ 4762 w 450850"/>
                <a:gd name="connsiteY0" fmla="*/ 4763 h 6350"/>
                <a:gd name="connsiteX1" fmla="*/ 448628 w 45085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0850" h="6350">
                  <a:moveTo>
                    <a:pt x="4762" y="4763"/>
                  </a:moveTo>
                  <a:lnTo>
                    <a:pt x="448628" y="4763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>
              <a:extLst>
                <a:ext uri="{FF2B5EF4-FFF2-40B4-BE49-F238E27FC236}">
                  <a16:creationId xmlns:a16="http://schemas.microsoft.com/office/drawing/2014/main" id="{BD7EACB6-AB32-42ED-BAE1-BA4BA1D985F4}"/>
                </a:ext>
              </a:extLst>
            </p:cNvPr>
            <p:cNvSpPr/>
            <p:nvPr/>
          </p:nvSpPr>
          <p:spPr>
            <a:xfrm>
              <a:off x="9349423" y="2742883"/>
              <a:ext cx="450850" cy="6350"/>
            </a:xfrm>
            <a:custGeom>
              <a:avLst/>
              <a:gdLst>
                <a:gd name="connsiteX0" fmla="*/ 4762 w 450850"/>
                <a:gd name="connsiteY0" fmla="*/ 4763 h 6350"/>
                <a:gd name="connsiteX1" fmla="*/ 448628 w 45085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0850" h="6350">
                  <a:moveTo>
                    <a:pt x="4762" y="4763"/>
                  </a:moveTo>
                  <a:lnTo>
                    <a:pt x="448628" y="4763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>
              <a:extLst>
                <a:ext uri="{FF2B5EF4-FFF2-40B4-BE49-F238E27FC236}">
                  <a16:creationId xmlns:a16="http://schemas.microsoft.com/office/drawing/2014/main" id="{4AB53FCF-70C4-48C8-A62C-B5061E2F8916}"/>
                </a:ext>
              </a:extLst>
            </p:cNvPr>
            <p:cNvSpPr/>
            <p:nvPr/>
          </p:nvSpPr>
          <p:spPr>
            <a:xfrm>
              <a:off x="9349423" y="2848293"/>
              <a:ext cx="450850" cy="6350"/>
            </a:xfrm>
            <a:custGeom>
              <a:avLst/>
              <a:gdLst>
                <a:gd name="connsiteX0" fmla="*/ 4762 w 450850"/>
                <a:gd name="connsiteY0" fmla="*/ 4762 h 6350"/>
                <a:gd name="connsiteX1" fmla="*/ 448628 w 4508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0850" h="6350">
                  <a:moveTo>
                    <a:pt x="4762" y="4762"/>
                  </a:moveTo>
                  <a:lnTo>
                    <a:pt x="448628" y="4762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>
              <a:extLst>
                <a:ext uri="{FF2B5EF4-FFF2-40B4-BE49-F238E27FC236}">
                  <a16:creationId xmlns:a16="http://schemas.microsoft.com/office/drawing/2014/main" id="{46A85A8C-8CB4-4387-B819-D2E318E53E7C}"/>
                </a:ext>
              </a:extLst>
            </p:cNvPr>
            <p:cNvSpPr/>
            <p:nvPr/>
          </p:nvSpPr>
          <p:spPr>
            <a:xfrm>
              <a:off x="9349423" y="2953068"/>
              <a:ext cx="450850" cy="6350"/>
            </a:xfrm>
            <a:custGeom>
              <a:avLst/>
              <a:gdLst>
                <a:gd name="connsiteX0" fmla="*/ 4762 w 450850"/>
                <a:gd name="connsiteY0" fmla="*/ 4762 h 6350"/>
                <a:gd name="connsiteX1" fmla="*/ 448628 w 45085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0850" h="6350">
                  <a:moveTo>
                    <a:pt x="4762" y="4762"/>
                  </a:moveTo>
                  <a:lnTo>
                    <a:pt x="448628" y="4762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>
              <a:extLst>
                <a:ext uri="{FF2B5EF4-FFF2-40B4-BE49-F238E27FC236}">
                  <a16:creationId xmlns:a16="http://schemas.microsoft.com/office/drawing/2014/main" id="{B4299151-65E3-4A23-AC7C-F7C3D995E4C3}"/>
                </a:ext>
              </a:extLst>
            </p:cNvPr>
            <p:cNvSpPr/>
            <p:nvPr/>
          </p:nvSpPr>
          <p:spPr>
            <a:xfrm>
              <a:off x="9349423" y="3058478"/>
              <a:ext cx="914400" cy="6350"/>
            </a:xfrm>
            <a:custGeom>
              <a:avLst/>
              <a:gdLst>
                <a:gd name="connsiteX0" fmla="*/ 4762 w 914400"/>
                <a:gd name="connsiteY0" fmla="*/ 4762 h 6350"/>
                <a:gd name="connsiteX1" fmla="*/ 910272 w 91440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400" h="6350">
                  <a:moveTo>
                    <a:pt x="4762" y="4762"/>
                  </a:moveTo>
                  <a:lnTo>
                    <a:pt x="910272" y="4762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>
              <a:extLst>
                <a:ext uri="{FF2B5EF4-FFF2-40B4-BE49-F238E27FC236}">
                  <a16:creationId xmlns:a16="http://schemas.microsoft.com/office/drawing/2014/main" id="{7EC91AA1-2708-4918-8C93-6D7ECB4E6BF0}"/>
                </a:ext>
              </a:extLst>
            </p:cNvPr>
            <p:cNvSpPr/>
            <p:nvPr/>
          </p:nvSpPr>
          <p:spPr>
            <a:xfrm>
              <a:off x="9349423" y="3163888"/>
              <a:ext cx="914400" cy="6350"/>
            </a:xfrm>
            <a:custGeom>
              <a:avLst/>
              <a:gdLst>
                <a:gd name="connsiteX0" fmla="*/ 4762 w 914400"/>
                <a:gd name="connsiteY0" fmla="*/ 4763 h 6350"/>
                <a:gd name="connsiteX1" fmla="*/ 910272 w 91440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400" h="6350">
                  <a:moveTo>
                    <a:pt x="4762" y="4763"/>
                  </a:moveTo>
                  <a:lnTo>
                    <a:pt x="910272" y="4763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>
              <a:extLst>
                <a:ext uri="{FF2B5EF4-FFF2-40B4-BE49-F238E27FC236}">
                  <a16:creationId xmlns:a16="http://schemas.microsoft.com/office/drawing/2014/main" id="{FB6842E0-B0ED-47F8-B59F-E0DBF6186BB7}"/>
                </a:ext>
              </a:extLst>
            </p:cNvPr>
            <p:cNvSpPr/>
            <p:nvPr/>
          </p:nvSpPr>
          <p:spPr>
            <a:xfrm>
              <a:off x="9349423" y="3268663"/>
              <a:ext cx="914400" cy="6350"/>
            </a:xfrm>
            <a:custGeom>
              <a:avLst/>
              <a:gdLst>
                <a:gd name="connsiteX0" fmla="*/ 4762 w 914400"/>
                <a:gd name="connsiteY0" fmla="*/ 4763 h 6350"/>
                <a:gd name="connsiteX1" fmla="*/ 910272 w 91440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400" h="6350">
                  <a:moveTo>
                    <a:pt x="4762" y="4763"/>
                  </a:moveTo>
                  <a:lnTo>
                    <a:pt x="910272" y="4763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>
              <a:extLst>
                <a:ext uri="{FF2B5EF4-FFF2-40B4-BE49-F238E27FC236}">
                  <a16:creationId xmlns:a16="http://schemas.microsoft.com/office/drawing/2014/main" id="{41EA5282-3A6D-420F-BDE0-AA0BC7036D71}"/>
                </a:ext>
              </a:extLst>
            </p:cNvPr>
            <p:cNvSpPr/>
            <p:nvPr/>
          </p:nvSpPr>
          <p:spPr>
            <a:xfrm>
              <a:off x="9349423" y="3374073"/>
              <a:ext cx="914400" cy="6350"/>
            </a:xfrm>
            <a:custGeom>
              <a:avLst/>
              <a:gdLst>
                <a:gd name="connsiteX0" fmla="*/ 4762 w 914400"/>
                <a:gd name="connsiteY0" fmla="*/ 4762 h 6350"/>
                <a:gd name="connsiteX1" fmla="*/ 910272 w 91440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400" h="6350">
                  <a:moveTo>
                    <a:pt x="4762" y="4762"/>
                  </a:moveTo>
                  <a:lnTo>
                    <a:pt x="910272" y="4762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>
              <a:extLst>
                <a:ext uri="{FF2B5EF4-FFF2-40B4-BE49-F238E27FC236}">
                  <a16:creationId xmlns:a16="http://schemas.microsoft.com/office/drawing/2014/main" id="{4238E074-68D4-41DC-AD34-686F920BDDEE}"/>
                </a:ext>
              </a:extLst>
            </p:cNvPr>
            <p:cNvSpPr/>
            <p:nvPr/>
          </p:nvSpPr>
          <p:spPr>
            <a:xfrm>
              <a:off x="9349423" y="3478848"/>
              <a:ext cx="914400" cy="6350"/>
            </a:xfrm>
            <a:custGeom>
              <a:avLst/>
              <a:gdLst>
                <a:gd name="connsiteX0" fmla="*/ 4762 w 914400"/>
                <a:gd name="connsiteY0" fmla="*/ 4762 h 6350"/>
                <a:gd name="connsiteX1" fmla="*/ 910272 w 91440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400" h="6350">
                  <a:moveTo>
                    <a:pt x="4762" y="4762"/>
                  </a:moveTo>
                  <a:lnTo>
                    <a:pt x="910272" y="4762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>
              <a:extLst>
                <a:ext uri="{FF2B5EF4-FFF2-40B4-BE49-F238E27FC236}">
                  <a16:creationId xmlns:a16="http://schemas.microsoft.com/office/drawing/2014/main" id="{E69A8615-779F-4157-AF03-A1192F8C1A08}"/>
                </a:ext>
              </a:extLst>
            </p:cNvPr>
            <p:cNvSpPr/>
            <p:nvPr/>
          </p:nvSpPr>
          <p:spPr>
            <a:xfrm>
              <a:off x="9349423" y="3584258"/>
              <a:ext cx="914400" cy="6350"/>
            </a:xfrm>
            <a:custGeom>
              <a:avLst/>
              <a:gdLst>
                <a:gd name="connsiteX0" fmla="*/ 4762 w 914400"/>
                <a:gd name="connsiteY0" fmla="*/ 4763 h 6350"/>
                <a:gd name="connsiteX1" fmla="*/ 910272 w 914400"/>
                <a:gd name="connsiteY1" fmla="*/ 4763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400" h="6350">
                  <a:moveTo>
                    <a:pt x="4762" y="4763"/>
                  </a:moveTo>
                  <a:lnTo>
                    <a:pt x="910272" y="4763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>
              <a:extLst>
                <a:ext uri="{FF2B5EF4-FFF2-40B4-BE49-F238E27FC236}">
                  <a16:creationId xmlns:a16="http://schemas.microsoft.com/office/drawing/2014/main" id="{0376C6B0-4F75-4CF9-9F5F-BE5B4938AD88}"/>
                </a:ext>
              </a:extLst>
            </p:cNvPr>
            <p:cNvSpPr/>
            <p:nvPr/>
          </p:nvSpPr>
          <p:spPr>
            <a:xfrm>
              <a:off x="9349423" y="3689667"/>
              <a:ext cx="914400" cy="6350"/>
            </a:xfrm>
            <a:custGeom>
              <a:avLst/>
              <a:gdLst>
                <a:gd name="connsiteX0" fmla="*/ 4762 w 914400"/>
                <a:gd name="connsiteY0" fmla="*/ 4762 h 6350"/>
                <a:gd name="connsiteX1" fmla="*/ 910272 w 914400"/>
                <a:gd name="connsiteY1" fmla="*/ 476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400" h="6350">
                  <a:moveTo>
                    <a:pt x="4762" y="4762"/>
                  </a:moveTo>
                  <a:lnTo>
                    <a:pt x="910272" y="4762"/>
                  </a:lnTo>
                </a:path>
              </a:pathLst>
            </a:custGeom>
            <a:ln w="9525" cap="flat">
              <a:solidFill>
                <a:srgbClr val="BCC2C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>
              <a:extLst>
                <a:ext uri="{FF2B5EF4-FFF2-40B4-BE49-F238E27FC236}">
                  <a16:creationId xmlns:a16="http://schemas.microsoft.com/office/drawing/2014/main" id="{361986FA-BD81-4650-A251-247B98A6B551}"/>
                </a:ext>
              </a:extLst>
            </p:cNvPr>
            <p:cNvSpPr/>
            <p:nvPr/>
          </p:nvSpPr>
          <p:spPr>
            <a:xfrm>
              <a:off x="8482647" y="2551113"/>
              <a:ext cx="165100" cy="1708150"/>
            </a:xfrm>
            <a:custGeom>
              <a:avLst/>
              <a:gdLst>
                <a:gd name="connsiteX0" fmla="*/ 165418 w 165100"/>
                <a:gd name="connsiteY0" fmla="*/ 1703388 h 1708150"/>
                <a:gd name="connsiteX1" fmla="*/ 84772 w 165100"/>
                <a:gd name="connsiteY1" fmla="*/ 1636713 h 1708150"/>
                <a:gd name="connsiteX2" fmla="*/ 4763 w 165100"/>
                <a:gd name="connsiteY2" fmla="*/ 1703388 h 1708150"/>
                <a:gd name="connsiteX3" fmla="*/ 4763 w 165100"/>
                <a:gd name="connsiteY3" fmla="*/ 4763 h 1708150"/>
                <a:gd name="connsiteX4" fmla="*/ 165418 w 165100"/>
                <a:gd name="connsiteY4" fmla="*/ 4763 h 170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00" h="1708150">
                  <a:moveTo>
                    <a:pt x="165418" y="1703388"/>
                  </a:moveTo>
                  <a:lnTo>
                    <a:pt x="84772" y="1636713"/>
                  </a:lnTo>
                  <a:lnTo>
                    <a:pt x="4763" y="1703388"/>
                  </a:lnTo>
                  <a:lnTo>
                    <a:pt x="4763" y="4763"/>
                  </a:lnTo>
                  <a:lnTo>
                    <a:pt x="165418" y="4763"/>
                  </a:lnTo>
                  <a:close/>
                </a:path>
              </a:pathLst>
            </a:custGeom>
            <a:solidFill>
              <a:srgbClr val="FA573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8" name="任意多边形: 形状 9927">
              <a:extLst>
                <a:ext uri="{FF2B5EF4-FFF2-40B4-BE49-F238E27FC236}">
                  <a16:creationId xmlns:a16="http://schemas.microsoft.com/office/drawing/2014/main" id="{F8D2EEC8-9419-432A-9441-7D617F4D5146}"/>
                </a:ext>
              </a:extLst>
            </p:cNvPr>
            <p:cNvSpPr/>
            <p:nvPr/>
          </p:nvSpPr>
          <p:spPr>
            <a:xfrm>
              <a:off x="8800782" y="2619692"/>
              <a:ext cx="495300" cy="234950"/>
            </a:xfrm>
            <a:custGeom>
              <a:avLst/>
              <a:gdLst>
                <a:gd name="connsiteX0" fmla="*/ 4763 w 495300"/>
                <a:gd name="connsiteY0" fmla="*/ 4763 h 234950"/>
                <a:gd name="connsiteX1" fmla="*/ 4763 w 495300"/>
                <a:gd name="connsiteY1" fmla="*/ 87948 h 234950"/>
                <a:gd name="connsiteX2" fmla="*/ 496253 w 495300"/>
                <a:gd name="connsiteY2" fmla="*/ 232093 h 234950"/>
                <a:gd name="connsiteX3" fmla="*/ 496253 w 495300"/>
                <a:gd name="connsiteY3" fmla="*/ 148908 h 234950"/>
                <a:gd name="connsiteX4" fmla="*/ 4763 w 495300"/>
                <a:gd name="connsiteY4" fmla="*/ 4763 h 23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234950">
                  <a:moveTo>
                    <a:pt x="4763" y="4763"/>
                  </a:moveTo>
                  <a:lnTo>
                    <a:pt x="4763" y="87948"/>
                  </a:lnTo>
                  <a:cubicBezTo>
                    <a:pt x="4763" y="87948"/>
                    <a:pt x="63818" y="235903"/>
                    <a:pt x="496253" y="232093"/>
                  </a:cubicBezTo>
                  <a:lnTo>
                    <a:pt x="496253" y="148908"/>
                  </a:lnTo>
                  <a:cubicBezTo>
                    <a:pt x="63818" y="152718"/>
                    <a:pt x="4763" y="4763"/>
                    <a:pt x="4763" y="4763"/>
                  </a:cubicBezTo>
                  <a:close/>
                </a:path>
              </a:pathLst>
            </a:custGeom>
            <a:solidFill>
              <a:srgbClr val="4C596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9" name="任意多边形: 形状 9928">
              <a:extLst>
                <a:ext uri="{FF2B5EF4-FFF2-40B4-BE49-F238E27FC236}">
                  <a16:creationId xmlns:a16="http://schemas.microsoft.com/office/drawing/2014/main" id="{90A80788-4458-4704-A666-F615D3C08613}"/>
                </a:ext>
              </a:extLst>
            </p:cNvPr>
            <p:cNvSpPr/>
            <p:nvPr/>
          </p:nvSpPr>
          <p:spPr>
            <a:xfrm>
              <a:off x="9292907" y="2623502"/>
              <a:ext cx="501650" cy="228600"/>
            </a:xfrm>
            <a:custGeom>
              <a:avLst/>
              <a:gdLst>
                <a:gd name="connsiteX0" fmla="*/ 500063 w 501650"/>
                <a:gd name="connsiteY0" fmla="*/ 4763 h 228600"/>
                <a:gd name="connsiteX1" fmla="*/ 10478 w 501650"/>
                <a:gd name="connsiteY1" fmla="*/ 145098 h 228600"/>
                <a:gd name="connsiteX2" fmla="*/ 4763 w 501650"/>
                <a:gd name="connsiteY2" fmla="*/ 145098 h 228600"/>
                <a:gd name="connsiteX3" fmla="*/ 4763 w 501650"/>
                <a:gd name="connsiteY3" fmla="*/ 228283 h 228600"/>
                <a:gd name="connsiteX4" fmla="*/ 10478 w 501650"/>
                <a:gd name="connsiteY4" fmla="*/ 228283 h 228600"/>
                <a:gd name="connsiteX5" fmla="*/ 500698 w 501650"/>
                <a:gd name="connsiteY5" fmla="*/ 86677 h 228600"/>
                <a:gd name="connsiteX6" fmla="*/ 500063 w 501650"/>
                <a:gd name="connsiteY6" fmla="*/ 476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1650" h="228600">
                  <a:moveTo>
                    <a:pt x="500063" y="4763"/>
                  </a:moveTo>
                  <a:cubicBezTo>
                    <a:pt x="493078" y="19368"/>
                    <a:pt x="421323" y="140652"/>
                    <a:pt x="10478" y="145098"/>
                  </a:cubicBezTo>
                  <a:cubicBezTo>
                    <a:pt x="8573" y="145098"/>
                    <a:pt x="6668" y="145098"/>
                    <a:pt x="4763" y="145098"/>
                  </a:cubicBezTo>
                  <a:lnTo>
                    <a:pt x="4763" y="228283"/>
                  </a:lnTo>
                  <a:cubicBezTo>
                    <a:pt x="6668" y="228283"/>
                    <a:pt x="8573" y="228283"/>
                    <a:pt x="10478" y="228283"/>
                  </a:cubicBezTo>
                  <a:cubicBezTo>
                    <a:pt x="448628" y="223202"/>
                    <a:pt x="500698" y="86677"/>
                    <a:pt x="500698" y="86677"/>
                  </a:cubicBezTo>
                  <a:lnTo>
                    <a:pt x="500063" y="4763"/>
                  </a:lnTo>
                  <a:close/>
                </a:path>
              </a:pathLst>
            </a:custGeom>
            <a:solidFill>
              <a:srgbClr val="6773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0" name="任意多边形: 形状 9929">
              <a:extLst>
                <a:ext uri="{FF2B5EF4-FFF2-40B4-BE49-F238E27FC236}">
                  <a16:creationId xmlns:a16="http://schemas.microsoft.com/office/drawing/2014/main" id="{5264B616-6646-49B7-9BA4-5CC2CC35F3DB}"/>
                </a:ext>
              </a:extLst>
            </p:cNvPr>
            <p:cNvSpPr/>
            <p:nvPr/>
          </p:nvSpPr>
          <p:spPr>
            <a:xfrm>
              <a:off x="8800782" y="2323783"/>
              <a:ext cx="495300" cy="444500"/>
            </a:xfrm>
            <a:custGeom>
              <a:avLst/>
              <a:gdLst>
                <a:gd name="connsiteX0" fmla="*/ 4763 w 495300"/>
                <a:gd name="connsiteY0" fmla="*/ 4763 h 444500"/>
                <a:gd name="connsiteX1" fmla="*/ 4763 w 495300"/>
                <a:gd name="connsiteY1" fmla="*/ 300672 h 444500"/>
                <a:gd name="connsiteX2" fmla="*/ 496253 w 495300"/>
                <a:gd name="connsiteY2" fmla="*/ 444817 h 444500"/>
                <a:gd name="connsiteX3" fmla="*/ 494983 w 495300"/>
                <a:gd name="connsiteY3" fmla="*/ 5397 h 444500"/>
                <a:gd name="connsiteX4" fmla="*/ 4763 w 495300"/>
                <a:gd name="connsiteY4" fmla="*/ 4763 h 44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444500">
                  <a:moveTo>
                    <a:pt x="4763" y="4763"/>
                  </a:moveTo>
                  <a:lnTo>
                    <a:pt x="4763" y="300672"/>
                  </a:lnTo>
                  <a:cubicBezTo>
                    <a:pt x="4763" y="300672"/>
                    <a:pt x="63818" y="448627"/>
                    <a:pt x="496253" y="444817"/>
                  </a:cubicBezTo>
                  <a:lnTo>
                    <a:pt x="494983" y="5397"/>
                  </a:lnTo>
                  <a:lnTo>
                    <a:pt x="4763" y="4763"/>
                  </a:lnTo>
                  <a:close/>
                </a:path>
              </a:pathLst>
            </a:custGeom>
            <a:solidFill>
              <a:srgbClr val="6B77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1" name="任意多边形: 形状 9930">
              <a:extLst>
                <a:ext uri="{FF2B5EF4-FFF2-40B4-BE49-F238E27FC236}">
                  <a16:creationId xmlns:a16="http://schemas.microsoft.com/office/drawing/2014/main" id="{41484161-81C9-4F08-8B0F-AE0C0C721588}"/>
                </a:ext>
              </a:extLst>
            </p:cNvPr>
            <p:cNvSpPr/>
            <p:nvPr/>
          </p:nvSpPr>
          <p:spPr>
            <a:xfrm>
              <a:off x="9291638" y="2324417"/>
              <a:ext cx="501650" cy="444500"/>
            </a:xfrm>
            <a:custGeom>
              <a:avLst/>
              <a:gdLst>
                <a:gd name="connsiteX0" fmla="*/ 499428 w 501650"/>
                <a:gd name="connsiteY0" fmla="*/ 5398 h 444500"/>
                <a:gd name="connsiteX1" fmla="*/ 4763 w 501650"/>
                <a:gd name="connsiteY1" fmla="*/ 4763 h 444500"/>
                <a:gd name="connsiteX2" fmla="*/ 6032 w 501650"/>
                <a:gd name="connsiteY2" fmla="*/ 444183 h 444500"/>
                <a:gd name="connsiteX3" fmla="*/ 11747 w 501650"/>
                <a:gd name="connsiteY3" fmla="*/ 444183 h 444500"/>
                <a:gd name="connsiteX4" fmla="*/ 501968 w 501650"/>
                <a:gd name="connsiteY4" fmla="*/ 302578 h 444500"/>
                <a:gd name="connsiteX5" fmla="*/ 499428 w 501650"/>
                <a:gd name="connsiteY5" fmla="*/ 5398 h 44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1650" h="444500">
                  <a:moveTo>
                    <a:pt x="499428" y="5398"/>
                  </a:moveTo>
                  <a:lnTo>
                    <a:pt x="4763" y="4763"/>
                  </a:lnTo>
                  <a:lnTo>
                    <a:pt x="6032" y="444183"/>
                  </a:lnTo>
                  <a:cubicBezTo>
                    <a:pt x="7938" y="444183"/>
                    <a:pt x="9843" y="444183"/>
                    <a:pt x="11747" y="444183"/>
                  </a:cubicBezTo>
                  <a:cubicBezTo>
                    <a:pt x="449897" y="439103"/>
                    <a:pt x="501968" y="302578"/>
                    <a:pt x="501968" y="302578"/>
                  </a:cubicBezTo>
                  <a:lnTo>
                    <a:pt x="499428" y="5398"/>
                  </a:lnTo>
                  <a:close/>
                </a:path>
              </a:pathLst>
            </a:custGeom>
            <a:solidFill>
              <a:srgbClr val="41506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2" name="任意多边形: 形状 9931">
              <a:extLst>
                <a:ext uri="{FF2B5EF4-FFF2-40B4-BE49-F238E27FC236}">
                  <a16:creationId xmlns:a16="http://schemas.microsoft.com/office/drawing/2014/main" id="{28336F11-CB33-4E29-8AFA-6D355FC3A4C8}"/>
                </a:ext>
              </a:extLst>
            </p:cNvPr>
            <p:cNvSpPr/>
            <p:nvPr/>
          </p:nvSpPr>
          <p:spPr>
            <a:xfrm>
              <a:off x="8521382" y="2246313"/>
              <a:ext cx="1555750" cy="342900"/>
            </a:xfrm>
            <a:custGeom>
              <a:avLst/>
              <a:gdLst>
                <a:gd name="connsiteX0" fmla="*/ 5398 w 1555750"/>
                <a:gd name="connsiteY0" fmla="*/ 9842 h 342900"/>
                <a:gd name="connsiteX1" fmla="*/ 4763 w 1555750"/>
                <a:gd name="connsiteY1" fmla="*/ 32067 h 342900"/>
                <a:gd name="connsiteX2" fmla="*/ 776288 w 1555750"/>
                <a:gd name="connsiteY2" fmla="*/ 340677 h 342900"/>
                <a:gd name="connsiteX3" fmla="*/ 1555433 w 1555750"/>
                <a:gd name="connsiteY3" fmla="*/ 31433 h 342900"/>
                <a:gd name="connsiteX4" fmla="*/ 1556068 w 1555750"/>
                <a:gd name="connsiteY4" fmla="*/ 4763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5750" h="342900">
                  <a:moveTo>
                    <a:pt x="5398" y="9842"/>
                  </a:moveTo>
                  <a:lnTo>
                    <a:pt x="4763" y="32067"/>
                  </a:lnTo>
                  <a:lnTo>
                    <a:pt x="776288" y="340677"/>
                  </a:lnTo>
                  <a:lnTo>
                    <a:pt x="1555433" y="31433"/>
                  </a:lnTo>
                  <a:lnTo>
                    <a:pt x="1556068" y="4763"/>
                  </a:lnTo>
                  <a:close/>
                </a:path>
              </a:pathLst>
            </a:custGeom>
            <a:solidFill>
              <a:srgbClr val="0B26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3" name="任意多边形: 形状 9932">
              <a:extLst>
                <a:ext uri="{FF2B5EF4-FFF2-40B4-BE49-F238E27FC236}">
                  <a16:creationId xmlns:a16="http://schemas.microsoft.com/office/drawing/2014/main" id="{2BE2CE7D-956E-4456-8FAF-39CC562A5385}"/>
                </a:ext>
              </a:extLst>
            </p:cNvPr>
            <p:cNvSpPr/>
            <p:nvPr/>
          </p:nvSpPr>
          <p:spPr>
            <a:xfrm>
              <a:off x="8522018" y="1938338"/>
              <a:ext cx="774700" cy="622300"/>
            </a:xfrm>
            <a:custGeom>
              <a:avLst/>
              <a:gdLst>
                <a:gd name="connsiteX0" fmla="*/ 4763 w 774700"/>
                <a:gd name="connsiteY0" fmla="*/ 317817 h 622300"/>
                <a:gd name="connsiteX1" fmla="*/ 775017 w 774700"/>
                <a:gd name="connsiteY1" fmla="*/ 620713 h 622300"/>
                <a:gd name="connsiteX2" fmla="*/ 773113 w 774700"/>
                <a:gd name="connsiteY2" fmla="*/ 4763 h 622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4700" h="622300">
                  <a:moveTo>
                    <a:pt x="4763" y="317817"/>
                  </a:moveTo>
                  <a:lnTo>
                    <a:pt x="775017" y="620713"/>
                  </a:lnTo>
                  <a:lnTo>
                    <a:pt x="773113" y="4763"/>
                  </a:lnTo>
                  <a:close/>
                </a:path>
              </a:pathLst>
            </a:custGeom>
            <a:solidFill>
              <a:srgbClr val="4C596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4" name="任意多边形: 形状 9933">
              <a:extLst>
                <a:ext uri="{FF2B5EF4-FFF2-40B4-BE49-F238E27FC236}">
                  <a16:creationId xmlns:a16="http://schemas.microsoft.com/office/drawing/2014/main" id="{51B2179B-DFB6-43E5-B6B9-2B56293928F4}"/>
                </a:ext>
              </a:extLst>
            </p:cNvPr>
            <p:cNvSpPr/>
            <p:nvPr/>
          </p:nvSpPr>
          <p:spPr>
            <a:xfrm>
              <a:off x="9290368" y="1937067"/>
              <a:ext cx="787400" cy="628650"/>
            </a:xfrm>
            <a:custGeom>
              <a:avLst/>
              <a:gdLst>
                <a:gd name="connsiteX0" fmla="*/ 787082 w 787400"/>
                <a:gd name="connsiteY0" fmla="*/ 314008 h 628650"/>
                <a:gd name="connsiteX1" fmla="*/ 9207 w 787400"/>
                <a:gd name="connsiteY1" fmla="*/ 4763 h 628650"/>
                <a:gd name="connsiteX2" fmla="*/ 4763 w 787400"/>
                <a:gd name="connsiteY2" fmla="*/ 6033 h 628650"/>
                <a:gd name="connsiteX3" fmla="*/ 6667 w 787400"/>
                <a:gd name="connsiteY3" fmla="*/ 621983 h 628650"/>
                <a:gd name="connsiteX4" fmla="*/ 13017 w 787400"/>
                <a:gd name="connsiteY4" fmla="*/ 624523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400" h="628650">
                  <a:moveTo>
                    <a:pt x="787082" y="314008"/>
                  </a:moveTo>
                  <a:lnTo>
                    <a:pt x="9207" y="4763"/>
                  </a:lnTo>
                  <a:lnTo>
                    <a:pt x="4763" y="6033"/>
                  </a:lnTo>
                  <a:lnTo>
                    <a:pt x="6667" y="621983"/>
                  </a:lnTo>
                  <a:lnTo>
                    <a:pt x="13017" y="624523"/>
                  </a:lnTo>
                  <a:close/>
                </a:path>
              </a:pathLst>
            </a:custGeom>
            <a:solidFill>
              <a:srgbClr val="6773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5" name="任意多边形: 形状 9934">
              <a:extLst>
                <a:ext uri="{FF2B5EF4-FFF2-40B4-BE49-F238E27FC236}">
                  <a16:creationId xmlns:a16="http://schemas.microsoft.com/office/drawing/2014/main" id="{624A7492-CD8E-4C1B-A662-F41F4E27B95E}"/>
                </a:ext>
              </a:extLst>
            </p:cNvPr>
            <p:cNvSpPr/>
            <p:nvPr/>
          </p:nvSpPr>
          <p:spPr>
            <a:xfrm>
              <a:off x="9341168" y="2238692"/>
              <a:ext cx="419100" cy="908050"/>
            </a:xfrm>
            <a:custGeom>
              <a:avLst/>
              <a:gdLst>
                <a:gd name="connsiteX0" fmla="*/ 366713 w 419100"/>
                <a:gd name="connsiteY0" fmla="*/ 714693 h 908050"/>
                <a:gd name="connsiteX1" fmla="*/ 397827 w 419100"/>
                <a:gd name="connsiteY1" fmla="*/ 666433 h 908050"/>
                <a:gd name="connsiteX2" fmla="*/ 353377 w 419100"/>
                <a:gd name="connsiteY2" fmla="*/ 614363 h 908050"/>
                <a:gd name="connsiteX3" fmla="*/ 352107 w 419100"/>
                <a:gd name="connsiteY3" fmla="*/ 160973 h 908050"/>
                <a:gd name="connsiteX4" fmla="*/ 20002 w 419100"/>
                <a:gd name="connsiteY4" fmla="*/ 4763 h 908050"/>
                <a:gd name="connsiteX5" fmla="*/ 4763 w 419100"/>
                <a:gd name="connsiteY5" fmla="*/ 16828 h 908050"/>
                <a:gd name="connsiteX6" fmla="*/ 332422 w 419100"/>
                <a:gd name="connsiteY6" fmla="*/ 174308 h 908050"/>
                <a:gd name="connsiteX7" fmla="*/ 334963 w 419100"/>
                <a:gd name="connsiteY7" fmla="*/ 614998 h 908050"/>
                <a:gd name="connsiteX8" fmla="*/ 293052 w 419100"/>
                <a:gd name="connsiteY8" fmla="*/ 666433 h 908050"/>
                <a:gd name="connsiteX9" fmla="*/ 327977 w 419100"/>
                <a:gd name="connsiteY9" fmla="*/ 715963 h 908050"/>
                <a:gd name="connsiteX10" fmla="*/ 276542 w 419100"/>
                <a:gd name="connsiteY10" fmla="*/ 867728 h 908050"/>
                <a:gd name="connsiteX11" fmla="*/ 346392 w 419100"/>
                <a:gd name="connsiteY11" fmla="*/ 908368 h 908050"/>
                <a:gd name="connsiteX12" fmla="*/ 416242 w 419100"/>
                <a:gd name="connsiteY12" fmla="*/ 867728 h 908050"/>
                <a:gd name="connsiteX13" fmla="*/ 366713 w 419100"/>
                <a:gd name="connsiteY13" fmla="*/ 714693 h 908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908050">
                  <a:moveTo>
                    <a:pt x="366713" y="714693"/>
                  </a:moveTo>
                  <a:cubicBezTo>
                    <a:pt x="385127" y="706438"/>
                    <a:pt x="397827" y="688023"/>
                    <a:pt x="397827" y="666433"/>
                  </a:cubicBezTo>
                  <a:cubicBezTo>
                    <a:pt x="397827" y="639763"/>
                    <a:pt x="378142" y="618173"/>
                    <a:pt x="353377" y="614363"/>
                  </a:cubicBezTo>
                  <a:lnTo>
                    <a:pt x="352107" y="160973"/>
                  </a:lnTo>
                  <a:lnTo>
                    <a:pt x="20002" y="4763"/>
                  </a:lnTo>
                  <a:lnTo>
                    <a:pt x="4763" y="16828"/>
                  </a:lnTo>
                  <a:lnTo>
                    <a:pt x="332422" y="174308"/>
                  </a:lnTo>
                  <a:lnTo>
                    <a:pt x="334963" y="614998"/>
                  </a:lnTo>
                  <a:cubicBezTo>
                    <a:pt x="310832" y="620078"/>
                    <a:pt x="293052" y="641033"/>
                    <a:pt x="293052" y="666433"/>
                  </a:cubicBezTo>
                  <a:cubicBezTo>
                    <a:pt x="293052" y="689293"/>
                    <a:pt x="307657" y="708343"/>
                    <a:pt x="327977" y="715963"/>
                  </a:cubicBezTo>
                  <a:cubicBezTo>
                    <a:pt x="307022" y="769303"/>
                    <a:pt x="276542" y="848043"/>
                    <a:pt x="276542" y="867728"/>
                  </a:cubicBezTo>
                  <a:cubicBezTo>
                    <a:pt x="276542" y="898843"/>
                    <a:pt x="307657" y="908368"/>
                    <a:pt x="346392" y="908368"/>
                  </a:cubicBezTo>
                  <a:cubicBezTo>
                    <a:pt x="385127" y="908368"/>
                    <a:pt x="416242" y="898843"/>
                    <a:pt x="416242" y="867728"/>
                  </a:cubicBezTo>
                  <a:cubicBezTo>
                    <a:pt x="415607" y="847408"/>
                    <a:pt x="387032" y="767398"/>
                    <a:pt x="366713" y="714693"/>
                  </a:cubicBezTo>
                  <a:close/>
                </a:path>
              </a:pathLst>
            </a:custGeom>
            <a:solidFill>
              <a:srgbClr val="EF2F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6" name="任意多边形: 形状 9935">
              <a:extLst>
                <a:ext uri="{FF2B5EF4-FFF2-40B4-BE49-F238E27FC236}">
                  <a16:creationId xmlns:a16="http://schemas.microsoft.com/office/drawing/2014/main" id="{76C85E5E-521D-4173-BAF0-62941103CD44}"/>
                </a:ext>
              </a:extLst>
            </p:cNvPr>
            <p:cNvSpPr/>
            <p:nvPr/>
          </p:nvSpPr>
          <p:spPr>
            <a:xfrm>
              <a:off x="9218613" y="2203767"/>
              <a:ext cx="158750" cy="82550"/>
            </a:xfrm>
            <a:custGeom>
              <a:avLst/>
              <a:gdLst>
                <a:gd name="connsiteX0" fmla="*/ 154622 w 158750"/>
                <a:gd name="connsiteY0" fmla="*/ 42228 h 82550"/>
                <a:gd name="connsiteX1" fmla="*/ 79693 w 158750"/>
                <a:gd name="connsiteY1" fmla="*/ 79693 h 82550"/>
                <a:gd name="connsiteX2" fmla="*/ 4763 w 158750"/>
                <a:gd name="connsiteY2" fmla="*/ 42228 h 82550"/>
                <a:gd name="connsiteX3" fmla="*/ 79693 w 158750"/>
                <a:gd name="connsiteY3" fmla="*/ 4763 h 82550"/>
                <a:gd name="connsiteX4" fmla="*/ 154622 w 158750"/>
                <a:gd name="connsiteY4" fmla="*/ 42228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750" h="82550">
                  <a:moveTo>
                    <a:pt x="154622" y="42228"/>
                  </a:moveTo>
                  <a:cubicBezTo>
                    <a:pt x="154622" y="62548"/>
                    <a:pt x="120968" y="79693"/>
                    <a:pt x="79693" y="79693"/>
                  </a:cubicBezTo>
                  <a:cubicBezTo>
                    <a:pt x="38418" y="79693"/>
                    <a:pt x="4763" y="63183"/>
                    <a:pt x="4763" y="42228"/>
                  </a:cubicBezTo>
                  <a:cubicBezTo>
                    <a:pt x="4763" y="21908"/>
                    <a:pt x="38418" y="4763"/>
                    <a:pt x="79693" y="4763"/>
                  </a:cubicBezTo>
                  <a:cubicBezTo>
                    <a:pt x="121603" y="5398"/>
                    <a:pt x="154622" y="21908"/>
                    <a:pt x="154622" y="42228"/>
                  </a:cubicBezTo>
                  <a:close/>
                </a:path>
              </a:pathLst>
            </a:custGeom>
            <a:solidFill>
              <a:srgbClr val="0B27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7" name="任意多边形: 形状 9936">
              <a:extLst>
                <a:ext uri="{FF2B5EF4-FFF2-40B4-BE49-F238E27FC236}">
                  <a16:creationId xmlns:a16="http://schemas.microsoft.com/office/drawing/2014/main" id="{761948EF-9805-48C6-B029-B83DAF87B32F}"/>
                </a:ext>
              </a:extLst>
            </p:cNvPr>
            <p:cNvSpPr/>
            <p:nvPr/>
          </p:nvSpPr>
          <p:spPr>
            <a:xfrm>
              <a:off x="9219247" y="2182813"/>
              <a:ext cx="76200" cy="82550"/>
            </a:xfrm>
            <a:custGeom>
              <a:avLst/>
              <a:gdLst>
                <a:gd name="connsiteX0" fmla="*/ 4763 w 76200"/>
                <a:gd name="connsiteY0" fmla="*/ 42227 h 82550"/>
                <a:gd name="connsiteX1" fmla="*/ 77153 w 76200"/>
                <a:gd name="connsiteY1" fmla="*/ 79058 h 82550"/>
                <a:gd name="connsiteX2" fmla="*/ 77153 w 76200"/>
                <a:gd name="connsiteY2" fmla="*/ 4763 h 82550"/>
                <a:gd name="connsiteX3" fmla="*/ 4763 w 76200"/>
                <a:gd name="connsiteY3" fmla="*/ 42227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82550">
                  <a:moveTo>
                    <a:pt x="4763" y="42227"/>
                  </a:moveTo>
                  <a:cubicBezTo>
                    <a:pt x="4763" y="62548"/>
                    <a:pt x="36513" y="78423"/>
                    <a:pt x="77153" y="79058"/>
                  </a:cubicBezTo>
                  <a:lnTo>
                    <a:pt x="77153" y="4763"/>
                  </a:lnTo>
                  <a:cubicBezTo>
                    <a:pt x="36513" y="6033"/>
                    <a:pt x="4763" y="21908"/>
                    <a:pt x="4763" y="42227"/>
                  </a:cubicBezTo>
                  <a:close/>
                </a:path>
              </a:pathLst>
            </a:custGeom>
            <a:solidFill>
              <a:srgbClr val="6B77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8" name="任意多边形: 形状 9937">
              <a:extLst>
                <a:ext uri="{FF2B5EF4-FFF2-40B4-BE49-F238E27FC236}">
                  <a16:creationId xmlns:a16="http://schemas.microsoft.com/office/drawing/2014/main" id="{AE1F3AD8-C585-4457-9805-F70358DD7443}"/>
                </a:ext>
              </a:extLst>
            </p:cNvPr>
            <p:cNvSpPr/>
            <p:nvPr/>
          </p:nvSpPr>
          <p:spPr>
            <a:xfrm>
              <a:off x="9291638" y="2182813"/>
              <a:ext cx="82550" cy="82550"/>
            </a:xfrm>
            <a:custGeom>
              <a:avLst/>
              <a:gdLst>
                <a:gd name="connsiteX0" fmla="*/ 7303 w 82550"/>
                <a:gd name="connsiteY0" fmla="*/ 4763 h 82550"/>
                <a:gd name="connsiteX1" fmla="*/ 4763 w 82550"/>
                <a:gd name="connsiteY1" fmla="*/ 4763 h 82550"/>
                <a:gd name="connsiteX2" fmla="*/ 4763 w 82550"/>
                <a:gd name="connsiteY2" fmla="*/ 79058 h 82550"/>
                <a:gd name="connsiteX3" fmla="*/ 7303 w 82550"/>
                <a:gd name="connsiteY3" fmla="*/ 79058 h 82550"/>
                <a:gd name="connsiteX4" fmla="*/ 82232 w 82550"/>
                <a:gd name="connsiteY4" fmla="*/ 41592 h 82550"/>
                <a:gd name="connsiteX5" fmla="*/ 7303 w 82550"/>
                <a:gd name="connsiteY5" fmla="*/ 4763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0" h="82550">
                  <a:moveTo>
                    <a:pt x="7303" y="4763"/>
                  </a:moveTo>
                  <a:cubicBezTo>
                    <a:pt x="6668" y="4763"/>
                    <a:pt x="5397" y="4763"/>
                    <a:pt x="4763" y="4763"/>
                  </a:cubicBezTo>
                  <a:lnTo>
                    <a:pt x="4763" y="79058"/>
                  </a:lnTo>
                  <a:cubicBezTo>
                    <a:pt x="5397" y="79058"/>
                    <a:pt x="6668" y="79058"/>
                    <a:pt x="7303" y="79058"/>
                  </a:cubicBezTo>
                  <a:cubicBezTo>
                    <a:pt x="48578" y="79058"/>
                    <a:pt x="82232" y="62548"/>
                    <a:pt x="82232" y="41592"/>
                  </a:cubicBezTo>
                  <a:cubicBezTo>
                    <a:pt x="81597" y="21908"/>
                    <a:pt x="48578" y="4763"/>
                    <a:pt x="7303" y="4763"/>
                  </a:cubicBezTo>
                  <a:close/>
                </a:path>
              </a:pathLst>
            </a:custGeom>
            <a:solidFill>
              <a:srgbClr val="41506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9" name="任意多边形: 形状 9938">
              <a:extLst>
                <a:ext uri="{FF2B5EF4-FFF2-40B4-BE49-F238E27FC236}">
                  <a16:creationId xmlns:a16="http://schemas.microsoft.com/office/drawing/2014/main" id="{830847A5-A238-4DF1-A8C6-8C4F75618BC3}"/>
                </a:ext>
              </a:extLst>
            </p:cNvPr>
            <p:cNvSpPr/>
            <p:nvPr/>
          </p:nvSpPr>
          <p:spPr>
            <a:xfrm>
              <a:off x="10294303" y="4233863"/>
              <a:ext cx="196850" cy="114300"/>
            </a:xfrm>
            <a:custGeom>
              <a:avLst/>
              <a:gdLst>
                <a:gd name="connsiteX0" fmla="*/ 88582 w 196850"/>
                <a:gd name="connsiteY0" fmla="*/ 4763 h 114300"/>
                <a:gd name="connsiteX1" fmla="*/ 4763 w 196850"/>
                <a:gd name="connsiteY1" fmla="*/ 4763 h 114300"/>
                <a:gd name="connsiteX2" fmla="*/ 4763 w 196850"/>
                <a:gd name="connsiteY2" fmla="*/ 115253 h 114300"/>
                <a:gd name="connsiteX3" fmla="*/ 194628 w 196850"/>
                <a:gd name="connsiteY3" fmla="*/ 11461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114300">
                  <a:moveTo>
                    <a:pt x="88582" y="4763"/>
                  </a:moveTo>
                  <a:lnTo>
                    <a:pt x="4763" y="4763"/>
                  </a:lnTo>
                  <a:lnTo>
                    <a:pt x="4763" y="115253"/>
                  </a:lnTo>
                  <a:lnTo>
                    <a:pt x="194628" y="114617"/>
                  </a:lnTo>
                  <a:close/>
                </a:path>
              </a:pathLst>
            </a:custGeom>
            <a:solidFill>
              <a:srgbClr val="41516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0" name="任意多边形: 形状 9939">
              <a:extLst>
                <a:ext uri="{FF2B5EF4-FFF2-40B4-BE49-F238E27FC236}">
                  <a16:creationId xmlns:a16="http://schemas.microsoft.com/office/drawing/2014/main" id="{57A0A078-613D-4199-B80F-A14C9F608D5B}"/>
                </a:ext>
              </a:extLst>
            </p:cNvPr>
            <p:cNvSpPr/>
            <p:nvPr/>
          </p:nvSpPr>
          <p:spPr>
            <a:xfrm>
              <a:off x="10110153" y="4233863"/>
              <a:ext cx="190500" cy="120650"/>
            </a:xfrm>
            <a:custGeom>
              <a:avLst/>
              <a:gdLst>
                <a:gd name="connsiteX0" fmla="*/ 110172 w 190500"/>
                <a:gd name="connsiteY0" fmla="*/ 4763 h 120650"/>
                <a:gd name="connsiteX1" fmla="*/ 4763 w 190500"/>
                <a:gd name="connsiteY1" fmla="*/ 115888 h 120650"/>
                <a:gd name="connsiteX2" fmla="*/ 188913 w 190500"/>
                <a:gd name="connsiteY2" fmla="*/ 115253 h 120650"/>
                <a:gd name="connsiteX3" fmla="*/ 188913 w 190500"/>
                <a:gd name="connsiteY3" fmla="*/ 4763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120650">
                  <a:moveTo>
                    <a:pt x="110172" y="4763"/>
                  </a:moveTo>
                  <a:lnTo>
                    <a:pt x="4763" y="115888"/>
                  </a:lnTo>
                  <a:lnTo>
                    <a:pt x="188913" y="115253"/>
                  </a:lnTo>
                  <a:lnTo>
                    <a:pt x="188913" y="4763"/>
                  </a:lnTo>
                  <a:close/>
                </a:path>
              </a:pathLst>
            </a:custGeom>
            <a:solidFill>
              <a:srgbClr val="5A667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1" name="任意多边形: 形状 9940">
              <a:extLst>
                <a:ext uri="{FF2B5EF4-FFF2-40B4-BE49-F238E27FC236}">
                  <a16:creationId xmlns:a16="http://schemas.microsoft.com/office/drawing/2014/main" id="{CFE2C6E2-D11B-4521-B32D-8C093E5E2EAB}"/>
                </a:ext>
              </a:extLst>
            </p:cNvPr>
            <p:cNvSpPr/>
            <p:nvPr/>
          </p:nvSpPr>
          <p:spPr>
            <a:xfrm>
              <a:off x="10294303" y="4132263"/>
              <a:ext cx="38100" cy="88900"/>
            </a:xfrm>
            <a:custGeom>
              <a:avLst/>
              <a:gdLst>
                <a:gd name="connsiteX0" fmla="*/ 39053 w 38100"/>
                <a:gd name="connsiteY0" fmla="*/ 4763 h 88900"/>
                <a:gd name="connsiteX1" fmla="*/ 4763 w 38100"/>
                <a:gd name="connsiteY1" fmla="*/ 4763 h 88900"/>
                <a:gd name="connsiteX2" fmla="*/ 4763 w 38100"/>
                <a:gd name="connsiteY2" fmla="*/ 86678 h 88900"/>
                <a:gd name="connsiteX3" fmla="*/ 39053 w 38100"/>
                <a:gd name="connsiteY3" fmla="*/ 86678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88900">
                  <a:moveTo>
                    <a:pt x="39053" y="4763"/>
                  </a:moveTo>
                  <a:lnTo>
                    <a:pt x="4763" y="4763"/>
                  </a:lnTo>
                  <a:lnTo>
                    <a:pt x="4763" y="86678"/>
                  </a:lnTo>
                  <a:lnTo>
                    <a:pt x="39053" y="86678"/>
                  </a:lnTo>
                  <a:close/>
                </a:path>
              </a:pathLst>
            </a:custGeom>
            <a:solidFill>
              <a:srgbClr val="41516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2" name="任意多边形: 形状 9941">
              <a:extLst>
                <a:ext uri="{FF2B5EF4-FFF2-40B4-BE49-F238E27FC236}">
                  <a16:creationId xmlns:a16="http://schemas.microsoft.com/office/drawing/2014/main" id="{AE4DEAE0-5EC5-4F7A-A330-B350D090CD04}"/>
                </a:ext>
              </a:extLst>
            </p:cNvPr>
            <p:cNvSpPr/>
            <p:nvPr/>
          </p:nvSpPr>
          <p:spPr>
            <a:xfrm>
              <a:off x="10259378" y="4132263"/>
              <a:ext cx="44450" cy="88900"/>
            </a:xfrm>
            <a:custGeom>
              <a:avLst/>
              <a:gdLst>
                <a:gd name="connsiteX0" fmla="*/ 4763 w 44450"/>
                <a:gd name="connsiteY0" fmla="*/ 4763 h 88900"/>
                <a:gd name="connsiteX1" fmla="*/ 4763 w 44450"/>
                <a:gd name="connsiteY1" fmla="*/ 86678 h 88900"/>
                <a:gd name="connsiteX2" fmla="*/ 39688 w 44450"/>
                <a:gd name="connsiteY2" fmla="*/ 86678 h 88900"/>
                <a:gd name="connsiteX3" fmla="*/ 39688 w 44450"/>
                <a:gd name="connsiteY3" fmla="*/ 4763 h 8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0" h="88900">
                  <a:moveTo>
                    <a:pt x="4763" y="4763"/>
                  </a:moveTo>
                  <a:lnTo>
                    <a:pt x="4763" y="86678"/>
                  </a:lnTo>
                  <a:lnTo>
                    <a:pt x="39688" y="86678"/>
                  </a:lnTo>
                  <a:lnTo>
                    <a:pt x="39688" y="4763"/>
                  </a:lnTo>
                  <a:close/>
                </a:path>
              </a:pathLst>
            </a:custGeom>
            <a:solidFill>
              <a:srgbClr val="5A667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3" name="任意多边形: 形状 9942">
              <a:extLst>
                <a:ext uri="{FF2B5EF4-FFF2-40B4-BE49-F238E27FC236}">
                  <a16:creationId xmlns:a16="http://schemas.microsoft.com/office/drawing/2014/main" id="{A32F49C7-2A23-4B7F-8E3C-E44DF93CF876}"/>
                </a:ext>
              </a:extLst>
            </p:cNvPr>
            <p:cNvSpPr/>
            <p:nvPr/>
          </p:nvSpPr>
          <p:spPr>
            <a:xfrm>
              <a:off x="9914572" y="3266758"/>
              <a:ext cx="762000" cy="762000"/>
            </a:xfrm>
            <a:custGeom>
              <a:avLst/>
              <a:gdLst>
                <a:gd name="connsiteX0" fmla="*/ 762953 w 762000"/>
                <a:gd name="connsiteY0" fmla="*/ 383858 h 762000"/>
                <a:gd name="connsiteX1" fmla="*/ 383858 w 762000"/>
                <a:gd name="connsiteY1" fmla="*/ 762952 h 762000"/>
                <a:gd name="connsiteX2" fmla="*/ 4763 w 762000"/>
                <a:gd name="connsiteY2" fmla="*/ 383858 h 762000"/>
                <a:gd name="connsiteX3" fmla="*/ 383858 w 762000"/>
                <a:gd name="connsiteY3" fmla="*/ 4763 h 762000"/>
                <a:gd name="connsiteX4" fmla="*/ 762953 w 762000"/>
                <a:gd name="connsiteY4" fmla="*/ 383858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0" h="762000">
                  <a:moveTo>
                    <a:pt x="762953" y="383858"/>
                  </a:moveTo>
                  <a:cubicBezTo>
                    <a:pt x="762953" y="593408"/>
                    <a:pt x="593408" y="762952"/>
                    <a:pt x="383858" y="762952"/>
                  </a:cubicBezTo>
                  <a:cubicBezTo>
                    <a:pt x="174943" y="762952"/>
                    <a:pt x="4763" y="593408"/>
                    <a:pt x="4763" y="383858"/>
                  </a:cubicBezTo>
                  <a:cubicBezTo>
                    <a:pt x="4763" y="174308"/>
                    <a:pt x="174308" y="4763"/>
                    <a:pt x="383858" y="4763"/>
                  </a:cubicBezTo>
                  <a:cubicBezTo>
                    <a:pt x="593408" y="4763"/>
                    <a:pt x="762953" y="174942"/>
                    <a:pt x="762953" y="383858"/>
                  </a:cubicBezTo>
                  <a:close/>
                </a:path>
              </a:pathLst>
            </a:custGeom>
            <a:solidFill>
              <a:srgbClr val="2330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4" name="任意多边形: 形状 9943">
              <a:extLst>
                <a:ext uri="{FF2B5EF4-FFF2-40B4-BE49-F238E27FC236}">
                  <a16:creationId xmlns:a16="http://schemas.microsoft.com/office/drawing/2014/main" id="{F9B8B80E-FE22-4B30-9774-D52AE4C0602F}"/>
                </a:ext>
              </a:extLst>
            </p:cNvPr>
            <p:cNvSpPr/>
            <p:nvPr/>
          </p:nvSpPr>
          <p:spPr>
            <a:xfrm>
              <a:off x="9842818" y="3191192"/>
              <a:ext cx="958850" cy="958850"/>
            </a:xfrm>
            <a:custGeom>
              <a:avLst/>
              <a:gdLst>
                <a:gd name="connsiteX0" fmla="*/ 822007 w 958850"/>
                <a:gd name="connsiteY0" fmla="*/ 122238 h 958850"/>
                <a:gd name="connsiteX1" fmla="*/ 858838 w 958850"/>
                <a:gd name="connsiteY1" fmla="*/ 83503 h 958850"/>
                <a:gd name="connsiteX2" fmla="*/ 868997 w 958850"/>
                <a:gd name="connsiteY2" fmla="*/ 84773 h 958850"/>
                <a:gd name="connsiteX3" fmla="*/ 909002 w 958850"/>
                <a:gd name="connsiteY3" fmla="*/ 44768 h 958850"/>
                <a:gd name="connsiteX4" fmla="*/ 868997 w 958850"/>
                <a:gd name="connsiteY4" fmla="*/ 4763 h 958850"/>
                <a:gd name="connsiteX5" fmla="*/ 828992 w 958850"/>
                <a:gd name="connsiteY5" fmla="*/ 44768 h 958850"/>
                <a:gd name="connsiteX6" fmla="*/ 829627 w 958850"/>
                <a:gd name="connsiteY6" fmla="*/ 50483 h 958850"/>
                <a:gd name="connsiteX7" fmla="*/ 690563 w 958850"/>
                <a:gd name="connsiteY7" fmla="*/ 192088 h 958850"/>
                <a:gd name="connsiteX8" fmla="*/ 721677 w 958850"/>
                <a:gd name="connsiteY8" fmla="*/ 227013 h 958850"/>
                <a:gd name="connsiteX9" fmla="*/ 780097 w 958850"/>
                <a:gd name="connsiteY9" fmla="*/ 165417 h 958850"/>
                <a:gd name="connsiteX10" fmla="*/ 893127 w 958850"/>
                <a:gd name="connsiteY10" fmla="*/ 458153 h 958850"/>
                <a:gd name="connsiteX11" fmla="*/ 456247 w 958850"/>
                <a:gd name="connsiteY11" fmla="*/ 895033 h 958850"/>
                <a:gd name="connsiteX12" fmla="*/ 163513 w 958850"/>
                <a:gd name="connsiteY12" fmla="*/ 782638 h 958850"/>
                <a:gd name="connsiteX13" fmla="*/ 226377 w 958850"/>
                <a:gd name="connsiteY13" fmla="*/ 722948 h 958850"/>
                <a:gd name="connsiteX14" fmla="*/ 191452 w 958850"/>
                <a:gd name="connsiteY14" fmla="*/ 692467 h 958850"/>
                <a:gd name="connsiteX15" fmla="*/ 50482 w 958850"/>
                <a:gd name="connsiteY15" fmla="*/ 831533 h 958850"/>
                <a:gd name="connsiteX16" fmla="*/ 44767 w 958850"/>
                <a:gd name="connsiteY16" fmla="*/ 830898 h 958850"/>
                <a:gd name="connsiteX17" fmla="*/ 4763 w 958850"/>
                <a:gd name="connsiteY17" fmla="*/ 870903 h 958850"/>
                <a:gd name="connsiteX18" fmla="*/ 44767 w 958850"/>
                <a:gd name="connsiteY18" fmla="*/ 910908 h 958850"/>
                <a:gd name="connsiteX19" fmla="*/ 84772 w 958850"/>
                <a:gd name="connsiteY19" fmla="*/ 870903 h 958850"/>
                <a:gd name="connsiteX20" fmla="*/ 83502 w 958850"/>
                <a:gd name="connsiteY20" fmla="*/ 860742 h 958850"/>
                <a:gd name="connsiteX21" fmla="*/ 120332 w 958850"/>
                <a:gd name="connsiteY21" fmla="*/ 825183 h 958850"/>
                <a:gd name="connsiteX22" fmla="*/ 456882 w 958850"/>
                <a:gd name="connsiteY22" fmla="*/ 956628 h 958850"/>
                <a:gd name="connsiteX23" fmla="*/ 954722 w 958850"/>
                <a:gd name="connsiteY23" fmla="*/ 458788 h 958850"/>
                <a:gd name="connsiteX24" fmla="*/ 822007 w 958850"/>
                <a:gd name="connsiteY24" fmla="*/ 122238 h 95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58850" h="958850">
                  <a:moveTo>
                    <a:pt x="822007" y="122238"/>
                  </a:moveTo>
                  <a:lnTo>
                    <a:pt x="858838" y="83503"/>
                  </a:lnTo>
                  <a:cubicBezTo>
                    <a:pt x="862013" y="84138"/>
                    <a:pt x="865822" y="84773"/>
                    <a:pt x="868997" y="84773"/>
                  </a:cubicBezTo>
                  <a:cubicBezTo>
                    <a:pt x="891222" y="84773"/>
                    <a:pt x="909002" y="66992"/>
                    <a:pt x="909002" y="44768"/>
                  </a:cubicBezTo>
                  <a:cubicBezTo>
                    <a:pt x="909002" y="22543"/>
                    <a:pt x="891222" y="4763"/>
                    <a:pt x="868997" y="4763"/>
                  </a:cubicBezTo>
                  <a:cubicBezTo>
                    <a:pt x="846772" y="4763"/>
                    <a:pt x="828992" y="22543"/>
                    <a:pt x="828992" y="44768"/>
                  </a:cubicBezTo>
                  <a:cubicBezTo>
                    <a:pt x="828992" y="46673"/>
                    <a:pt x="828992" y="48578"/>
                    <a:pt x="829627" y="50483"/>
                  </a:cubicBezTo>
                  <a:lnTo>
                    <a:pt x="690563" y="192088"/>
                  </a:lnTo>
                  <a:lnTo>
                    <a:pt x="721677" y="227013"/>
                  </a:lnTo>
                  <a:lnTo>
                    <a:pt x="780097" y="165417"/>
                  </a:lnTo>
                  <a:cubicBezTo>
                    <a:pt x="849947" y="242888"/>
                    <a:pt x="893127" y="345758"/>
                    <a:pt x="893127" y="458153"/>
                  </a:cubicBezTo>
                  <a:cubicBezTo>
                    <a:pt x="893127" y="699453"/>
                    <a:pt x="696913" y="895033"/>
                    <a:pt x="456247" y="895033"/>
                  </a:cubicBezTo>
                  <a:cubicBezTo>
                    <a:pt x="343852" y="895033"/>
                    <a:pt x="240982" y="852488"/>
                    <a:pt x="163513" y="782638"/>
                  </a:cubicBezTo>
                  <a:lnTo>
                    <a:pt x="226377" y="722948"/>
                  </a:lnTo>
                  <a:lnTo>
                    <a:pt x="191452" y="692467"/>
                  </a:lnTo>
                  <a:lnTo>
                    <a:pt x="50482" y="831533"/>
                  </a:lnTo>
                  <a:cubicBezTo>
                    <a:pt x="48577" y="831533"/>
                    <a:pt x="46672" y="830898"/>
                    <a:pt x="44767" y="830898"/>
                  </a:cubicBezTo>
                  <a:cubicBezTo>
                    <a:pt x="22542" y="830898"/>
                    <a:pt x="4763" y="848678"/>
                    <a:pt x="4763" y="870903"/>
                  </a:cubicBezTo>
                  <a:cubicBezTo>
                    <a:pt x="4763" y="893128"/>
                    <a:pt x="22542" y="910908"/>
                    <a:pt x="44767" y="910908"/>
                  </a:cubicBezTo>
                  <a:cubicBezTo>
                    <a:pt x="66992" y="910908"/>
                    <a:pt x="84772" y="893128"/>
                    <a:pt x="84772" y="870903"/>
                  </a:cubicBezTo>
                  <a:cubicBezTo>
                    <a:pt x="84772" y="867092"/>
                    <a:pt x="84138" y="863917"/>
                    <a:pt x="83502" y="860742"/>
                  </a:cubicBezTo>
                  <a:lnTo>
                    <a:pt x="120332" y="825183"/>
                  </a:lnTo>
                  <a:cubicBezTo>
                    <a:pt x="209232" y="906463"/>
                    <a:pt x="327342" y="956628"/>
                    <a:pt x="456882" y="956628"/>
                  </a:cubicBezTo>
                  <a:cubicBezTo>
                    <a:pt x="731202" y="956628"/>
                    <a:pt x="954722" y="733108"/>
                    <a:pt x="954722" y="458788"/>
                  </a:cubicBezTo>
                  <a:cubicBezTo>
                    <a:pt x="954088" y="329883"/>
                    <a:pt x="903922" y="211138"/>
                    <a:pt x="822007" y="122238"/>
                  </a:cubicBezTo>
                  <a:close/>
                </a:path>
              </a:pathLst>
            </a:custGeom>
            <a:solidFill>
              <a:srgbClr val="2330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5" name="任意多边形: 形状 9944">
              <a:extLst>
                <a:ext uri="{FF2B5EF4-FFF2-40B4-BE49-F238E27FC236}">
                  <a16:creationId xmlns:a16="http://schemas.microsoft.com/office/drawing/2014/main" id="{8F203297-A73F-4136-BEA5-362A215EFA05}"/>
                </a:ext>
              </a:extLst>
            </p:cNvPr>
            <p:cNvSpPr/>
            <p:nvPr/>
          </p:nvSpPr>
          <p:spPr>
            <a:xfrm>
              <a:off x="10215563" y="4205288"/>
              <a:ext cx="171450" cy="38100"/>
            </a:xfrm>
            <a:custGeom>
              <a:avLst/>
              <a:gdLst>
                <a:gd name="connsiteX0" fmla="*/ 4763 w 171450"/>
                <a:gd name="connsiteY0" fmla="*/ 4763 h 38100"/>
                <a:gd name="connsiteX1" fmla="*/ 167322 w 171450"/>
                <a:gd name="connsiteY1" fmla="*/ 4763 h 38100"/>
                <a:gd name="connsiteX2" fmla="*/ 167322 w 171450"/>
                <a:gd name="connsiteY2" fmla="*/ 33338 h 38100"/>
                <a:gd name="connsiteX3" fmla="*/ 4763 w 171450"/>
                <a:gd name="connsiteY3" fmla="*/ 3333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38100">
                  <a:moveTo>
                    <a:pt x="4763" y="4763"/>
                  </a:moveTo>
                  <a:lnTo>
                    <a:pt x="167322" y="4763"/>
                  </a:lnTo>
                  <a:lnTo>
                    <a:pt x="167322" y="33338"/>
                  </a:lnTo>
                  <a:lnTo>
                    <a:pt x="4763" y="33338"/>
                  </a:lnTo>
                  <a:close/>
                </a:path>
              </a:pathLst>
            </a:custGeom>
            <a:solidFill>
              <a:srgbClr val="2330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6" name="任意多边形: 形状 9945">
              <a:extLst>
                <a:ext uri="{FF2B5EF4-FFF2-40B4-BE49-F238E27FC236}">
                  <a16:creationId xmlns:a16="http://schemas.microsoft.com/office/drawing/2014/main" id="{EBE25D76-4F54-4F93-A401-9D20C41F2552}"/>
                </a:ext>
              </a:extLst>
            </p:cNvPr>
            <p:cNvSpPr/>
            <p:nvPr/>
          </p:nvSpPr>
          <p:spPr>
            <a:xfrm>
              <a:off x="10070148" y="4312603"/>
              <a:ext cx="457200" cy="69850"/>
            </a:xfrm>
            <a:custGeom>
              <a:avLst/>
              <a:gdLst>
                <a:gd name="connsiteX0" fmla="*/ 4762 w 457200"/>
                <a:gd name="connsiteY0" fmla="*/ 4763 h 69850"/>
                <a:gd name="connsiteX1" fmla="*/ 453072 w 457200"/>
                <a:gd name="connsiteY1" fmla="*/ 4763 h 69850"/>
                <a:gd name="connsiteX2" fmla="*/ 453072 w 457200"/>
                <a:gd name="connsiteY2" fmla="*/ 68898 h 69850"/>
                <a:gd name="connsiteX3" fmla="*/ 4762 w 457200"/>
                <a:gd name="connsiteY3" fmla="*/ 68898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" h="69850">
                  <a:moveTo>
                    <a:pt x="4762" y="4763"/>
                  </a:moveTo>
                  <a:lnTo>
                    <a:pt x="453072" y="4763"/>
                  </a:lnTo>
                  <a:lnTo>
                    <a:pt x="453072" y="68898"/>
                  </a:lnTo>
                  <a:lnTo>
                    <a:pt x="4762" y="68898"/>
                  </a:lnTo>
                  <a:close/>
                </a:path>
              </a:pathLst>
            </a:custGeom>
            <a:solidFill>
              <a:srgbClr val="23304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7" name="任意多边形: 形状 9946">
              <a:extLst>
                <a:ext uri="{FF2B5EF4-FFF2-40B4-BE49-F238E27FC236}">
                  <a16:creationId xmlns:a16="http://schemas.microsoft.com/office/drawing/2014/main" id="{EE818FB5-1E8C-44E2-B053-402590395D34}"/>
                </a:ext>
              </a:extLst>
            </p:cNvPr>
            <p:cNvSpPr/>
            <p:nvPr/>
          </p:nvSpPr>
          <p:spPr>
            <a:xfrm>
              <a:off x="10152697" y="3834447"/>
              <a:ext cx="133350" cy="146050"/>
            </a:xfrm>
            <a:custGeom>
              <a:avLst/>
              <a:gdLst>
                <a:gd name="connsiteX0" fmla="*/ 4763 w 133350"/>
                <a:gd name="connsiteY0" fmla="*/ 36513 h 146050"/>
                <a:gd name="connsiteX1" fmla="*/ 89853 w 133350"/>
                <a:gd name="connsiteY1" fmla="*/ 141923 h 146050"/>
                <a:gd name="connsiteX2" fmla="*/ 128588 w 133350"/>
                <a:gd name="connsiteY2" fmla="*/ 146368 h 146050"/>
                <a:gd name="connsiteX3" fmla="*/ 128588 w 133350"/>
                <a:gd name="connsiteY3" fmla="*/ 4763 h 146050"/>
                <a:gd name="connsiteX4" fmla="*/ 4763 w 133350"/>
                <a:gd name="connsiteY4" fmla="*/ 36513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146050">
                  <a:moveTo>
                    <a:pt x="4763" y="36513"/>
                  </a:moveTo>
                  <a:cubicBezTo>
                    <a:pt x="30163" y="90488"/>
                    <a:pt x="63818" y="122873"/>
                    <a:pt x="89853" y="141923"/>
                  </a:cubicBezTo>
                  <a:cubicBezTo>
                    <a:pt x="102553" y="143828"/>
                    <a:pt x="115253" y="145733"/>
                    <a:pt x="128588" y="146368"/>
                  </a:cubicBezTo>
                  <a:lnTo>
                    <a:pt x="128588" y="4763"/>
                  </a:lnTo>
                  <a:cubicBezTo>
                    <a:pt x="79693" y="6668"/>
                    <a:pt x="37783" y="20638"/>
                    <a:pt x="4763" y="36513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8" name="任意多边形: 形状 9947">
              <a:extLst>
                <a:ext uri="{FF2B5EF4-FFF2-40B4-BE49-F238E27FC236}">
                  <a16:creationId xmlns:a16="http://schemas.microsoft.com/office/drawing/2014/main" id="{3305BB9F-2DD7-4466-A647-C208C56CB38E}"/>
                </a:ext>
              </a:extLst>
            </p:cNvPr>
            <p:cNvSpPr/>
            <p:nvPr/>
          </p:nvSpPr>
          <p:spPr>
            <a:xfrm>
              <a:off x="10113328" y="3452813"/>
              <a:ext cx="171450" cy="184150"/>
            </a:xfrm>
            <a:custGeom>
              <a:avLst/>
              <a:gdLst>
                <a:gd name="connsiteX0" fmla="*/ 167322 w 171450"/>
                <a:gd name="connsiteY0" fmla="*/ 36513 h 184150"/>
                <a:gd name="connsiteX1" fmla="*/ 37147 w 171450"/>
                <a:gd name="connsiteY1" fmla="*/ 4763 h 184150"/>
                <a:gd name="connsiteX2" fmla="*/ 4763 w 171450"/>
                <a:gd name="connsiteY2" fmla="*/ 179388 h 184150"/>
                <a:gd name="connsiteX3" fmla="*/ 166688 w 171450"/>
                <a:gd name="connsiteY3" fmla="*/ 179388 h 184150"/>
                <a:gd name="connsiteX4" fmla="*/ 166688 w 171450"/>
                <a:gd name="connsiteY4" fmla="*/ 36513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84150">
                  <a:moveTo>
                    <a:pt x="167322" y="36513"/>
                  </a:moveTo>
                  <a:cubicBezTo>
                    <a:pt x="126682" y="34608"/>
                    <a:pt x="82867" y="25717"/>
                    <a:pt x="37147" y="4763"/>
                  </a:cubicBezTo>
                  <a:cubicBezTo>
                    <a:pt x="20638" y="49213"/>
                    <a:pt x="8572" y="106363"/>
                    <a:pt x="4763" y="179388"/>
                  </a:cubicBezTo>
                  <a:lnTo>
                    <a:pt x="166688" y="179388"/>
                  </a:lnTo>
                  <a:lnTo>
                    <a:pt x="166688" y="36513"/>
                  </a:ln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9" name="任意多边形: 形状 9948">
              <a:extLst>
                <a:ext uri="{FF2B5EF4-FFF2-40B4-BE49-F238E27FC236}">
                  <a16:creationId xmlns:a16="http://schemas.microsoft.com/office/drawing/2014/main" id="{8B8021F4-350D-43AA-8DB4-4AFC3D6B0DD9}"/>
                </a:ext>
              </a:extLst>
            </p:cNvPr>
            <p:cNvSpPr/>
            <p:nvPr/>
          </p:nvSpPr>
          <p:spPr>
            <a:xfrm>
              <a:off x="10418763" y="3340417"/>
              <a:ext cx="88900" cy="76200"/>
            </a:xfrm>
            <a:custGeom>
              <a:avLst/>
              <a:gdLst>
                <a:gd name="connsiteX0" fmla="*/ 84138 w 88900"/>
                <a:gd name="connsiteY0" fmla="*/ 51117 h 76200"/>
                <a:gd name="connsiteX1" fmla="*/ 4763 w 88900"/>
                <a:gd name="connsiteY1" fmla="*/ 4763 h 76200"/>
                <a:gd name="connsiteX2" fmla="*/ 43497 w 88900"/>
                <a:gd name="connsiteY2" fmla="*/ 76517 h 76200"/>
                <a:gd name="connsiteX3" fmla="*/ 84138 w 88900"/>
                <a:gd name="connsiteY3" fmla="*/ 5111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00" h="76200">
                  <a:moveTo>
                    <a:pt x="84138" y="51117"/>
                  </a:moveTo>
                  <a:cubicBezTo>
                    <a:pt x="60007" y="32067"/>
                    <a:pt x="33338" y="16192"/>
                    <a:pt x="4763" y="4763"/>
                  </a:cubicBezTo>
                  <a:cubicBezTo>
                    <a:pt x="16193" y="22542"/>
                    <a:pt x="30163" y="46673"/>
                    <a:pt x="43497" y="76517"/>
                  </a:cubicBezTo>
                  <a:cubicBezTo>
                    <a:pt x="56832" y="68898"/>
                    <a:pt x="70803" y="60642"/>
                    <a:pt x="84138" y="51117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0" name="任意多边形: 形状 9949">
              <a:extLst>
                <a:ext uri="{FF2B5EF4-FFF2-40B4-BE49-F238E27FC236}">
                  <a16:creationId xmlns:a16="http://schemas.microsoft.com/office/drawing/2014/main" id="{95B34D72-B614-4050-94F7-7B0710ACA524}"/>
                </a:ext>
              </a:extLst>
            </p:cNvPr>
            <p:cNvSpPr/>
            <p:nvPr/>
          </p:nvSpPr>
          <p:spPr>
            <a:xfrm>
              <a:off x="10468293" y="3405822"/>
              <a:ext cx="158750" cy="228600"/>
            </a:xfrm>
            <a:custGeom>
              <a:avLst/>
              <a:gdLst>
                <a:gd name="connsiteX0" fmla="*/ 44132 w 158750"/>
                <a:gd name="connsiteY0" fmla="*/ 226378 h 228600"/>
                <a:gd name="connsiteX1" fmla="*/ 159702 w 158750"/>
                <a:gd name="connsiteY1" fmla="*/ 226378 h 228600"/>
                <a:gd name="connsiteX2" fmla="*/ 56197 w 158750"/>
                <a:gd name="connsiteY2" fmla="*/ 4763 h 228600"/>
                <a:gd name="connsiteX3" fmla="*/ 4763 w 158750"/>
                <a:gd name="connsiteY3" fmla="*/ 37148 h 228600"/>
                <a:gd name="connsiteX4" fmla="*/ 44132 w 158750"/>
                <a:gd name="connsiteY4" fmla="*/ 226378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750" h="228600">
                  <a:moveTo>
                    <a:pt x="44132" y="226378"/>
                  </a:moveTo>
                  <a:lnTo>
                    <a:pt x="159702" y="226378"/>
                  </a:lnTo>
                  <a:cubicBezTo>
                    <a:pt x="154622" y="139383"/>
                    <a:pt x="115888" y="61278"/>
                    <a:pt x="56197" y="4763"/>
                  </a:cubicBezTo>
                  <a:cubicBezTo>
                    <a:pt x="44132" y="13653"/>
                    <a:pt x="26988" y="25083"/>
                    <a:pt x="4763" y="37148"/>
                  </a:cubicBezTo>
                  <a:cubicBezTo>
                    <a:pt x="25717" y="87948"/>
                    <a:pt x="42227" y="152083"/>
                    <a:pt x="44132" y="226378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1" name="任意多边形: 形状 9950">
              <a:extLst>
                <a:ext uri="{FF2B5EF4-FFF2-40B4-BE49-F238E27FC236}">
                  <a16:creationId xmlns:a16="http://schemas.microsoft.com/office/drawing/2014/main" id="{6E824A03-9267-4156-8DFA-23992F890512}"/>
                </a:ext>
              </a:extLst>
            </p:cNvPr>
            <p:cNvSpPr/>
            <p:nvPr/>
          </p:nvSpPr>
          <p:spPr>
            <a:xfrm>
              <a:off x="10310813" y="3833813"/>
              <a:ext cx="133350" cy="146050"/>
            </a:xfrm>
            <a:custGeom>
              <a:avLst/>
              <a:gdLst>
                <a:gd name="connsiteX0" fmla="*/ 4763 w 133350"/>
                <a:gd name="connsiteY0" fmla="*/ 146367 h 146050"/>
                <a:gd name="connsiteX1" fmla="*/ 45403 w 133350"/>
                <a:gd name="connsiteY1" fmla="*/ 141922 h 146050"/>
                <a:gd name="connsiteX2" fmla="*/ 129857 w 133350"/>
                <a:gd name="connsiteY2" fmla="*/ 37147 h 146050"/>
                <a:gd name="connsiteX3" fmla="*/ 4763 w 133350"/>
                <a:gd name="connsiteY3" fmla="*/ 4763 h 146050"/>
                <a:gd name="connsiteX4" fmla="*/ 4763 w 133350"/>
                <a:gd name="connsiteY4" fmla="*/ 146367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50" h="146050">
                  <a:moveTo>
                    <a:pt x="4763" y="146367"/>
                  </a:moveTo>
                  <a:cubicBezTo>
                    <a:pt x="18732" y="145733"/>
                    <a:pt x="32068" y="143828"/>
                    <a:pt x="45403" y="141922"/>
                  </a:cubicBezTo>
                  <a:cubicBezTo>
                    <a:pt x="71438" y="123508"/>
                    <a:pt x="104457" y="91122"/>
                    <a:pt x="129857" y="37147"/>
                  </a:cubicBezTo>
                  <a:cubicBezTo>
                    <a:pt x="85407" y="16192"/>
                    <a:pt x="43497" y="6667"/>
                    <a:pt x="4763" y="4763"/>
                  </a:cubicBezTo>
                  <a:lnTo>
                    <a:pt x="4763" y="146367"/>
                  </a:ln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2" name="任意多边形: 形状 9951">
              <a:extLst>
                <a:ext uri="{FF2B5EF4-FFF2-40B4-BE49-F238E27FC236}">
                  <a16:creationId xmlns:a16="http://schemas.microsoft.com/office/drawing/2014/main" id="{38762B2D-FEDE-42BC-AEB2-43318C129DFC}"/>
                </a:ext>
              </a:extLst>
            </p:cNvPr>
            <p:cNvSpPr/>
            <p:nvPr/>
          </p:nvSpPr>
          <p:spPr>
            <a:xfrm>
              <a:off x="10310178" y="3662363"/>
              <a:ext cx="171450" cy="184150"/>
            </a:xfrm>
            <a:custGeom>
              <a:avLst/>
              <a:gdLst>
                <a:gd name="connsiteX0" fmla="*/ 5397 w 171450"/>
                <a:gd name="connsiteY0" fmla="*/ 147638 h 184150"/>
                <a:gd name="connsiteX1" fmla="*/ 141288 w 171450"/>
                <a:gd name="connsiteY1" fmla="*/ 183197 h 184150"/>
                <a:gd name="connsiteX2" fmla="*/ 169863 w 171450"/>
                <a:gd name="connsiteY2" fmla="*/ 4763 h 184150"/>
                <a:gd name="connsiteX3" fmla="*/ 4763 w 171450"/>
                <a:gd name="connsiteY3" fmla="*/ 4763 h 184150"/>
                <a:gd name="connsiteX4" fmla="*/ 4763 w 171450"/>
                <a:gd name="connsiteY4" fmla="*/ 147638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84150">
                  <a:moveTo>
                    <a:pt x="5397" y="147638"/>
                  </a:moveTo>
                  <a:cubicBezTo>
                    <a:pt x="58103" y="150813"/>
                    <a:pt x="104457" y="166053"/>
                    <a:pt x="141288" y="183197"/>
                  </a:cubicBezTo>
                  <a:cubicBezTo>
                    <a:pt x="158432" y="137478"/>
                    <a:pt x="170497" y="79058"/>
                    <a:pt x="169863" y="4763"/>
                  </a:cubicBezTo>
                  <a:lnTo>
                    <a:pt x="4763" y="4763"/>
                  </a:lnTo>
                  <a:lnTo>
                    <a:pt x="4763" y="147638"/>
                  </a:ln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3" name="任意多边形: 形状 9952">
              <a:extLst>
                <a:ext uri="{FF2B5EF4-FFF2-40B4-BE49-F238E27FC236}">
                  <a16:creationId xmlns:a16="http://schemas.microsoft.com/office/drawing/2014/main" id="{552CE984-B818-4A42-8626-F84438CE9117}"/>
                </a:ext>
              </a:extLst>
            </p:cNvPr>
            <p:cNvSpPr/>
            <p:nvPr/>
          </p:nvSpPr>
          <p:spPr>
            <a:xfrm>
              <a:off x="10090468" y="3340417"/>
              <a:ext cx="88900" cy="76200"/>
            </a:xfrm>
            <a:custGeom>
              <a:avLst/>
              <a:gdLst>
                <a:gd name="connsiteX0" fmla="*/ 84138 w 88900"/>
                <a:gd name="connsiteY0" fmla="*/ 4763 h 76200"/>
                <a:gd name="connsiteX1" fmla="*/ 4763 w 88900"/>
                <a:gd name="connsiteY1" fmla="*/ 50483 h 76200"/>
                <a:gd name="connsiteX2" fmla="*/ 44767 w 88900"/>
                <a:gd name="connsiteY2" fmla="*/ 76517 h 76200"/>
                <a:gd name="connsiteX3" fmla="*/ 84138 w 88900"/>
                <a:gd name="connsiteY3" fmla="*/ 476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00" h="76200">
                  <a:moveTo>
                    <a:pt x="84138" y="4763"/>
                  </a:moveTo>
                  <a:cubicBezTo>
                    <a:pt x="55563" y="16192"/>
                    <a:pt x="28892" y="32067"/>
                    <a:pt x="4763" y="50483"/>
                  </a:cubicBezTo>
                  <a:cubicBezTo>
                    <a:pt x="14922" y="58103"/>
                    <a:pt x="28257" y="66992"/>
                    <a:pt x="44767" y="76517"/>
                  </a:cubicBezTo>
                  <a:cubicBezTo>
                    <a:pt x="58102" y="46673"/>
                    <a:pt x="72072" y="22542"/>
                    <a:pt x="84138" y="4763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4" name="任意多边形: 形状 9953">
              <a:extLst>
                <a:ext uri="{FF2B5EF4-FFF2-40B4-BE49-F238E27FC236}">
                  <a16:creationId xmlns:a16="http://schemas.microsoft.com/office/drawing/2014/main" id="{3C5C0F48-E427-47AF-8F3F-165D2142B606}"/>
                </a:ext>
              </a:extLst>
            </p:cNvPr>
            <p:cNvSpPr/>
            <p:nvPr/>
          </p:nvSpPr>
          <p:spPr>
            <a:xfrm>
              <a:off x="10112693" y="3661728"/>
              <a:ext cx="171450" cy="184150"/>
            </a:xfrm>
            <a:custGeom>
              <a:avLst/>
              <a:gdLst>
                <a:gd name="connsiteX0" fmla="*/ 4763 w 171450"/>
                <a:gd name="connsiteY0" fmla="*/ 4763 h 184150"/>
                <a:gd name="connsiteX1" fmla="*/ 32702 w 171450"/>
                <a:gd name="connsiteY1" fmla="*/ 181292 h 184150"/>
                <a:gd name="connsiteX2" fmla="*/ 167322 w 171450"/>
                <a:gd name="connsiteY2" fmla="*/ 147638 h 184150"/>
                <a:gd name="connsiteX3" fmla="*/ 167322 w 171450"/>
                <a:gd name="connsiteY3" fmla="*/ 4763 h 184150"/>
                <a:gd name="connsiteX4" fmla="*/ 4763 w 171450"/>
                <a:gd name="connsiteY4" fmla="*/ 4763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84150">
                  <a:moveTo>
                    <a:pt x="4763" y="4763"/>
                  </a:moveTo>
                  <a:cubicBezTo>
                    <a:pt x="4763" y="78422"/>
                    <a:pt x="15557" y="136207"/>
                    <a:pt x="32702" y="181292"/>
                  </a:cubicBezTo>
                  <a:cubicBezTo>
                    <a:pt x="79692" y="159067"/>
                    <a:pt x="125413" y="148907"/>
                    <a:pt x="167322" y="147638"/>
                  </a:cubicBezTo>
                  <a:lnTo>
                    <a:pt x="167322" y="4763"/>
                  </a:lnTo>
                  <a:lnTo>
                    <a:pt x="4763" y="4763"/>
                  </a:ln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5" name="任意多边形: 形状 9954">
              <a:extLst>
                <a:ext uri="{FF2B5EF4-FFF2-40B4-BE49-F238E27FC236}">
                  <a16:creationId xmlns:a16="http://schemas.microsoft.com/office/drawing/2014/main" id="{E3FB8C92-3953-480F-82FE-897E88010E33}"/>
                </a:ext>
              </a:extLst>
            </p:cNvPr>
            <p:cNvSpPr/>
            <p:nvPr/>
          </p:nvSpPr>
          <p:spPr>
            <a:xfrm>
              <a:off x="10310813" y="3316288"/>
              <a:ext cx="127000" cy="146050"/>
            </a:xfrm>
            <a:custGeom>
              <a:avLst/>
              <a:gdLst>
                <a:gd name="connsiteX0" fmla="*/ 4763 w 127000"/>
                <a:gd name="connsiteY0" fmla="*/ 143828 h 146050"/>
                <a:gd name="connsiteX1" fmla="*/ 125413 w 127000"/>
                <a:gd name="connsiteY1" fmla="*/ 113347 h 146050"/>
                <a:gd name="connsiteX2" fmla="*/ 42863 w 127000"/>
                <a:gd name="connsiteY2" fmla="*/ 8572 h 146050"/>
                <a:gd name="connsiteX3" fmla="*/ 5397 w 127000"/>
                <a:gd name="connsiteY3" fmla="*/ 4763 h 146050"/>
                <a:gd name="connsiteX4" fmla="*/ 5397 w 127000"/>
                <a:gd name="connsiteY4" fmla="*/ 143828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00" h="146050">
                  <a:moveTo>
                    <a:pt x="4763" y="143828"/>
                  </a:moveTo>
                  <a:cubicBezTo>
                    <a:pt x="42228" y="141922"/>
                    <a:pt x="82232" y="133033"/>
                    <a:pt x="125413" y="113347"/>
                  </a:cubicBezTo>
                  <a:cubicBezTo>
                    <a:pt x="101282" y="61278"/>
                    <a:pt x="70168" y="28892"/>
                    <a:pt x="42863" y="8572"/>
                  </a:cubicBezTo>
                  <a:cubicBezTo>
                    <a:pt x="30797" y="6667"/>
                    <a:pt x="18097" y="5397"/>
                    <a:pt x="5397" y="4763"/>
                  </a:cubicBezTo>
                  <a:lnTo>
                    <a:pt x="5397" y="143828"/>
                  </a:ln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6" name="任意多边形: 形状 9955">
              <a:extLst>
                <a:ext uri="{FF2B5EF4-FFF2-40B4-BE49-F238E27FC236}">
                  <a16:creationId xmlns:a16="http://schemas.microsoft.com/office/drawing/2014/main" id="{613A74A2-F343-4952-90E1-927D91CE016F}"/>
                </a:ext>
              </a:extLst>
            </p:cNvPr>
            <p:cNvSpPr/>
            <p:nvPr/>
          </p:nvSpPr>
          <p:spPr>
            <a:xfrm>
              <a:off x="10310813" y="3451542"/>
              <a:ext cx="171450" cy="184150"/>
            </a:xfrm>
            <a:custGeom>
              <a:avLst/>
              <a:gdLst>
                <a:gd name="connsiteX0" fmla="*/ 4763 w 171450"/>
                <a:gd name="connsiteY0" fmla="*/ 37148 h 184150"/>
                <a:gd name="connsiteX1" fmla="*/ 4763 w 171450"/>
                <a:gd name="connsiteY1" fmla="*/ 180658 h 184150"/>
                <a:gd name="connsiteX2" fmla="*/ 168593 w 171450"/>
                <a:gd name="connsiteY2" fmla="*/ 180658 h 184150"/>
                <a:gd name="connsiteX3" fmla="*/ 135572 w 171450"/>
                <a:gd name="connsiteY3" fmla="*/ 4763 h 184150"/>
                <a:gd name="connsiteX4" fmla="*/ 4763 w 171450"/>
                <a:gd name="connsiteY4" fmla="*/ 37148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84150">
                  <a:moveTo>
                    <a:pt x="4763" y="37148"/>
                  </a:moveTo>
                  <a:lnTo>
                    <a:pt x="4763" y="180658"/>
                  </a:lnTo>
                  <a:lnTo>
                    <a:pt x="168593" y="180658"/>
                  </a:lnTo>
                  <a:cubicBezTo>
                    <a:pt x="165418" y="106998"/>
                    <a:pt x="152718" y="49213"/>
                    <a:pt x="135572" y="4763"/>
                  </a:cubicBezTo>
                  <a:cubicBezTo>
                    <a:pt x="99378" y="20638"/>
                    <a:pt x="54928" y="34608"/>
                    <a:pt x="4763" y="37148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7" name="任意多边形: 形状 9956">
              <a:extLst>
                <a:ext uri="{FF2B5EF4-FFF2-40B4-BE49-F238E27FC236}">
                  <a16:creationId xmlns:a16="http://schemas.microsoft.com/office/drawing/2014/main" id="{44486B5D-8159-4822-9996-61BF51E66F45}"/>
                </a:ext>
              </a:extLst>
            </p:cNvPr>
            <p:cNvSpPr/>
            <p:nvPr/>
          </p:nvSpPr>
          <p:spPr>
            <a:xfrm>
              <a:off x="10157143" y="3316288"/>
              <a:ext cx="127000" cy="146050"/>
            </a:xfrm>
            <a:custGeom>
              <a:avLst/>
              <a:gdLst>
                <a:gd name="connsiteX0" fmla="*/ 123507 w 127000"/>
                <a:gd name="connsiteY0" fmla="*/ 4763 h 146050"/>
                <a:gd name="connsiteX1" fmla="*/ 87947 w 127000"/>
                <a:gd name="connsiteY1" fmla="*/ 8572 h 146050"/>
                <a:gd name="connsiteX2" fmla="*/ 4763 w 127000"/>
                <a:gd name="connsiteY2" fmla="*/ 113983 h 146050"/>
                <a:gd name="connsiteX3" fmla="*/ 123507 w 127000"/>
                <a:gd name="connsiteY3" fmla="*/ 143828 h 146050"/>
                <a:gd name="connsiteX4" fmla="*/ 123507 w 127000"/>
                <a:gd name="connsiteY4" fmla="*/ 4763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00" h="146050">
                  <a:moveTo>
                    <a:pt x="123507" y="4763"/>
                  </a:moveTo>
                  <a:cubicBezTo>
                    <a:pt x="111442" y="5397"/>
                    <a:pt x="99377" y="6667"/>
                    <a:pt x="87947" y="8572"/>
                  </a:cubicBezTo>
                  <a:cubicBezTo>
                    <a:pt x="60007" y="28892"/>
                    <a:pt x="29527" y="61278"/>
                    <a:pt x="4763" y="113983"/>
                  </a:cubicBezTo>
                  <a:cubicBezTo>
                    <a:pt x="37147" y="128588"/>
                    <a:pt x="77788" y="141288"/>
                    <a:pt x="123507" y="143828"/>
                  </a:cubicBezTo>
                  <a:lnTo>
                    <a:pt x="123507" y="4763"/>
                  </a:ln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8" name="任意多边形: 形状 9957">
              <a:extLst>
                <a:ext uri="{FF2B5EF4-FFF2-40B4-BE49-F238E27FC236}">
                  <a16:creationId xmlns:a16="http://schemas.microsoft.com/office/drawing/2014/main" id="{2F71729C-B2C5-452F-8BD5-7E9E973AD4CA}"/>
                </a:ext>
              </a:extLst>
            </p:cNvPr>
            <p:cNvSpPr/>
            <p:nvPr/>
          </p:nvSpPr>
          <p:spPr>
            <a:xfrm>
              <a:off x="10089197" y="3876992"/>
              <a:ext cx="88900" cy="82550"/>
            </a:xfrm>
            <a:custGeom>
              <a:avLst/>
              <a:gdLst>
                <a:gd name="connsiteX0" fmla="*/ 4763 w 88900"/>
                <a:gd name="connsiteY0" fmla="*/ 32067 h 82550"/>
                <a:gd name="connsiteX1" fmla="*/ 84138 w 88900"/>
                <a:gd name="connsiteY1" fmla="*/ 79058 h 82550"/>
                <a:gd name="connsiteX2" fmla="*/ 46672 w 88900"/>
                <a:gd name="connsiteY2" fmla="*/ 4763 h 82550"/>
                <a:gd name="connsiteX3" fmla="*/ 4763 w 88900"/>
                <a:gd name="connsiteY3" fmla="*/ 32067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00" h="82550">
                  <a:moveTo>
                    <a:pt x="4763" y="32067"/>
                  </a:moveTo>
                  <a:cubicBezTo>
                    <a:pt x="28893" y="51117"/>
                    <a:pt x="55563" y="66992"/>
                    <a:pt x="84138" y="79058"/>
                  </a:cubicBezTo>
                  <a:cubicBezTo>
                    <a:pt x="69533" y="53658"/>
                    <a:pt x="56833" y="28892"/>
                    <a:pt x="46672" y="4763"/>
                  </a:cubicBezTo>
                  <a:cubicBezTo>
                    <a:pt x="29528" y="14288"/>
                    <a:pt x="14922" y="23813"/>
                    <a:pt x="4763" y="32067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9" name="任意多边形: 形状 9958">
              <a:extLst>
                <a:ext uri="{FF2B5EF4-FFF2-40B4-BE49-F238E27FC236}">
                  <a16:creationId xmlns:a16="http://schemas.microsoft.com/office/drawing/2014/main" id="{E5C8B03B-E022-48BD-859A-68767972E8F5}"/>
                </a:ext>
              </a:extLst>
            </p:cNvPr>
            <p:cNvSpPr/>
            <p:nvPr/>
          </p:nvSpPr>
          <p:spPr>
            <a:xfrm>
              <a:off x="9964103" y="3661728"/>
              <a:ext cx="165100" cy="228600"/>
            </a:xfrm>
            <a:custGeom>
              <a:avLst/>
              <a:gdLst>
                <a:gd name="connsiteX0" fmla="*/ 120967 w 165100"/>
                <a:gd name="connsiteY0" fmla="*/ 4763 h 228600"/>
                <a:gd name="connsiteX1" fmla="*/ 4763 w 165100"/>
                <a:gd name="connsiteY1" fmla="*/ 4763 h 228600"/>
                <a:gd name="connsiteX2" fmla="*/ 106363 w 165100"/>
                <a:gd name="connsiteY2" fmla="*/ 227013 h 228600"/>
                <a:gd name="connsiteX3" fmla="*/ 160338 w 165100"/>
                <a:gd name="connsiteY3" fmla="*/ 192088 h 228600"/>
                <a:gd name="connsiteX4" fmla="*/ 120967 w 165100"/>
                <a:gd name="connsiteY4" fmla="*/ 476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00" h="228600">
                  <a:moveTo>
                    <a:pt x="120967" y="4763"/>
                  </a:moveTo>
                  <a:lnTo>
                    <a:pt x="4763" y="4763"/>
                  </a:lnTo>
                  <a:cubicBezTo>
                    <a:pt x="9207" y="91757"/>
                    <a:pt x="47307" y="170497"/>
                    <a:pt x="106363" y="227013"/>
                  </a:cubicBezTo>
                  <a:cubicBezTo>
                    <a:pt x="124778" y="213677"/>
                    <a:pt x="142557" y="202247"/>
                    <a:pt x="160338" y="192088"/>
                  </a:cubicBezTo>
                  <a:cubicBezTo>
                    <a:pt x="134938" y="125413"/>
                    <a:pt x="123507" y="62547"/>
                    <a:pt x="120967" y="4763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0" name="任意多边形: 形状 9959">
              <a:extLst>
                <a:ext uri="{FF2B5EF4-FFF2-40B4-BE49-F238E27FC236}">
                  <a16:creationId xmlns:a16="http://schemas.microsoft.com/office/drawing/2014/main" id="{02A7E2D0-3862-456C-88AC-18E5B3129782}"/>
                </a:ext>
              </a:extLst>
            </p:cNvPr>
            <p:cNvSpPr/>
            <p:nvPr/>
          </p:nvSpPr>
          <p:spPr>
            <a:xfrm>
              <a:off x="10420032" y="3876992"/>
              <a:ext cx="88900" cy="82550"/>
            </a:xfrm>
            <a:custGeom>
              <a:avLst/>
              <a:gdLst>
                <a:gd name="connsiteX0" fmla="*/ 4763 w 88900"/>
                <a:gd name="connsiteY0" fmla="*/ 79058 h 82550"/>
                <a:gd name="connsiteX1" fmla="*/ 84773 w 88900"/>
                <a:gd name="connsiteY1" fmla="*/ 31433 h 82550"/>
                <a:gd name="connsiteX2" fmla="*/ 42228 w 88900"/>
                <a:gd name="connsiteY2" fmla="*/ 4763 h 82550"/>
                <a:gd name="connsiteX3" fmla="*/ 4763 w 88900"/>
                <a:gd name="connsiteY3" fmla="*/ 79058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00" h="82550">
                  <a:moveTo>
                    <a:pt x="4763" y="79058"/>
                  </a:moveTo>
                  <a:cubicBezTo>
                    <a:pt x="33973" y="66992"/>
                    <a:pt x="60643" y="51117"/>
                    <a:pt x="84773" y="31433"/>
                  </a:cubicBezTo>
                  <a:cubicBezTo>
                    <a:pt x="70168" y="21273"/>
                    <a:pt x="56198" y="12383"/>
                    <a:pt x="42228" y="4763"/>
                  </a:cubicBezTo>
                  <a:cubicBezTo>
                    <a:pt x="31433" y="28892"/>
                    <a:pt x="19368" y="53658"/>
                    <a:pt x="4763" y="79058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1" name="任意多边形: 形状 9960">
              <a:extLst>
                <a:ext uri="{FF2B5EF4-FFF2-40B4-BE49-F238E27FC236}">
                  <a16:creationId xmlns:a16="http://schemas.microsoft.com/office/drawing/2014/main" id="{4F51C4E2-0692-4522-896C-5B1A69F96CE4}"/>
                </a:ext>
              </a:extLst>
            </p:cNvPr>
            <p:cNvSpPr/>
            <p:nvPr/>
          </p:nvSpPr>
          <p:spPr>
            <a:xfrm>
              <a:off x="10468293" y="3661728"/>
              <a:ext cx="165100" cy="228600"/>
            </a:xfrm>
            <a:custGeom>
              <a:avLst/>
              <a:gdLst>
                <a:gd name="connsiteX0" fmla="*/ 160338 w 165100"/>
                <a:gd name="connsiteY0" fmla="*/ 4763 h 228600"/>
                <a:gd name="connsiteX1" fmla="*/ 44767 w 165100"/>
                <a:gd name="connsiteY1" fmla="*/ 4763 h 228600"/>
                <a:gd name="connsiteX2" fmla="*/ 4763 w 165100"/>
                <a:gd name="connsiteY2" fmla="*/ 193992 h 228600"/>
                <a:gd name="connsiteX3" fmla="*/ 58102 w 165100"/>
                <a:gd name="connsiteY3" fmla="*/ 227647 h 228600"/>
                <a:gd name="connsiteX4" fmla="*/ 160338 w 165100"/>
                <a:gd name="connsiteY4" fmla="*/ 476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00" h="228600">
                  <a:moveTo>
                    <a:pt x="160338" y="4763"/>
                  </a:moveTo>
                  <a:lnTo>
                    <a:pt x="44767" y="4763"/>
                  </a:lnTo>
                  <a:cubicBezTo>
                    <a:pt x="42863" y="63182"/>
                    <a:pt x="30797" y="126682"/>
                    <a:pt x="4763" y="193992"/>
                  </a:cubicBezTo>
                  <a:cubicBezTo>
                    <a:pt x="28257" y="206057"/>
                    <a:pt x="46038" y="218757"/>
                    <a:pt x="58102" y="227647"/>
                  </a:cubicBezTo>
                  <a:cubicBezTo>
                    <a:pt x="117157" y="171132"/>
                    <a:pt x="155892" y="92392"/>
                    <a:pt x="160338" y="4763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2" name="任意多边形: 形状 9961">
              <a:extLst>
                <a:ext uri="{FF2B5EF4-FFF2-40B4-BE49-F238E27FC236}">
                  <a16:creationId xmlns:a16="http://schemas.microsoft.com/office/drawing/2014/main" id="{4BC0F289-E727-4903-9981-FB069FA81E18}"/>
                </a:ext>
              </a:extLst>
            </p:cNvPr>
            <p:cNvSpPr/>
            <p:nvPr/>
          </p:nvSpPr>
          <p:spPr>
            <a:xfrm>
              <a:off x="9964738" y="3406458"/>
              <a:ext cx="158750" cy="228600"/>
            </a:xfrm>
            <a:custGeom>
              <a:avLst/>
              <a:gdLst>
                <a:gd name="connsiteX0" fmla="*/ 159068 w 158750"/>
                <a:gd name="connsiteY0" fmla="*/ 37783 h 228600"/>
                <a:gd name="connsiteX1" fmla="*/ 107632 w 158750"/>
                <a:gd name="connsiteY1" fmla="*/ 4763 h 228600"/>
                <a:gd name="connsiteX2" fmla="*/ 4763 w 158750"/>
                <a:gd name="connsiteY2" fmla="*/ 225742 h 228600"/>
                <a:gd name="connsiteX3" fmla="*/ 120968 w 158750"/>
                <a:gd name="connsiteY3" fmla="*/ 225742 h 228600"/>
                <a:gd name="connsiteX4" fmla="*/ 159068 w 158750"/>
                <a:gd name="connsiteY4" fmla="*/ 3778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750" h="228600">
                  <a:moveTo>
                    <a:pt x="159068" y="37783"/>
                  </a:moveTo>
                  <a:cubicBezTo>
                    <a:pt x="141922" y="28258"/>
                    <a:pt x="124778" y="17463"/>
                    <a:pt x="107632" y="4763"/>
                  </a:cubicBezTo>
                  <a:cubicBezTo>
                    <a:pt x="47943" y="61277"/>
                    <a:pt x="9843" y="138747"/>
                    <a:pt x="4763" y="225742"/>
                  </a:cubicBezTo>
                  <a:lnTo>
                    <a:pt x="120968" y="225742"/>
                  </a:lnTo>
                  <a:cubicBezTo>
                    <a:pt x="122238" y="152083"/>
                    <a:pt x="138747" y="88583"/>
                    <a:pt x="159068" y="37783"/>
                  </a:cubicBezTo>
                  <a:close/>
                </a:path>
              </a:pathLst>
            </a:custGeom>
            <a:solidFill>
              <a:srgbClr val="01BED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3" name="任意多边形: 形状 9962">
              <a:extLst>
                <a:ext uri="{FF2B5EF4-FFF2-40B4-BE49-F238E27FC236}">
                  <a16:creationId xmlns:a16="http://schemas.microsoft.com/office/drawing/2014/main" id="{6C04DAAC-91AE-40D2-A879-D6A0943789AF}"/>
                </a:ext>
              </a:extLst>
            </p:cNvPr>
            <p:cNvSpPr/>
            <p:nvPr/>
          </p:nvSpPr>
          <p:spPr>
            <a:xfrm>
              <a:off x="9570403" y="3476308"/>
              <a:ext cx="31750" cy="69850"/>
            </a:xfrm>
            <a:custGeom>
              <a:avLst/>
              <a:gdLst>
                <a:gd name="connsiteX0" fmla="*/ 4763 w 31750"/>
                <a:gd name="connsiteY0" fmla="*/ 4763 h 69850"/>
                <a:gd name="connsiteX1" fmla="*/ 32703 w 31750"/>
                <a:gd name="connsiteY1" fmla="*/ 4763 h 69850"/>
                <a:gd name="connsiteX2" fmla="*/ 32703 w 31750"/>
                <a:gd name="connsiteY2" fmla="*/ 67628 h 69850"/>
                <a:gd name="connsiteX3" fmla="*/ 4763 w 31750"/>
                <a:gd name="connsiteY3" fmla="*/ 67628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69850">
                  <a:moveTo>
                    <a:pt x="4763" y="4763"/>
                  </a:moveTo>
                  <a:lnTo>
                    <a:pt x="32703" y="4763"/>
                  </a:lnTo>
                  <a:lnTo>
                    <a:pt x="32703" y="67628"/>
                  </a:lnTo>
                  <a:lnTo>
                    <a:pt x="4763" y="67628"/>
                  </a:lnTo>
                  <a:close/>
                </a:path>
              </a:pathLst>
            </a:custGeom>
            <a:solidFill>
              <a:srgbClr val="41506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4" name="任意多边形: 形状 9963">
              <a:extLst>
                <a:ext uri="{FF2B5EF4-FFF2-40B4-BE49-F238E27FC236}">
                  <a16:creationId xmlns:a16="http://schemas.microsoft.com/office/drawing/2014/main" id="{1ED08F6E-CAD4-4D37-9E37-46F7CC7BE996}"/>
                </a:ext>
              </a:extLst>
            </p:cNvPr>
            <p:cNvSpPr/>
            <p:nvPr/>
          </p:nvSpPr>
          <p:spPr>
            <a:xfrm>
              <a:off x="9556432" y="3340417"/>
              <a:ext cx="31750" cy="158750"/>
            </a:xfrm>
            <a:custGeom>
              <a:avLst/>
              <a:gdLst>
                <a:gd name="connsiteX0" fmla="*/ 4763 w 31750"/>
                <a:gd name="connsiteY0" fmla="*/ 35242 h 158750"/>
                <a:gd name="connsiteX1" fmla="*/ 4763 w 31750"/>
                <a:gd name="connsiteY1" fmla="*/ 125413 h 158750"/>
                <a:gd name="connsiteX2" fmla="*/ 32703 w 31750"/>
                <a:gd name="connsiteY2" fmla="*/ 156528 h 158750"/>
                <a:gd name="connsiteX3" fmla="*/ 32703 w 31750"/>
                <a:gd name="connsiteY3" fmla="*/ 4763 h 158750"/>
                <a:gd name="connsiteX4" fmla="*/ 4763 w 31750"/>
                <a:gd name="connsiteY4" fmla="*/ 3524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158750">
                  <a:moveTo>
                    <a:pt x="4763" y="35242"/>
                  </a:moveTo>
                  <a:lnTo>
                    <a:pt x="4763" y="125413"/>
                  </a:lnTo>
                  <a:cubicBezTo>
                    <a:pt x="4763" y="142558"/>
                    <a:pt x="17463" y="156528"/>
                    <a:pt x="32703" y="156528"/>
                  </a:cubicBezTo>
                  <a:lnTo>
                    <a:pt x="32703" y="4763"/>
                  </a:lnTo>
                  <a:cubicBezTo>
                    <a:pt x="17463" y="4763"/>
                    <a:pt x="4763" y="18733"/>
                    <a:pt x="4763" y="35242"/>
                  </a:cubicBezTo>
                  <a:close/>
                </a:path>
              </a:pathLst>
            </a:custGeom>
            <a:solidFill>
              <a:srgbClr val="66748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5" name="任意多边形: 形状 9964">
              <a:extLst>
                <a:ext uri="{FF2B5EF4-FFF2-40B4-BE49-F238E27FC236}">
                  <a16:creationId xmlns:a16="http://schemas.microsoft.com/office/drawing/2014/main" id="{9161CDF4-38DA-4993-AF53-8A9878E9256D}"/>
                </a:ext>
              </a:extLst>
            </p:cNvPr>
            <p:cNvSpPr/>
            <p:nvPr/>
          </p:nvSpPr>
          <p:spPr>
            <a:xfrm>
              <a:off x="9584372" y="3340417"/>
              <a:ext cx="31750" cy="158750"/>
            </a:xfrm>
            <a:custGeom>
              <a:avLst/>
              <a:gdLst>
                <a:gd name="connsiteX0" fmla="*/ 4763 w 31750"/>
                <a:gd name="connsiteY0" fmla="*/ 4763 h 158750"/>
                <a:gd name="connsiteX1" fmla="*/ 4763 w 31750"/>
                <a:gd name="connsiteY1" fmla="*/ 156528 h 158750"/>
                <a:gd name="connsiteX2" fmla="*/ 32703 w 31750"/>
                <a:gd name="connsiteY2" fmla="*/ 125413 h 158750"/>
                <a:gd name="connsiteX3" fmla="*/ 32703 w 31750"/>
                <a:gd name="connsiteY3" fmla="*/ 35242 h 158750"/>
                <a:gd name="connsiteX4" fmla="*/ 4763 w 31750"/>
                <a:gd name="connsiteY4" fmla="*/ 4763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750" h="158750">
                  <a:moveTo>
                    <a:pt x="4763" y="4763"/>
                  </a:moveTo>
                  <a:lnTo>
                    <a:pt x="4763" y="156528"/>
                  </a:lnTo>
                  <a:cubicBezTo>
                    <a:pt x="20003" y="156528"/>
                    <a:pt x="32703" y="142558"/>
                    <a:pt x="32703" y="125413"/>
                  </a:cubicBezTo>
                  <a:lnTo>
                    <a:pt x="32703" y="35242"/>
                  </a:lnTo>
                  <a:cubicBezTo>
                    <a:pt x="33338" y="18733"/>
                    <a:pt x="20638" y="4763"/>
                    <a:pt x="4763" y="4763"/>
                  </a:cubicBezTo>
                  <a:close/>
                </a:path>
              </a:pathLst>
            </a:custGeom>
            <a:solidFill>
              <a:srgbClr val="57647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6" name="任意多边形: 形状 9965">
              <a:extLst>
                <a:ext uri="{FF2B5EF4-FFF2-40B4-BE49-F238E27FC236}">
                  <a16:creationId xmlns:a16="http://schemas.microsoft.com/office/drawing/2014/main" id="{2616427B-CA0B-4B73-86F9-4B2552183051}"/>
                </a:ext>
              </a:extLst>
            </p:cNvPr>
            <p:cNvSpPr/>
            <p:nvPr/>
          </p:nvSpPr>
          <p:spPr>
            <a:xfrm>
              <a:off x="9436418" y="3527742"/>
              <a:ext cx="304800" cy="304800"/>
            </a:xfrm>
            <a:custGeom>
              <a:avLst/>
              <a:gdLst>
                <a:gd name="connsiteX0" fmla="*/ 152717 w 304800"/>
                <a:gd name="connsiteY0" fmla="*/ 4763 h 304800"/>
                <a:gd name="connsiteX1" fmla="*/ 4763 w 304800"/>
                <a:gd name="connsiteY1" fmla="*/ 152717 h 304800"/>
                <a:gd name="connsiteX2" fmla="*/ 152717 w 304800"/>
                <a:gd name="connsiteY2" fmla="*/ 300673 h 304800"/>
                <a:gd name="connsiteX3" fmla="*/ 300672 w 304800"/>
                <a:gd name="connsiteY3" fmla="*/ 152717 h 304800"/>
                <a:gd name="connsiteX4" fmla="*/ 152717 w 304800"/>
                <a:gd name="connsiteY4" fmla="*/ 4763 h 304800"/>
                <a:gd name="connsiteX5" fmla="*/ 152717 w 304800"/>
                <a:gd name="connsiteY5" fmla="*/ 266383 h 304800"/>
                <a:gd name="connsiteX6" fmla="*/ 39052 w 304800"/>
                <a:gd name="connsiteY6" fmla="*/ 152717 h 304800"/>
                <a:gd name="connsiteX7" fmla="*/ 152717 w 304800"/>
                <a:gd name="connsiteY7" fmla="*/ 39053 h 304800"/>
                <a:gd name="connsiteX8" fmla="*/ 266382 w 304800"/>
                <a:gd name="connsiteY8" fmla="*/ 152717 h 304800"/>
                <a:gd name="connsiteX9" fmla="*/ 152717 w 304800"/>
                <a:gd name="connsiteY9" fmla="*/ 266383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304800">
                  <a:moveTo>
                    <a:pt x="152717" y="4763"/>
                  </a:moveTo>
                  <a:cubicBezTo>
                    <a:pt x="70802" y="4763"/>
                    <a:pt x="4763" y="70803"/>
                    <a:pt x="4763" y="152717"/>
                  </a:cubicBezTo>
                  <a:cubicBezTo>
                    <a:pt x="4763" y="233998"/>
                    <a:pt x="70802" y="300673"/>
                    <a:pt x="152717" y="300673"/>
                  </a:cubicBezTo>
                  <a:cubicBezTo>
                    <a:pt x="234632" y="300673"/>
                    <a:pt x="300672" y="234633"/>
                    <a:pt x="300672" y="152717"/>
                  </a:cubicBezTo>
                  <a:cubicBezTo>
                    <a:pt x="300672" y="71438"/>
                    <a:pt x="234632" y="4763"/>
                    <a:pt x="152717" y="4763"/>
                  </a:cubicBezTo>
                  <a:close/>
                  <a:moveTo>
                    <a:pt x="152717" y="266383"/>
                  </a:moveTo>
                  <a:cubicBezTo>
                    <a:pt x="89852" y="266383"/>
                    <a:pt x="39052" y="215583"/>
                    <a:pt x="39052" y="152717"/>
                  </a:cubicBezTo>
                  <a:cubicBezTo>
                    <a:pt x="39052" y="89853"/>
                    <a:pt x="89852" y="39053"/>
                    <a:pt x="152717" y="39053"/>
                  </a:cubicBezTo>
                  <a:cubicBezTo>
                    <a:pt x="215582" y="39053"/>
                    <a:pt x="266382" y="89853"/>
                    <a:pt x="266382" y="152717"/>
                  </a:cubicBezTo>
                  <a:cubicBezTo>
                    <a:pt x="266382" y="215583"/>
                    <a:pt x="215582" y="266383"/>
                    <a:pt x="152717" y="266383"/>
                  </a:cubicBezTo>
                  <a:close/>
                </a:path>
              </a:pathLst>
            </a:custGeom>
            <a:solidFill>
              <a:srgbClr val="5364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7" name="任意多边形: 形状 9966">
              <a:extLst>
                <a:ext uri="{FF2B5EF4-FFF2-40B4-BE49-F238E27FC236}">
                  <a16:creationId xmlns:a16="http://schemas.microsoft.com/office/drawing/2014/main" id="{5E08D4BA-64D6-4D0B-9344-D9BFF451FBD0}"/>
                </a:ext>
              </a:extLst>
            </p:cNvPr>
            <p:cNvSpPr/>
            <p:nvPr/>
          </p:nvSpPr>
          <p:spPr>
            <a:xfrm>
              <a:off x="9366568" y="4004628"/>
              <a:ext cx="444500" cy="25400"/>
            </a:xfrm>
            <a:custGeom>
              <a:avLst/>
              <a:gdLst>
                <a:gd name="connsiteX0" fmla="*/ 441007 w 444500"/>
                <a:gd name="connsiteY0" fmla="*/ 13652 h 25400"/>
                <a:gd name="connsiteX1" fmla="*/ 425767 w 444500"/>
                <a:gd name="connsiteY1" fmla="*/ 22542 h 25400"/>
                <a:gd name="connsiteX2" fmla="*/ 20002 w 444500"/>
                <a:gd name="connsiteY2" fmla="*/ 22542 h 25400"/>
                <a:gd name="connsiteX3" fmla="*/ 4763 w 444500"/>
                <a:gd name="connsiteY3" fmla="*/ 13652 h 25400"/>
                <a:gd name="connsiteX4" fmla="*/ 20002 w 444500"/>
                <a:gd name="connsiteY4" fmla="*/ 4763 h 25400"/>
                <a:gd name="connsiteX5" fmla="*/ 425767 w 444500"/>
                <a:gd name="connsiteY5" fmla="*/ 4763 h 25400"/>
                <a:gd name="connsiteX6" fmla="*/ 441007 w 444500"/>
                <a:gd name="connsiteY6" fmla="*/ 13652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4500" h="25400">
                  <a:moveTo>
                    <a:pt x="441007" y="13652"/>
                  </a:moveTo>
                  <a:cubicBezTo>
                    <a:pt x="441007" y="18732"/>
                    <a:pt x="434022" y="22542"/>
                    <a:pt x="425767" y="22542"/>
                  </a:cubicBezTo>
                  <a:lnTo>
                    <a:pt x="20002" y="22542"/>
                  </a:lnTo>
                  <a:cubicBezTo>
                    <a:pt x="11747" y="22542"/>
                    <a:pt x="4763" y="18732"/>
                    <a:pt x="4763" y="13652"/>
                  </a:cubicBezTo>
                  <a:cubicBezTo>
                    <a:pt x="4763" y="8572"/>
                    <a:pt x="11747" y="4763"/>
                    <a:pt x="20002" y="4763"/>
                  </a:cubicBezTo>
                  <a:lnTo>
                    <a:pt x="425767" y="4763"/>
                  </a:lnTo>
                  <a:cubicBezTo>
                    <a:pt x="434022" y="4763"/>
                    <a:pt x="441007" y="8572"/>
                    <a:pt x="441007" y="13652"/>
                  </a:cubicBezTo>
                  <a:close/>
                </a:path>
              </a:pathLst>
            </a:custGeom>
            <a:solidFill>
              <a:srgbClr val="52617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8" name="任意多边形: 形状 9967">
              <a:extLst>
                <a:ext uri="{FF2B5EF4-FFF2-40B4-BE49-F238E27FC236}">
                  <a16:creationId xmlns:a16="http://schemas.microsoft.com/office/drawing/2014/main" id="{C8C24D73-4AB7-4FBB-9C4E-710AB39401EB}"/>
                </a:ext>
              </a:extLst>
            </p:cNvPr>
            <p:cNvSpPr/>
            <p:nvPr/>
          </p:nvSpPr>
          <p:spPr>
            <a:xfrm>
              <a:off x="9729153" y="4440872"/>
              <a:ext cx="25400" cy="76200"/>
            </a:xfrm>
            <a:custGeom>
              <a:avLst/>
              <a:gdLst>
                <a:gd name="connsiteX0" fmla="*/ 20638 w 25400"/>
                <a:gd name="connsiteY0" fmla="*/ 56198 h 76200"/>
                <a:gd name="connsiteX1" fmla="*/ 13017 w 25400"/>
                <a:gd name="connsiteY1" fmla="*/ 76518 h 76200"/>
                <a:gd name="connsiteX2" fmla="*/ 4763 w 25400"/>
                <a:gd name="connsiteY2" fmla="*/ 56198 h 76200"/>
                <a:gd name="connsiteX3" fmla="*/ 4763 w 25400"/>
                <a:gd name="connsiteY3" fmla="*/ 4763 h 76200"/>
                <a:gd name="connsiteX4" fmla="*/ 20638 w 25400"/>
                <a:gd name="connsiteY4" fmla="*/ 476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76200">
                  <a:moveTo>
                    <a:pt x="20638" y="56198"/>
                  </a:moveTo>
                  <a:lnTo>
                    <a:pt x="13017" y="76518"/>
                  </a:lnTo>
                  <a:lnTo>
                    <a:pt x="4763" y="56198"/>
                  </a:lnTo>
                  <a:lnTo>
                    <a:pt x="4763" y="4763"/>
                  </a:lnTo>
                  <a:lnTo>
                    <a:pt x="20638" y="4763"/>
                  </a:lnTo>
                  <a:close/>
                </a:path>
              </a:pathLst>
            </a:custGeom>
            <a:solidFill>
              <a:srgbClr val="6B71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9" name="任意多边形: 形状 9968">
              <a:extLst>
                <a:ext uri="{FF2B5EF4-FFF2-40B4-BE49-F238E27FC236}">
                  <a16:creationId xmlns:a16="http://schemas.microsoft.com/office/drawing/2014/main" id="{C38FACF5-F783-453D-92C1-1B269254BC31}"/>
                </a:ext>
              </a:extLst>
            </p:cNvPr>
            <p:cNvSpPr/>
            <p:nvPr/>
          </p:nvSpPr>
          <p:spPr>
            <a:xfrm>
              <a:off x="9778048" y="4313873"/>
              <a:ext cx="19050" cy="69850"/>
            </a:xfrm>
            <a:custGeom>
              <a:avLst/>
              <a:gdLst>
                <a:gd name="connsiteX0" fmla="*/ 4762 w 19050"/>
                <a:gd name="connsiteY0" fmla="*/ 4762 h 69850"/>
                <a:gd name="connsiteX1" fmla="*/ 18732 w 19050"/>
                <a:gd name="connsiteY1" fmla="*/ 4762 h 69850"/>
                <a:gd name="connsiteX2" fmla="*/ 18732 w 19050"/>
                <a:gd name="connsiteY2" fmla="*/ 65722 h 69850"/>
                <a:gd name="connsiteX3" fmla="*/ 4762 w 19050"/>
                <a:gd name="connsiteY3" fmla="*/ 65722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69850">
                  <a:moveTo>
                    <a:pt x="4762" y="4762"/>
                  </a:moveTo>
                  <a:lnTo>
                    <a:pt x="18732" y="4762"/>
                  </a:lnTo>
                  <a:lnTo>
                    <a:pt x="18732" y="65722"/>
                  </a:lnTo>
                  <a:lnTo>
                    <a:pt x="4762" y="657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0" name="任意多边形: 形状 9969">
              <a:extLst>
                <a:ext uri="{FF2B5EF4-FFF2-40B4-BE49-F238E27FC236}">
                  <a16:creationId xmlns:a16="http://schemas.microsoft.com/office/drawing/2014/main" id="{D9C1CB83-474E-4202-BF64-91911816BCA3}"/>
                </a:ext>
              </a:extLst>
            </p:cNvPr>
            <p:cNvSpPr/>
            <p:nvPr/>
          </p:nvSpPr>
          <p:spPr>
            <a:xfrm>
              <a:off x="9788843" y="4306253"/>
              <a:ext cx="12700" cy="82550"/>
            </a:xfrm>
            <a:custGeom>
              <a:avLst/>
              <a:gdLst>
                <a:gd name="connsiteX0" fmla="*/ 11113 w 12700"/>
                <a:gd name="connsiteY0" fmla="*/ 42863 h 82550"/>
                <a:gd name="connsiteX1" fmla="*/ 7938 w 12700"/>
                <a:gd name="connsiteY1" fmla="*/ 80963 h 82550"/>
                <a:gd name="connsiteX2" fmla="*/ 4763 w 12700"/>
                <a:gd name="connsiteY2" fmla="*/ 42863 h 82550"/>
                <a:gd name="connsiteX3" fmla="*/ 7938 w 12700"/>
                <a:gd name="connsiteY3" fmla="*/ 4763 h 82550"/>
                <a:gd name="connsiteX4" fmla="*/ 11113 w 12700"/>
                <a:gd name="connsiteY4" fmla="*/ 42863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0" h="82550">
                  <a:moveTo>
                    <a:pt x="11113" y="42863"/>
                  </a:moveTo>
                  <a:cubicBezTo>
                    <a:pt x="11113" y="63817"/>
                    <a:pt x="9842" y="80963"/>
                    <a:pt x="7938" y="80963"/>
                  </a:cubicBezTo>
                  <a:cubicBezTo>
                    <a:pt x="6032" y="80963"/>
                    <a:pt x="4763" y="63817"/>
                    <a:pt x="4763" y="42863"/>
                  </a:cubicBezTo>
                  <a:cubicBezTo>
                    <a:pt x="4763" y="21907"/>
                    <a:pt x="6032" y="4763"/>
                    <a:pt x="7938" y="4763"/>
                  </a:cubicBezTo>
                  <a:cubicBezTo>
                    <a:pt x="9842" y="4763"/>
                    <a:pt x="11113" y="21907"/>
                    <a:pt x="11113" y="42863"/>
                  </a:cubicBez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1" name="任意多边形: 形状 9970">
              <a:extLst>
                <a:ext uri="{FF2B5EF4-FFF2-40B4-BE49-F238E27FC236}">
                  <a16:creationId xmlns:a16="http://schemas.microsoft.com/office/drawing/2014/main" id="{161FA9B5-89A6-40A4-99DA-E293ABE293F3}"/>
                </a:ext>
              </a:extLst>
            </p:cNvPr>
            <p:cNvSpPr/>
            <p:nvPr/>
          </p:nvSpPr>
          <p:spPr>
            <a:xfrm>
              <a:off x="9586278" y="3730308"/>
              <a:ext cx="203200" cy="730250"/>
            </a:xfrm>
            <a:custGeom>
              <a:avLst/>
              <a:gdLst>
                <a:gd name="connsiteX0" fmla="*/ 142557 w 203200"/>
                <a:gd name="connsiteY0" fmla="*/ 725488 h 730250"/>
                <a:gd name="connsiteX1" fmla="*/ 136842 w 203200"/>
                <a:gd name="connsiteY1" fmla="*/ 599758 h 730250"/>
                <a:gd name="connsiteX2" fmla="*/ 4763 w 203200"/>
                <a:gd name="connsiteY2" fmla="*/ 30163 h 730250"/>
                <a:gd name="connsiteX3" fmla="*/ 70167 w 203200"/>
                <a:gd name="connsiteY3" fmla="*/ 4763 h 730250"/>
                <a:gd name="connsiteX4" fmla="*/ 200342 w 203200"/>
                <a:gd name="connsiteY4" fmla="*/ 580072 h 730250"/>
                <a:gd name="connsiteX5" fmla="*/ 187007 w 203200"/>
                <a:gd name="connsiteY5" fmla="*/ 725488 h 730250"/>
                <a:gd name="connsiteX6" fmla="*/ 142557 w 203200"/>
                <a:gd name="connsiteY6" fmla="*/ 725488 h 73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200" h="730250">
                  <a:moveTo>
                    <a:pt x="142557" y="725488"/>
                  </a:moveTo>
                  <a:lnTo>
                    <a:pt x="136842" y="599758"/>
                  </a:lnTo>
                  <a:lnTo>
                    <a:pt x="4763" y="30163"/>
                  </a:lnTo>
                  <a:lnTo>
                    <a:pt x="70167" y="4763"/>
                  </a:lnTo>
                  <a:lnTo>
                    <a:pt x="200342" y="580072"/>
                  </a:lnTo>
                  <a:cubicBezTo>
                    <a:pt x="200342" y="580072"/>
                    <a:pt x="204153" y="649922"/>
                    <a:pt x="187007" y="725488"/>
                  </a:cubicBezTo>
                  <a:lnTo>
                    <a:pt x="142557" y="725488"/>
                  </a:lnTo>
                  <a:close/>
                </a:path>
              </a:pathLst>
            </a:custGeom>
            <a:solidFill>
              <a:srgbClr val="41506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2" name="任意多边形: 形状 9971">
              <a:extLst>
                <a:ext uri="{FF2B5EF4-FFF2-40B4-BE49-F238E27FC236}">
                  <a16:creationId xmlns:a16="http://schemas.microsoft.com/office/drawing/2014/main" id="{F765B8B8-96EA-4990-9493-A73B8CE60B84}"/>
                </a:ext>
              </a:extLst>
            </p:cNvPr>
            <p:cNvSpPr/>
            <p:nvPr/>
          </p:nvSpPr>
          <p:spPr>
            <a:xfrm>
              <a:off x="9423082" y="4440872"/>
              <a:ext cx="25400" cy="76200"/>
            </a:xfrm>
            <a:custGeom>
              <a:avLst/>
              <a:gdLst>
                <a:gd name="connsiteX0" fmla="*/ 4763 w 25400"/>
                <a:gd name="connsiteY0" fmla="*/ 56198 h 76200"/>
                <a:gd name="connsiteX1" fmla="*/ 12383 w 25400"/>
                <a:gd name="connsiteY1" fmla="*/ 76518 h 76200"/>
                <a:gd name="connsiteX2" fmla="*/ 20638 w 25400"/>
                <a:gd name="connsiteY2" fmla="*/ 56198 h 76200"/>
                <a:gd name="connsiteX3" fmla="*/ 20638 w 25400"/>
                <a:gd name="connsiteY3" fmla="*/ 4763 h 76200"/>
                <a:gd name="connsiteX4" fmla="*/ 4763 w 25400"/>
                <a:gd name="connsiteY4" fmla="*/ 476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00" h="76200">
                  <a:moveTo>
                    <a:pt x="4763" y="56198"/>
                  </a:moveTo>
                  <a:lnTo>
                    <a:pt x="12383" y="76518"/>
                  </a:lnTo>
                  <a:lnTo>
                    <a:pt x="20638" y="56198"/>
                  </a:lnTo>
                  <a:lnTo>
                    <a:pt x="20638" y="4763"/>
                  </a:lnTo>
                  <a:lnTo>
                    <a:pt x="4763" y="4763"/>
                  </a:lnTo>
                  <a:close/>
                </a:path>
              </a:pathLst>
            </a:custGeom>
            <a:solidFill>
              <a:srgbClr val="6B71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3" name="任意多边形: 形状 9972">
              <a:extLst>
                <a:ext uri="{FF2B5EF4-FFF2-40B4-BE49-F238E27FC236}">
                  <a16:creationId xmlns:a16="http://schemas.microsoft.com/office/drawing/2014/main" id="{56BDAF62-AACD-4D3F-A23C-57F1FC900469}"/>
                </a:ext>
              </a:extLst>
            </p:cNvPr>
            <p:cNvSpPr/>
            <p:nvPr/>
          </p:nvSpPr>
          <p:spPr>
            <a:xfrm>
              <a:off x="9375458" y="4313873"/>
              <a:ext cx="19050" cy="69850"/>
            </a:xfrm>
            <a:custGeom>
              <a:avLst/>
              <a:gdLst>
                <a:gd name="connsiteX0" fmla="*/ 4762 w 19050"/>
                <a:gd name="connsiteY0" fmla="*/ 4762 h 69850"/>
                <a:gd name="connsiteX1" fmla="*/ 18732 w 19050"/>
                <a:gd name="connsiteY1" fmla="*/ 4762 h 69850"/>
                <a:gd name="connsiteX2" fmla="*/ 18732 w 19050"/>
                <a:gd name="connsiteY2" fmla="*/ 65722 h 69850"/>
                <a:gd name="connsiteX3" fmla="*/ 4762 w 19050"/>
                <a:gd name="connsiteY3" fmla="*/ 65722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69850">
                  <a:moveTo>
                    <a:pt x="4762" y="4762"/>
                  </a:moveTo>
                  <a:lnTo>
                    <a:pt x="18732" y="4762"/>
                  </a:lnTo>
                  <a:lnTo>
                    <a:pt x="18732" y="65722"/>
                  </a:lnTo>
                  <a:lnTo>
                    <a:pt x="4762" y="65722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4" name="任意多边形: 形状 9973">
              <a:extLst>
                <a:ext uri="{FF2B5EF4-FFF2-40B4-BE49-F238E27FC236}">
                  <a16:creationId xmlns:a16="http://schemas.microsoft.com/office/drawing/2014/main" id="{D7E25822-4F70-4EC1-8A7B-7034F8EB55AC}"/>
                </a:ext>
              </a:extLst>
            </p:cNvPr>
            <p:cNvSpPr/>
            <p:nvPr/>
          </p:nvSpPr>
          <p:spPr>
            <a:xfrm>
              <a:off x="9372918" y="4306253"/>
              <a:ext cx="12700" cy="82550"/>
            </a:xfrm>
            <a:custGeom>
              <a:avLst/>
              <a:gdLst>
                <a:gd name="connsiteX0" fmla="*/ 4763 w 12700"/>
                <a:gd name="connsiteY0" fmla="*/ 42863 h 82550"/>
                <a:gd name="connsiteX1" fmla="*/ 7938 w 12700"/>
                <a:gd name="connsiteY1" fmla="*/ 80963 h 82550"/>
                <a:gd name="connsiteX2" fmla="*/ 11113 w 12700"/>
                <a:gd name="connsiteY2" fmla="*/ 42863 h 82550"/>
                <a:gd name="connsiteX3" fmla="*/ 7938 w 12700"/>
                <a:gd name="connsiteY3" fmla="*/ 4763 h 82550"/>
                <a:gd name="connsiteX4" fmla="*/ 4763 w 12700"/>
                <a:gd name="connsiteY4" fmla="*/ 42863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0" h="82550">
                  <a:moveTo>
                    <a:pt x="4763" y="42863"/>
                  </a:moveTo>
                  <a:cubicBezTo>
                    <a:pt x="4763" y="63817"/>
                    <a:pt x="6032" y="80963"/>
                    <a:pt x="7938" y="80963"/>
                  </a:cubicBezTo>
                  <a:cubicBezTo>
                    <a:pt x="9842" y="80963"/>
                    <a:pt x="11113" y="63817"/>
                    <a:pt x="11113" y="42863"/>
                  </a:cubicBezTo>
                  <a:cubicBezTo>
                    <a:pt x="11113" y="21907"/>
                    <a:pt x="9842" y="4763"/>
                    <a:pt x="7938" y="4763"/>
                  </a:cubicBezTo>
                  <a:cubicBezTo>
                    <a:pt x="6032" y="4763"/>
                    <a:pt x="4763" y="21907"/>
                    <a:pt x="4763" y="42863"/>
                  </a:cubicBezTo>
                  <a:close/>
                </a:path>
              </a:pathLst>
            </a:custGeom>
            <a:solidFill>
              <a:srgbClr val="E5E5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5" name="任意多边形: 形状 9974">
              <a:extLst>
                <a:ext uri="{FF2B5EF4-FFF2-40B4-BE49-F238E27FC236}">
                  <a16:creationId xmlns:a16="http://schemas.microsoft.com/office/drawing/2014/main" id="{472A0221-C9A2-4A63-9CA3-7EAA6DB82A1B}"/>
                </a:ext>
              </a:extLst>
            </p:cNvPr>
            <p:cNvSpPr/>
            <p:nvPr/>
          </p:nvSpPr>
          <p:spPr>
            <a:xfrm>
              <a:off x="9385257" y="3730308"/>
              <a:ext cx="203200" cy="730250"/>
            </a:xfrm>
            <a:custGeom>
              <a:avLst/>
              <a:gdLst>
                <a:gd name="connsiteX0" fmla="*/ 62908 w 203200"/>
                <a:gd name="connsiteY0" fmla="*/ 725488 h 730250"/>
                <a:gd name="connsiteX1" fmla="*/ 68623 w 203200"/>
                <a:gd name="connsiteY1" fmla="*/ 599758 h 730250"/>
                <a:gd name="connsiteX2" fmla="*/ 200703 w 203200"/>
                <a:gd name="connsiteY2" fmla="*/ 30163 h 730250"/>
                <a:gd name="connsiteX3" fmla="*/ 135298 w 203200"/>
                <a:gd name="connsiteY3" fmla="*/ 4763 h 730250"/>
                <a:gd name="connsiteX4" fmla="*/ 5123 w 203200"/>
                <a:gd name="connsiteY4" fmla="*/ 580072 h 730250"/>
                <a:gd name="connsiteX5" fmla="*/ 18458 w 203200"/>
                <a:gd name="connsiteY5" fmla="*/ 725488 h 730250"/>
                <a:gd name="connsiteX6" fmla="*/ 62908 w 203200"/>
                <a:gd name="connsiteY6" fmla="*/ 725488 h 73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200" h="730250">
                  <a:moveTo>
                    <a:pt x="62908" y="725488"/>
                  </a:moveTo>
                  <a:lnTo>
                    <a:pt x="68623" y="599758"/>
                  </a:lnTo>
                  <a:lnTo>
                    <a:pt x="200703" y="30163"/>
                  </a:lnTo>
                  <a:lnTo>
                    <a:pt x="135298" y="4763"/>
                  </a:lnTo>
                  <a:lnTo>
                    <a:pt x="5123" y="580072"/>
                  </a:lnTo>
                  <a:cubicBezTo>
                    <a:pt x="5123" y="580072"/>
                    <a:pt x="1313" y="649922"/>
                    <a:pt x="18458" y="725488"/>
                  </a:cubicBezTo>
                  <a:lnTo>
                    <a:pt x="62908" y="725488"/>
                  </a:lnTo>
                  <a:close/>
                </a:path>
              </a:pathLst>
            </a:custGeom>
            <a:solidFill>
              <a:srgbClr val="41506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6" name="任意多边形: 形状 9975">
              <a:extLst>
                <a:ext uri="{FF2B5EF4-FFF2-40B4-BE49-F238E27FC236}">
                  <a16:creationId xmlns:a16="http://schemas.microsoft.com/office/drawing/2014/main" id="{7823A76D-050C-4F29-AF82-C2488BB52C26}"/>
                </a:ext>
              </a:extLst>
            </p:cNvPr>
            <p:cNvSpPr/>
            <p:nvPr/>
          </p:nvSpPr>
          <p:spPr>
            <a:xfrm>
              <a:off x="9534207" y="3731578"/>
              <a:ext cx="57150" cy="107950"/>
            </a:xfrm>
            <a:custGeom>
              <a:avLst/>
              <a:gdLst>
                <a:gd name="connsiteX0" fmla="*/ 4763 w 57150"/>
                <a:gd name="connsiteY0" fmla="*/ 54927 h 107950"/>
                <a:gd name="connsiteX1" fmla="*/ 54928 w 57150"/>
                <a:gd name="connsiteY1" fmla="*/ 105092 h 107950"/>
                <a:gd name="connsiteX2" fmla="*/ 54928 w 57150"/>
                <a:gd name="connsiteY2" fmla="*/ 4763 h 107950"/>
                <a:gd name="connsiteX3" fmla="*/ 4763 w 57150"/>
                <a:gd name="connsiteY3" fmla="*/ 54927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07950">
                  <a:moveTo>
                    <a:pt x="4763" y="54927"/>
                  </a:moveTo>
                  <a:cubicBezTo>
                    <a:pt x="4763" y="82867"/>
                    <a:pt x="26988" y="105092"/>
                    <a:pt x="54928" y="105092"/>
                  </a:cubicBezTo>
                  <a:lnTo>
                    <a:pt x="54928" y="4763"/>
                  </a:lnTo>
                  <a:cubicBezTo>
                    <a:pt x="26988" y="4763"/>
                    <a:pt x="4763" y="26988"/>
                    <a:pt x="4763" y="54927"/>
                  </a:cubicBezTo>
                  <a:close/>
                </a:path>
              </a:pathLst>
            </a:custGeom>
            <a:solidFill>
              <a:srgbClr val="FD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7" name="任意多边形: 形状 9976">
              <a:extLst>
                <a:ext uri="{FF2B5EF4-FFF2-40B4-BE49-F238E27FC236}">
                  <a16:creationId xmlns:a16="http://schemas.microsoft.com/office/drawing/2014/main" id="{6D3B36F5-6CDB-4E78-BE9C-D0CA2D32B674}"/>
                </a:ext>
              </a:extLst>
            </p:cNvPr>
            <p:cNvSpPr/>
            <p:nvPr/>
          </p:nvSpPr>
          <p:spPr>
            <a:xfrm>
              <a:off x="9584372" y="3731578"/>
              <a:ext cx="57150" cy="107950"/>
            </a:xfrm>
            <a:custGeom>
              <a:avLst/>
              <a:gdLst>
                <a:gd name="connsiteX0" fmla="*/ 4763 w 57150"/>
                <a:gd name="connsiteY0" fmla="*/ 4763 h 107950"/>
                <a:gd name="connsiteX1" fmla="*/ 4763 w 57150"/>
                <a:gd name="connsiteY1" fmla="*/ 105092 h 107950"/>
                <a:gd name="connsiteX2" fmla="*/ 54928 w 57150"/>
                <a:gd name="connsiteY2" fmla="*/ 54927 h 107950"/>
                <a:gd name="connsiteX3" fmla="*/ 4763 w 57150"/>
                <a:gd name="connsiteY3" fmla="*/ 4763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07950">
                  <a:moveTo>
                    <a:pt x="4763" y="4763"/>
                  </a:moveTo>
                  <a:lnTo>
                    <a:pt x="4763" y="105092"/>
                  </a:lnTo>
                  <a:cubicBezTo>
                    <a:pt x="32703" y="105092"/>
                    <a:pt x="54928" y="82867"/>
                    <a:pt x="54928" y="54927"/>
                  </a:cubicBezTo>
                  <a:cubicBezTo>
                    <a:pt x="54928" y="26988"/>
                    <a:pt x="32703" y="4763"/>
                    <a:pt x="4763" y="4763"/>
                  </a:cubicBezTo>
                  <a:close/>
                </a:path>
              </a:pathLst>
            </a:custGeom>
            <a:solidFill>
              <a:srgbClr val="E5E6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8" name="任意多边形: 形状 9977">
              <a:extLst>
                <a:ext uri="{FF2B5EF4-FFF2-40B4-BE49-F238E27FC236}">
                  <a16:creationId xmlns:a16="http://schemas.microsoft.com/office/drawing/2014/main" id="{448EC813-FB96-4CF4-B287-101BC5C63C34}"/>
                </a:ext>
              </a:extLst>
            </p:cNvPr>
            <p:cNvSpPr/>
            <p:nvPr/>
          </p:nvSpPr>
          <p:spPr>
            <a:xfrm>
              <a:off x="9569132" y="3951288"/>
              <a:ext cx="25400" cy="146050"/>
            </a:xfrm>
            <a:custGeom>
              <a:avLst/>
              <a:gdLst>
                <a:gd name="connsiteX0" fmla="*/ 20003 w 25400"/>
                <a:gd name="connsiteY0" fmla="*/ 4763 h 146050"/>
                <a:gd name="connsiteX1" fmla="*/ 4763 w 25400"/>
                <a:gd name="connsiteY1" fmla="*/ 20003 h 146050"/>
                <a:gd name="connsiteX2" fmla="*/ 4763 w 25400"/>
                <a:gd name="connsiteY2" fmla="*/ 127953 h 146050"/>
                <a:gd name="connsiteX3" fmla="*/ 20003 w 25400"/>
                <a:gd name="connsiteY3" fmla="*/ 143192 h 146050"/>
                <a:gd name="connsiteX4" fmla="*/ 20638 w 25400"/>
                <a:gd name="connsiteY4" fmla="*/ 143192 h 146050"/>
                <a:gd name="connsiteX5" fmla="*/ 20638 w 25400"/>
                <a:gd name="connsiteY5" fmla="*/ 4763 h 146050"/>
                <a:gd name="connsiteX6" fmla="*/ 20003 w 25400"/>
                <a:gd name="connsiteY6" fmla="*/ 4763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0" h="146050">
                  <a:moveTo>
                    <a:pt x="20003" y="4763"/>
                  </a:moveTo>
                  <a:cubicBezTo>
                    <a:pt x="11748" y="4763"/>
                    <a:pt x="4763" y="11747"/>
                    <a:pt x="4763" y="20003"/>
                  </a:cubicBezTo>
                  <a:lnTo>
                    <a:pt x="4763" y="127953"/>
                  </a:lnTo>
                  <a:cubicBezTo>
                    <a:pt x="4763" y="136208"/>
                    <a:pt x="11748" y="143192"/>
                    <a:pt x="20003" y="143192"/>
                  </a:cubicBezTo>
                  <a:lnTo>
                    <a:pt x="20638" y="143192"/>
                  </a:lnTo>
                  <a:lnTo>
                    <a:pt x="20638" y="4763"/>
                  </a:lnTo>
                  <a:lnTo>
                    <a:pt x="20003" y="4763"/>
                  </a:lnTo>
                  <a:close/>
                </a:path>
              </a:pathLst>
            </a:custGeom>
            <a:solidFill>
              <a:srgbClr val="FD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9" name="任意多边形: 形状 9978">
              <a:extLst>
                <a:ext uri="{FF2B5EF4-FFF2-40B4-BE49-F238E27FC236}">
                  <a16:creationId xmlns:a16="http://schemas.microsoft.com/office/drawing/2014/main" id="{1AC9865B-630E-4488-B83A-447CC8E737E2}"/>
                </a:ext>
              </a:extLst>
            </p:cNvPr>
            <p:cNvSpPr/>
            <p:nvPr/>
          </p:nvSpPr>
          <p:spPr>
            <a:xfrm>
              <a:off x="9585007" y="3951288"/>
              <a:ext cx="25400" cy="146050"/>
            </a:xfrm>
            <a:custGeom>
              <a:avLst/>
              <a:gdLst>
                <a:gd name="connsiteX0" fmla="*/ 5398 w 25400"/>
                <a:gd name="connsiteY0" fmla="*/ 4763 h 146050"/>
                <a:gd name="connsiteX1" fmla="*/ 4763 w 25400"/>
                <a:gd name="connsiteY1" fmla="*/ 4763 h 146050"/>
                <a:gd name="connsiteX2" fmla="*/ 4763 w 25400"/>
                <a:gd name="connsiteY2" fmla="*/ 143828 h 146050"/>
                <a:gd name="connsiteX3" fmla="*/ 5398 w 25400"/>
                <a:gd name="connsiteY3" fmla="*/ 143828 h 146050"/>
                <a:gd name="connsiteX4" fmla="*/ 20638 w 25400"/>
                <a:gd name="connsiteY4" fmla="*/ 128588 h 146050"/>
                <a:gd name="connsiteX5" fmla="*/ 20638 w 25400"/>
                <a:gd name="connsiteY5" fmla="*/ 20638 h 146050"/>
                <a:gd name="connsiteX6" fmla="*/ 5398 w 25400"/>
                <a:gd name="connsiteY6" fmla="*/ 4763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0" h="146050">
                  <a:moveTo>
                    <a:pt x="5398" y="4763"/>
                  </a:moveTo>
                  <a:lnTo>
                    <a:pt x="4763" y="4763"/>
                  </a:lnTo>
                  <a:lnTo>
                    <a:pt x="4763" y="143828"/>
                  </a:lnTo>
                  <a:lnTo>
                    <a:pt x="5398" y="143828"/>
                  </a:lnTo>
                  <a:cubicBezTo>
                    <a:pt x="13653" y="143828"/>
                    <a:pt x="20638" y="136842"/>
                    <a:pt x="20638" y="128588"/>
                  </a:cubicBezTo>
                  <a:lnTo>
                    <a:pt x="20638" y="20638"/>
                  </a:lnTo>
                  <a:cubicBezTo>
                    <a:pt x="20638" y="11747"/>
                    <a:pt x="13653" y="4763"/>
                    <a:pt x="5398" y="4763"/>
                  </a:cubicBezTo>
                  <a:close/>
                </a:path>
              </a:pathLst>
            </a:custGeom>
            <a:solidFill>
              <a:srgbClr val="E5E6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980" name="任意多边形: 形状 9979">
            <a:extLst>
              <a:ext uri="{FF2B5EF4-FFF2-40B4-BE49-F238E27FC236}">
                <a16:creationId xmlns:a16="http://schemas.microsoft.com/office/drawing/2014/main" id="{6269F5E1-C28B-4763-9ADD-1491F9538739}"/>
              </a:ext>
            </a:extLst>
          </p:cNvPr>
          <p:cNvSpPr/>
          <p:nvPr userDrawn="1"/>
        </p:nvSpPr>
        <p:spPr>
          <a:xfrm>
            <a:off x="784080" y="3950824"/>
            <a:ext cx="1073150" cy="88900"/>
          </a:xfrm>
          <a:custGeom>
            <a:avLst/>
            <a:gdLst>
              <a:gd name="connsiteX0" fmla="*/ 4763 w 1073150"/>
              <a:gd name="connsiteY0" fmla="*/ 4763 h 88900"/>
              <a:gd name="connsiteX1" fmla="*/ 1068388 w 1073150"/>
              <a:gd name="connsiteY1" fmla="*/ 4763 h 88900"/>
              <a:gd name="connsiteX2" fmla="*/ 1068388 w 1073150"/>
              <a:gd name="connsiteY2" fmla="*/ 85408 h 88900"/>
              <a:gd name="connsiteX3" fmla="*/ 4763 w 1073150"/>
              <a:gd name="connsiteY3" fmla="*/ 85408 h 8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3150" h="88900">
                <a:moveTo>
                  <a:pt x="4763" y="4763"/>
                </a:moveTo>
                <a:lnTo>
                  <a:pt x="1068388" y="4763"/>
                </a:lnTo>
                <a:lnTo>
                  <a:pt x="1068388" y="85408"/>
                </a:lnTo>
                <a:lnTo>
                  <a:pt x="4763" y="85408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2842506"/>
            <a:ext cx="5426076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4605814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4902085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27" name="文本占位符 226">
            <a:extLst>
              <a:ext uri="{FF2B5EF4-FFF2-40B4-BE49-F238E27FC236}">
                <a16:creationId xmlns:a16="http://schemas.microsoft.com/office/drawing/2014/main" id="{E82FA6E6-6D81-41D6-8660-C622841E9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925" y="1637997"/>
            <a:ext cx="5426075" cy="1205216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latin typeface="+mj-lt"/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C632E16F-9ABD-44A0-9286-D6A40A78FC6E}"/>
              </a:ext>
            </a:extLst>
          </p:cNvPr>
          <p:cNvSpPr/>
          <p:nvPr userDrawn="1"/>
        </p:nvSpPr>
        <p:spPr>
          <a:xfrm>
            <a:off x="0" y="1130300"/>
            <a:ext cx="5710844" cy="5110163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45B0B773-1A47-4B25-9AEC-BE2B4A30B8B2}"/>
              </a:ext>
            </a:extLst>
          </p:cNvPr>
          <p:cNvGrpSpPr/>
          <p:nvPr userDrawn="1"/>
        </p:nvGrpSpPr>
        <p:grpSpPr>
          <a:xfrm>
            <a:off x="670289" y="1455416"/>
            <a:ext cx="4382243" cy="4396069"/>
            <a:chOff x="198070" y="841693"/>
            <a:chExt cx="5545215" cy="5562710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A9795615-CCE3-45EC-8300-D214D24391A8}"/>
                </a:ext>
              </a:extLst>
            </p:cNvPr>
            <p:cNvGrpSpPr/>
            <p:nvPr userDrawn="1"/>
          </p:nvGrpSpPr>
          <p:grpSpPr>
            <a:xfrm>
              <a:off x="198070" y="841693"/>
              <a:ext cx="5545215" cy="5562710"/>
              <a:chOff x="6292953" y="838518"/>
              <a:chExt cx="5545215" cy="5562710"/>
            </a:xfrm>
            <a:solidFill>
              <a:schemeClr val="accent2"/>
            </a:solidFill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799ADAE-80AA-4BAF-977B-5B7984560482}"/>
                  </a:ext>
                </a:extLst>
              </p:cNvPr>
              <p:cNvSpPr/>
              <p:nvPr/>
            </p:nvSpPr>
            <p:spPr>
              <a:xfrm>
                <a:off x="9135251" y="1387157"/>
                <a:ext cx="76200" cy="38100"/>
              </a:xfrm>
              <a:custGeom>
                <a:avLst/>
                <a:gdLst>
                  <a:gd name="connsiteX0" fmla="*/ 72884 w 76200"/>
                  <a:gd name="connsiteY0" fmla="*/ 4763 h 38100"/>
                  <a:gd name="connsiteX1" fmla="*/ 4939 w 76200"/>
                  <a:gd name="connsiteY1" fmla="*/ 18098 h 38100"/>
                  <a:gd name="connsiteX2" fmla="*/ 23355 w 76200"/>
                  <a:gd name="connsiteY2" fmla="*/ 16828 h 38100"/>
                  <a:gd name="connsiteX3" fmla="*/ 72884 w 76200"/>
                  <a:gd name="connsiteY3" fmla="*/ 476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38100">
                    <a:moveTo>
                      <a:pt x="72884" y="4763"/>
                    </a:moveTo>
                    <a:cubicBezTo>
                      <a:pt x="61455" y="13653"/>
                      <a:pt x="20180" y="67628"/>
                      <a:pt x="4939" y="18098"/>
                    </a:cubicBezTo>
                    <a:cubicBezTo>
                      <a:pt x="3034" y="12382"/>
                      <a:pt x="17005" y="18098"/>
                      <a:pt x="23355" y="16828"/>
                    </a:cubicBezTo>
                    <a:cubicBezTo>
                      <a:pt x="39230" y="13653"/>
                      <a:pt x="72884" y="4763"/>
                      <a:pt x="72884" y="47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24108CD8-9CBC-490A-9FF5-9EF4E221E0BB}"/>
                  </a:ext>
                </a:extLst>
              </p:cNvPr>
              <p:cNvSpPr/>
              <p:nvPr/>
            </p:nvSpPr>
            <p:spPr>
              <a:xfrm>
                <a:off x="8408672" y="1081850"/>
                <a:ext cx="177800" cy="57150"/>
              </a:xfrm>
              <a:custGeom>
                <a:avLst/>
                <a:gdLst>
                  <a:gd name="connsiteX0" fmla="*/ 178433 w 177800"/>
                  <a:gd name="connsiteY0" fmla="*/ 5905 h 57150"/>
                  <a:gd name="connsiteX1" fmla="*/ 109853 w 177800"/>
                  <a:gd name="connsiteY1" fmla="*/ 31940 h 57150"/>
                  <a:gd name="connsiteX2" fmla="*/ 125728 w 177800"/>
                  <a:gd name="connsiteY2" fmla="*/ 33845 h 57150"/>
                  <a:gd name="connsiteX3" fmla="*/ 59688 w 177800"/>
                  <a:gd name="connsiteY3" fmla="*/ 52895 h 57150"/>
                  <a:gd name="connsiteX4" fmla="*/ 29843 w 177800"/>
                  <a:gd name="connsiteY4" fmla="*/ 45275 h 57150"/>
                  <a:gd name="connsiteX5" fmla="*/ 5713 w 177800"/>
                  <a:gd name="connsiteY5" fmla="*/ 42735 h 57150"/>
                  <a:gd name="connsiteX6" fmla="*/ 178433 w 177800"/>
                  <a:gd name="connsiteY6" fmla="*/ 590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7800" h="57150">
                    <a:moveTo>
                      <a:pt x="178433" y="5905"/>
                    </a:moveTo>
                    <a:cubicBezTo>
                      <a:pt x="155573" y="14795"/>
                      <a:pt x="131443" y="20510"/>
                      <a:pt x="109853" y="31940"/>
                    </a:cubicBezTo>
                    <a:cubicBezTo>
                      <a:pt x="105408" y="34480"/>
                      <a:pt x="130173" y="31940"/>
                      <a:pt x="125728" y="33845"/>
                    </a:cubicBezTo>
                    <a:cubicBezTo>
                      <a:pt x="104773" y="42735"/>
                      <a:pt x="82548" y="50355"/>
                      <a:pt x="59688" y="52895"/>
                    </a:cubicBezTo>
                    <a:cubicBezTo>
                      <a:pt x="49528" y="54165"/>
                      <a:pt x="40003" y="47180"/>
                      <a:pt x="29843" y="45275"/>
                    </a:cubicBezTo>
                    <a:cubicBezTo>
                      <a:pt x="21588" y="44005"/>
                      <a:pt x="-2" y="48450"/>
                      <a:pt x="5713" y="42735"/>
                    </a:cubicBezTo>
                    <a:cubicBezTo>
                      <a:pt x="55243" y="-2350"/>
                      <a:pt x="117473" y="4635"/>
                      <a:pt x="178433" y="590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" name="任意多边形: 形状 7">
                <a:extLst>
                  <a:ext uri="{FF2B5EF4-FFF2-40B4-BE49-F238E27FC236}">
                    <a16:creationId xmlns:a16="http://schemas.microsoft.com/office/drawing/2014/main" id="{2B1EC4C6-936E-4507-BED5-ADFCAA645420}"/>
                  </a:ext>
                </a:extLst>
              </p:cNvPr>
              <p:cNvSpPr/>
              <p:nvPr/>
            </p:nvSpPr>
            <p:spPr>
              <a:xfrm>
                <a:off x="8283795" y="1090475"/>
                <a:ext cx="361950" cy="107950"/>
              </a:xfrm>
              <a:custGeom>
                <a:avLst/>
                <a:gdLst>
                  <a:gd name="connsiteX0" fmla="*/ 355380 w 361950"/>
                  <a:gd name="connsiteY0" fmla="*/ 52525 h 107950"/>
                  <a:gd name="connsiteX1" fmla="*/ 323630 w 361950"/>
                  <a:gd name="connsiteY1" fmla="*/ 100785 h 107950"/>
                  <a:gd name="connsiteX2" fmla="*/ 179485 w 361950"/>
                  <a:gd name="connsiteY2" fmla="*/ 74115 h 107950"/>
                  <a:gd name="connsiteX3" fmla="*/ 102015 w 361950"/>
                  <a:gd name="connsiteY3" fmla="*/ 100150 h 107950"/>
                  <a:gd name="connsiteX4" fmla="*/ 90585 w 361950"/>
                  <a:gd name="connsiteY4" fmla="*/ 72210 h 107950"/>
                  <a:gd name="connsiteX5" fmla="*/ 4860 w 361950"/>
                  <a:gd name="connsiteY5" fmla="*/ 94435 h 107950"/>
                  <a:gd name="connsiteX6" fmla="*/ 20100 w 361950"/>
                  <a:gd name="connsiteY6" fmla="*/ 92530 h 107950"/>
                  <a:gd name="connsiteX7" fmla="*/ 44865 w 361950"/>
                  <a:gd name="connsiteY7" fmla="*/ 76655 h 107950"/>
                  <a:gd name="connsiteX8" fmla="*/ 48675 w 361950"/>
                  <a:gd name="connsiteY8" fmla="*/ 40460 h 107950"/>
                  <a:gd name="connsiteX9" fmla="*/ 73440 w 361950"/>
                  <a:gd name="connsiteY9" fmla="*/ 42365 h 107950"/>
                  <a:gd name="connsiteX10" fmla="*/ 112810 w 361950"/>
                  <a:gd name="connsiteY10" fmla="*/ 38555 h 107950"/>
                  <a:gd name="connsiteX11" fmla="*/ 75345 w 361950"/>
                  <a:gd name="connsiteY11" fmla="*/ 67765 h 107950"/>
                  <a:gd name="connsiteX12" fmla="*/ 113445 w 361950"/>
                  <a:gd name="connsiteY12" fmla="*/ 66495 h 107950"/>
                  <a:gd name="connsiteX13" fmla="*/ 145195 w 361950"/>
                  <a:gd name="connsiteY13" fmla="*/ 50620 h 107950"/>
                  <a:gd name="connsiteX14" fmla="*/ 159800 w 361950"/>
                  <a:gd name="connsiteY14" fmla="*/ 39825 h 107950"/>
                  <a:gd name="connsiteX15" fmla="*/ 211870 w 361950"/>
                  <a:gd name="connsiteY15" fmla="*/ 34110 h 107950"/>
                  <a:gd name="connsiteX16" fmla="*/ 241080 w 361950"/>
                  <a:gd name="connsiteY16" fmla="*/ 30935 h 107950"/>
                  <a:gd name="connsiteX17" fmla="*/ 195360 w 361950"/>
                  <a:gd name="connsiteY17" fmla="*/ 56335 h 107950"/>
                  <a:gd name="connsiteX18" fmla="*/ 258225 w 361950"/>
                  <a:gd name="connsiteY18" fmla="*/ 27760 h 107950"/>
                  <a:gd name="connsiteX19" fmla="*/ 293150 w 361950"/>
                  <a:gd name="connsiteY19" fmla="*/ 31570 h 107950"/>
                  <a:gd name="connsiteX20" fmla="*/ 325535 w 361950"/>
                  <a:gd name="connsiteY20" fmla="*/ 4900 h 107950"/>
                  <a:gd name="connsiteX21" fmla="*/ 360460 w 361950"/>
                  <a:gd name="connsiteY21" fmla="*/ 24585 h 107950"/>
                  <a:gd name="connsiteX22" fmla="*/ 318550 w 361950"/>
                  <a:gd name="connsiteY22" fmla="*/ 48080 h 107950"/>
                  <a:gd name="connsiteX23" fmla="*/ 355380 w 361950"/>
                  <a:gd name="connsiteY23" fmla="*/ 52525 h 10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61950" h="107950">
                    <a:moveTo>
                      <a:pt x="355380" y="52525"/>
                    </a:moveTo>
                    <a:cubicBezTo>
                      <a:pt x="344585" y="69035"/>
                      <a:pt x="342680" y="98880"/>
                      <a:pt x="323630" y="100785"/>
                    </a:cubicBezTo>
                    <a:cubicBezTo>
                      <a:pt x="275370" y="107135"/>
                      <a:pt x="227745" y="82370"/>
                      <a:pt x="179485" y="74115"/>
                    </a:cubicBezTo>
                    <a:cubicBezTo>
                      <a:pt x="125510" y="64590"/>
                      <a:pt x="240445" y="102055"/>
                      <a:pt x="102015" y="100150"/>
                    </a:cubicBezTo>
                    <a:cubicBezTo>
                      <a:pt x="91855" y="100150"/>
                      <a:pt x="99475" y="76655"/>
                      <a:pt x="90585" y="72210"/>
                    </a:cubicBezTo>
                    <a:cubicBezTo>
                      <a:pt x="60105" y="55065"/>
                      <a:pt x="17560" y="141425"/>
                      <a:pt x="4860" y="94435"/>
                    </a:cubicBezTo>
                    <a:cubicBezTo>
                      <a:pt x="3590" y="89355"/>
                      <a:pt x="15020" y="95070"/>
                      <a:pt x="20100" y="92530"/>
                    </a:cubicBezTo>
                    <a:cubicBezTo>
                      <a:pt x="28990" y="88720"/>
                      <a:pt x="39785" y="85545"/>
                      <a:pt x="44865" y="76655"/>
                    </a:cubicBezTo>
                    <a:cubicBezTo>
                      <a:pt x="50580" y="65860"/>
                      <a:pt x="41055" y="49985"/>
                      <a:pt x="48675" y="40460"/>
                    </a:cubicBezTo>
                    <a:cubicBezTo>
                      <a:pt x="53755" y="34110"/>
                      <a:pt x="65185" y="42365"/>
                      <a:pt x="73440" y="42365"/>
                    </a:cubicBezTo>
                    <a:cubicBezTo>
                      <a:pt x="86775" y="41730"/>
                      <a:pt x="111540" y="25220"/>
                      <a:pt x="112810" y="38555"/>
                    </a:cubicBezTo>
                    <a:cubicBezTo>
                      <a:pt x="114080" y="54430"/>
                      <a:pt x="74710" y="51890"/>
                      <a:pt x="75345" y="67765"/>
                    </a:cubicBezTo>
                    <a:cubicBezTo>
                      <a:pt x="75980" y="80465"/>
                      <a:pt x="101380" y="69670"/>
                      <a:pt x="113445" y="66495"/>
                    </a:cubicBezTo>
                    <a:cubicBezTo>
                      <a:pt x="124875" y="63320"/>
                      <a:pt x="135035" y="56335"/>
                      <a:pt x="145195" y="50620"/>
                    </a:cubicBezTo>
                    <a:cubicBezTo>
                      <a:pt x="150275" y="47445"/>
                      <a:pt x="154085" y="41095"/>
                      <a:pt x="159800" y="39825"/>
                    </a:cubicBezTo>
                    <a:cubicBezTo>
                      <a:pt x="176945" y="35380"/>
                      <a:pt x="194725" y="36015"/>
                      <a:pt x="211870" y="34110"/>
                    </a:cubicBezTo>
                    <a:cubicBezTo>
                      <a:pt x="221395" y="32840"/>
                      <a:pt x="232190" y="27125"/>
                      <a:pt x="241080" y="30935"/>
                    </a:cubicBezTo>
                    <a:cubicBezTo>
                      <a:pt x="260765" y="37920"/>
                      <a:pt x="135035" y="92530"/>
                      <a:pt x="195360" y="56335"/>
                    </a:cubicBezTo>
                    <a:cubicBezTo>
                      <a:pt x="215045" y="44270"/>
                      <a:pt x="236000" y="33475"/>
                      <a:pt x="258225" y="27760"/>
                    </a:cubicBezTo>
                    <a:cubicBezTo>
                      <a:pt x="269655" y="25220"/>
                      <a:pt x="282355" y="35380"/>
                      <a:pt x="293150" y="31570"/>
                    </a:cubicBezTo>
                    <a:cubicBezTo>
                      <a:pt x="306485" y="27125"/>
                      <a:pt x="311565" y="6170"/>
                      <a:pt x="325535" y="4900"/>
                    </a:cubicBezTo>
                    <a:cubicBezTo>
                      <a:pt x="338870" y="3630"/>
                      <a:pt x="362365" y="11250"/>
                      <a:pt x="360460" y="24585"/>
                    </a:cubicBezTo>
                    <a:cubicBezTo>
                      <a:pt x="357920" y="40460"/>
                      <a:pt x="321725" y="32205"/>
                      <a:pt x="318550" y="48080"/>
                    </a:cubicBezTo>
                    <a:cubicBezTo>
                      <a:pt x="316645" y="59510"/>
                      <a:pt x="355380" y="52525"/>
                      <a:pt x="355380" y="525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" name="任意多边形: 形状 8">
                <a:extLst>
                  <a:ext uri="{FF2B5EF4-FFF2-40B4-BE49-F238E27FC236}">
                    <a16:creationId xmlns:a16="http://schemas.microsoft.com/office/drawing/2014/main" id="{F22B55A0-D7F5-4653-B621-B4466C3E96AD}"/>
                  </a:ext>
                </a:extLst>
              </p:cNvPr>
              <p:cNvSpPr/>
              <p:nvPr/>
            </p:nvSpPr>
            <p:spPr>
              <a:xfrm>
                <a:off x="9663161" y="1139834"/>
                <a:ext cx="95250" cy="44450"/>
              </a:xfrm>
              <a:custGeom>
                <a:avLst/>
                <a:gdLst>
                  <a:gd name="connsiteX0" fmla="*/ 91074 w 95250"/>
                  <a:gd name="connsiteY0" fmla="*/ 43806 h 44450"/>
                  <a:gd name="connsiteX1" fmla="*/ 6620 w 95250"/>
                  <a:gd name="connsiteY1" fmla="*/ 13961 h 44450"/>
                  <a:gd name="connsiteX2" fmla="*/ 54880 w 95250"/>
                  <a:gd name="connsiteY2" fmla="*/ 8246 h 44450"/>
                  <a:gd name="connsiteX3" fmla="*/ 91074 w 95250"/>
                  <a:gd name="connsiteY3" fmla="*/ 43806 h 44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44450">
                    <a:moveTo>
                      <a:pt x="91074" y="43806"/>
                    </a:moveTo>
                    <a:cubicBezTo>
                      <a:pt x="63134" y="33646"/>
                      <a:pt x="28209" y="34916"/>
                      <a:pt x="6620" y="13961"/>
                    </a:cubicBezTo>
                    <a:cubicBezTo>
                      <a:pt x="-4811" y="2531"/>
                      <a:pt x="39639" y="3166"/>
                      <a:pt x="54880" y="8246"/>
                    </a:cubicBezTo>
                    <a:cubicBezTo>
                      <a:pt x="70755" y="13961"/>
                      <a:pt x="91074" y="43806"/>
                      <a:pt x="91074" y="4380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" name="任意多边形: 形状 9">
                <a:extLst>
                  <a:ext uri="{FF2B5EF4-FFF2-40B4-BE49-F238E27FC236}">
                    <a16:creationId xmlns:a16="http://schemas.microsoft.com/office/drawing/2014/main" id="{D0EEA745-56D8-4D88-9B59-5FFB77D0FADA}"/>
                  </a:ext>
                </a:extLst>
              </p:cNvPr>
              <p:cNvSpPr/>
              <p:nvPr/>
            </p:nvSpPr>
            <p:spPr>
              <a:xfrm>
                <a:off x="8483918" y="1044893"/>
                <a:ext cx="50800" cy="12700"/>
              </a:xfrm>
              <a:custGeom>
                <a:avLst/>
                <a:gdLst>
                  <a:gd name="connsiteX0" fmla="*/ 47307 w 50800"/>
                  <a:gd name="connsiteY0" fmla="*/ 9207 h 12700"/>
                  <a:gd name="connsiteX1" fmla="*/ 4763 w 50800"/>
                  <a:gd name="connsiteY1" fmla="*/ 4763 h 12700"/>
                  <a:gd name="connsiteX2" fmla="*/ 47307 w 50800"/>
                  <a:gd name="connsiteY2" fmla="*/ 9207 h 12700"/>
                  <a:gd name="connsiteX3" fmla="*/ 47307 w 50800"/>
                  <a:gd name="connsiteY3" fmla="*/ 9207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12700">
                    <a:moveTo>
                      <a:pt x="47307" y="9207"/>
                    </a:moveTo>
                    <a:cubicBezTo>
                      <a:pt x="33338" y="7938"/>
                      <a:pt x="4763" y="4763"/>
                      <a:pt x="4763" y="4763"/>
                    </a:cubicBezTo>
                    <a:cubicBezTo>
                      <a:pt x="4763" y="4763"/>
                      <a:pt x="33338" y="7938"/>
                      <a:pt x="47307" y="9207"/>
                    </a:cubicBezTo>
                    <a:lnTo>
                      <a:pt x="47307" y="920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" name="任意多边形: 形状 10">
                <a:extLst>
                  <a:ext uri="{FF2B5EF4-FFF2-40B4-BE49-F238E27FC236}">
                    <a16:creationId xmlns:a16="http://schemas.microsoft.com/office/drawing/2014/main" id="{0A981389-6148-4960-B5EF-D6336A30308C}"/>
                  </a:ext>
                </a:extLst>
              </p:cNvPr>
              <p:cNvSpPr/>
              <p:nvPr/>
            </p:nvSpPr>
            <p:spPr>
              <a:xfrm>
                <a:off x="8515939" y="1014316"/>
                <a:ext cx="25400" cy="12700"/>
              </a:xfrm>
              <a:custGeom>
                <a:avLst/>
                <a:gdLst>
                  <a:gd name="connsiteX0" fmla="*/ 23541 w 25400"/>
                  <a:gd name="connsiteY0" fmla="*/ 13114 h 12700"/>
                  <a:gd name="connsiteX1" fmla="*/ 5126 w 25400"/>
                  <a:gd name="connsiteY1" fmla="*/ 11209 h 12700"/>
                  <a:gd name="connsiteX2" fmla="*/ 19096 w 25400"/>
                  <a:gd name="connsiteY2" fmla="*/ 4859 h 12700"/>
                  <a:gd name="connsiteX3" fmla="*/ 23541 w 25400"/>
                  <a:gd name="connsiteY3" fmla="*/ 13114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400" h="12700">
                    <a:moveTo>
                      <a:pt x="23541" y="13114"/>
                    </a:moveTo>
                    <a:cubicBezTo>
                      <a:pt x="17191" y="12479"/>
                      <a:pt x="8301" y="16289"/>
                      <a:pt x="5126" y="11209"/>
                    </a:cubicBezTo>
                    <a:cubicBezTo>
                      <a:pt x="2586" y="6764"/>
                      <a:pt x="14016" y="4224"/>
                      <a:pt x="19096" y="4859"/>
                    </a:cubicBezTo>
                    <a:cubicBezTo>
                      <a:pt x="22271" y="4859"/>
                      <a:pt x="23541" y="13114"/>
                      <a:pt x="23541" y="131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87FF109F-E415-4082-BB96-06559EF986D6}"/>
                  </a:ext>
                </a:extLst>
              </p:cNvPr>
              <p:cNvSpPr/>
              <p:nvPr/>
            </p:nvSpPr>
            <p:spPr>
              <a:xfrm>
                <a:off x="9061768" y="1401305"/>
                <a:ext cx="133350" cy="146050"/>
              </a:xfrm>
              <a:custGeom>
                <a:avLst/>
                <a:gdLst>
                  <a:gd name="connsiteX0" fmla="*/ 4763 w 133350"/>
                  <a:gd name="connsiteY0" fmla="*/ 28080 h 146050"/>
                  <a:gd name="connsiteX1" fmla="*/ 37782 w 133350"/>
                  <a:gd name="connsiteY1" fmla="*/ 15380 h 146050"/>
                  <a:gd name="connsiteX2" fmla="*/ 71438 w 133350"/>
                  <a:gd name="connsiteY2" fmla="*/ 50305 h 146050"/>
                  <a:gd name="connsiteX3" fmla="*/ 63182 w 133350"/>
                  <a:gd name="connsiteY3" fmla="*/ 7125 h 146050"/>
                  <a:gd name="connsiteX4" fmla="*/ 84138 w 133350"/>
                  <a:gd name="connsiteY4" fmla="*/ 18555 h 146050"/>
                  <a:gd name="connsiteX5" fmla="*/ 81597 w 133350"/>
                  <a:gd name="connsiteY5" fmla="*/ 32525 h 146050"/>
                  <a:gd name="connsiteX6" fmla="*/ 131127 w 133350"/>
                  <a:gd name="connsiteY6" fmla="*/ 51575 h 146050"/>
                  <a:gd name="connsiteX7" fmla="*/ 103822 w 133350"/>
                  <a:gd name="connsiteY7" fmla="*/ 65545 h 146050"/>
                  <a:gd name="connsiteX8" fmla="*/ 108267 w 133350"/>
                  <a:gd name="connsiteY8" fmla="*/ 78880 h 146050"/>
                  <a:gd name="connsiteX9" fmla="*/ 83502 w 133350"/>
                  <a:gd name="connsiteY9" fmla="*/ 141110 h 146050"/>
                  <a:gd name="connsiteX10" fmla="*/ 70167 w 133350"/>
                  <a:gd name="connsiteY10" fmla="*/ 129045 h 146050"/>
                  <a:gd name="connsiteX11" fmla="*/ 83502 w 133350"/>
                  <a:gd name="connsiteY11" fmla="*/ 123965 h 146050"/>
                  <a:gd name="connsiteX12" fmla="*/ 40322 w 133350"/>
                  <a:gd name="connsiteY12" fmla="*/ 83960 h 146050"/>
                  <a:gd name="connsiteX13" fmla="*/ 84138 w 133350"/>
                  <a:gd name="connsiteY13" fmla="*/ 68085 h 146050"/>
                  <a:gd name="connsiteX14" fmla="*/ 32702 w 133350"/>
                  <a:gd name="connsiteY14" fmla="*/ 78245 h 146050"/>
                  <a:gd name="connsiteX15" fmla="*/ 34607 w 133350"/>
                  <a:gd name="connsiteY15" fmla="*/ 65545 h 146050"/>
                  <a:gd name="connsiteX16" fmla="*/ 4763 w 133350"/>
                  <a:gd name="connsiteY16" fmla="*/ 28080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3350" h="146050">
                    <a:moveTo>
                      <a:pt x="4763" y="28080"/>
                    </a:moveTo>
                    <a:cubicBezTo>
                      <a:pt x="15557" y="23635"/>
                      <a:pt x="26988" y="11570"/>
                      <a:pt x="37782" y="15380"/>
                    </a:cubicBezTo>
                    <a:cubicBezTo>
                      <a:pt x="53022" y="20460"/>
                      <a:pt x="55563" y="55385"/>
                      <a:pt x="71438" y="50305"/>
                    </a:cubicBezTo>
                    <a:cubicBezTo>
                      <a:pt x="85407" y="45860"/>
                      <a:pt x="57467" y="21095"/>
                      <a:pt x="63182" y="7125"/>
                    </a:cubicBezTo>
                    <a:cubicBezTo>
                      <a:pt x="66357" y="-495"/>
                      <a:pt x="79692" y="12205"/>
                      <a:pt x="84138" y="18555"/>
                    </a:cubicBezTo>
                    <a:cubicBezTo>
                      <a:pt x="86677" y="22365"/>
                      <a:pt x="77788" y="29350"/>
                      <a:pt x="81597" y="32525"/>
                    </a:cubicBezTo>
                    <a:cubicBezTo>
                      <a:pt x="96202" y="42685"/>
                      <a:pt x="121602" y="36970"/>
                      <a:pt x="131127" y="51575"/>
                    </a:cubicBezTo>
                    <a:cubicBezTo>
                      <a:pt x="136842" y="59830"/>
                      <a:pt x="110172" y="57925"/>
                      <a:pt x="103822" y="65545"/>
                    </a:cubicBezTo>
                    <a:cubicBezTo>
                      <a:pt x="100647" y="69355"/>
                      <a:pt x="109538" y="74435"/>
                      <a:pt x="108267" y="78880"/>
                    </a:cubicBezTo>
                    <a:cubicBezTo>
                      <a:pt x="102552" y="100470"/>
                      <a:pt x="96838" y="123330"/>
                      <a:pt x="83502" y="141110"/>
                    </a:cubicBezTo>
                    <a:cubicBezTo>
                      <a:pt x="79692" y="146190"/>
                      <a:pt x="70167" y="134760"/>
                      <a:pt x="70167" y="129045"/>
                    </a:cubicBezTo>
                    <a:cubicBezTo>
                      <a:pt x="70167" y="123965"/>
                      <a:pt x="87947" y="126505"/>
                      <a:pt x="83502" y="123965"/>
                    </a:cubicBezTo>
                    <a:cubicBezTo>
                      <a:pt x="75247" y="118250"/>
                      <a:pt x="16192" y="124600"/>
                      <a:pt x="40322" y="83960"/>
                    </a:cubicBezTo>
                    <a:cubicBezTo>
                      <a:pt x="47942" y="70625"/>
                      <a:pt x="96838" y="77610"/>
                      <a:pt x="84138" y="68085"/>
                    </a:cubicBezTo>
                    <a:cubicBezTo>
                      <a:pt x="70167" y="57925"/>
                      <a:pt x="49847" y="78880"/>
                      <a:pt x="32702" y="78245"/>
                    </a:cubicBezTo>
                    <a:cubicBezTo>
                      <a:pt x="28257" y="78245"/>
                      <a:pt x="36513" y="69355"/>
                      <a:pt x="34607" y="65545"/>
                    </a:cubicBezTo>
                    <a:cubicBezTo>
                      <a:pt x="26988" y="51575"/>
                      <a:pt x="4763" y="28080"/>
                      <a:pt x="4763" y="280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" name="任意多边形: 形状 12">
                <a:extLst>
                  <a:ext uri="{FF2B5EF4-FFF2-40B4-BE49-F238E27FC236}">
                    <a16:creationId xmlns:a16="http://schemas.microsoft.com/office/drawing/2014/main" id="{4C2CED6A-3945-4BDC-BA2F-8C274FC15871}"/>
                  </a:ext>
                </a:extLst>
              </p:cNvPr>
              <p:cNvSpPr/>
              <p:nvPr/>
            </p:nvSpPr>
            <p:spPr>
              <a:xfrm>
                <a:off x="8489034" y="965413"/>
                <a:ext cx="50800" cy="25400"/>
              </a:xfrm>
              <a:custGeom>
                <a:avLst/>
                <a:gdLst>
                  <a:gd name="connsiteX0" fmla="*/ 50447 w 50800"/>
                  <a:gd name="connsiteY0" fmla="*/ 26457 h 25400"/>
                  <a:gd name="connsiteX1" fmla="*/ 5361 w 50800"/>
                  <a:gd name="connsiteY1" fmla="*/ 16297 h 25400"/>
                  <a:gd name="connsiteX2" fmla="*/ 40922 w 50800"/>
                  <a:gd name="connsiteY2" fmla="*/ 6137 h 25400"/>
                  <a:gd name="connsiteX3" fmla="*/ 50447 w 50800"/>
                  <a:gd name="connsiteY3" fmla="*/ 26457 h 2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25400">
                    <a:moveTo>
                      <a:pt x="50447" y="26457"/>
                    </a:moveTo>
                    <a:cubicBezTo>
                      <a:pt x="35207" y="23282"/>
                      <a:pt x="11711" y="30267"/>
                      <a:pt x="5361" y="16297"/>
                    </a:cubicBezTo>
                    <a:cubicBezTo>
                      <a:pt x="282" y="4867"/>
                      <a:pt x="28857" y="2962"/>
                      <a:pt x="40922" y="6137"/>
                    </a:cubicBezTo>
                    <a:cubicBezTo>
                      <a:pt x="48541" y="8042"/>
                      <a:pt x="50447" y="26457"/>
                      <a:pt x="50447" y="264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513679F4-1C91-4736-BD35-84194C8205C6}"/>
                  </a:ext>
                </a:extLst>
              </p:cNvPr>
              <p:cNvSpPr/>
              <p:nvPr/>
            </p:nvSpPr>
            <p:spPr>
              <a:xfrm>
                <a:off x="8338169" y="1057210"/>
                <a:ext cx="44450" cy="31750"/>
              </a:xfrm>
              <a:custGeom>
                <a:avLst/>
                <a:gdLst>
                  <a:gd name="connsiteX0" fmla="*/ 44465 w 44450"/>
                  <a:gd name="connsiteY0" fmla="*/ 17210 h 31750"/>
                  <a:gd name="connsiteX1" fmla="*/ 22875 w 44450"/>
                  <a:gd name="connsiteY1" fmla="*/ 31815 h 31750"/>
                  <a:gd name="connsiteX2" fmla="*/ 6365 w 44450"/>
                  <a:gd name="connsiteY2" fmla="*/ 8955 h 31750"/>
                  <a:gd name="connsiteX3" fmla="*/ 43831 w 44450"/>
                  <a:gd name="connsiteY3" fmla="*/ 10225 h 31750"/>
                  <a:gd name="connsiteX4" fmla="*/ 44465 w 44450"/>
                  <a:gd name="connsiteY4" fmla="*/ 17210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50" h="31750">
                    <a:moveTo>
                      <a:pt x="44465" y="17210"/>
                    </a:moveTo>
                    <a:cubicBezTo>
                      <a:pt x="37481" y="22290"/>
                      <a:pt x="31131" y="33720"/>
                      <a:pt x="22875" y="31815"/>
                    </a:cubicBezTo>
                    <a:cubicBezTo>
                      <a:pt x="13986" y="29910"/>
                      <a:pt x="15" y="15305"/>
                      <a:pt x="6365" y="8955"/>
                    </a:cubicBezTo>
                    <a:cubicBezTo>
                      <a:pt x="15256" y="65"/>
                      <a:pt x="31765" y="7685"/>
                      <a:pt x="43831" y="10225"/>
                    </a:cubicBezTo>
                    <a:cubicBezTo>
                      <a:pt x="45736" y="10860"/>
                      <a:pt x="43831" y="14670"/>
                      <a:pt x="44465" y="172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A2F3890D-659A-4DD3-8594-E6CB092396F8}"/>
                  </a:ext>
                </a:extLst>
              </p:cNvPr>
              <p:cNvSpPr/>
              <p:nvPr/>
            </p:nvSpPr>
            <p:spPr>
              <a:xfrm>
                <a:off x="8227083" y="1086204"/>
                <a:ext cx="146050" cy="120650"/>
              </a:xfrm>
              <a:custGeom>
                <a:avLst/>
                <a:gdLst>
                  <a:gd name="connsiteX0" fmla="*/ 118087 w 146050"/>
                  <a:gd name="connsiteY0" fmla="*/ 32031 h 120650"/>
                  <a:gd name="connsiteX1" fmla="*/ 88242 w 146050"/>
                  <a:gd name="connsiteY1" fmla="*/ 50446 h 120650"/>
                  <a:gd name="connsiteX2" fmla="*/ 43792 w 146050"/>
                  <a:gd name="connsiteY2" fmla="*/ 59336 h 120650"/>
                  <a:gd name="connsiteX3" fmla="*/ 32997 w 146050"/>
                  <a:gd name="connsiteY3" fmla="*/ 110136 h 120650"/>
                  <a:gd name="connsiteX4" fmla="*/ 13947 w 146050"/>
                  <a:gd name="connsiteY4" fmla="*/ 119661 h 120650"/>
                  <a:gd name="connsiteX5" fmla="*/ 106657 w 146050"/>
                  <a:gd name="connsiteY5" fmla="*/ 28221 h 120650"/>
                  <a:gd name="connsiteX6" fmla="*/ 142852 w 146050"/>
                  <a:gd name="connsiteY6" fmla="*/ 5361 h 120650"/>
                  <a:gd name="connsiteX7" fmla="*/ 118087 w 146050"/>
                  <a:gd name="connsiteY7" fmla="*/ 32031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050" h="120650">
                    <a:moveTo>
                      <a:pt x="118087" y="32031"/>
                    </a:moveTo>
                    <a:cubicBezTo>
                      <a:pt x="107927" y="38381"/>
                      <a:pt x="99037" y="46001"/>
                      <a:pt x="88242" y="50446"/>
                    </a:cubicBezTo>
                    <a:cubicBezTo>
                      <a:pt x="74272" y="55526"/>
                      <a:pt x="53952" y="48541"/>
                      <a:pt x="43792" y="59336"/>
                    </a:cubicBezTo>
                    <a:cubicBezTo>
                      <a:pt x="31727" y="72036"/>
                      <a:pt x="40617" y="94261"/>
                      <a:pt x="32997" y="110136"/>
                    </a:cubicBezTo>
                    <a:cubicBezTo>
                      <a:pt x="29822" y="116486"/>
                      <a:pt x="15852" y="126011"/>
                      <a:pt x="13947" y="119661"/>
                    </a:cubicBezTo>
                    <a:cubicBezTo>
                      <a:pt x="-20343" y="16156"/>
                      <a:pt x="48237" y="54891"/>
                      <a:pt x="106657" y="28221"/>
                    </a:cubicBezTo>
                    <a:cubicBezTo>
                      <a:pt x="119992" y="22506"/>
                      <a:pt x="129517" y="916"/>
                      <a:pt x="142852" y="5361"/>
                    </a:cubicBezTo>
                    <a:cubicBezTo>
                      <a:pt x="154917" y="9171"/>
                      <a:pt x="118087" y="32031"/>
                      <a:pt x="118087" y="320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1539B4AA-F073-442F-8251-AB9001E71FFD}"/>
                  </a:ext>
                </a:extLst>
              </p:cNvPr>
              <p:cNvSpPr/>
              <p:nvPr/>
            </p:nvSpPr>
            <p:spPr>
              <a:xfrm>
                <a:off x="8360897" y="987096"/>
                <a:ext cx="88900" cy="50800"/>
              </a:xfrm>
              <a:custGeom>
                <a:avLst/>
                <a:gdLst>
                  <a:gd name="connsiteX0" fmla="*/ 80158 w 88900"/>
                  <a:gd name="connsiteY0" fmla="*/ 29539 h 50800"/>
                  <a:gd name="connsiteX1" fmla="*/ 5862 w 88900"/>
                  <a:gd name="connsiteY1" fmla="*/ 31444 h 50800"/>
                  <a:gd name="connsiteX2" fmla="*/ 30628 w 88900"/>
                  <a:gd name="connsiteY2" fmla="*/ 36524 h 50800"/>
                  <a:gd name="connsiteX3" fmla="*/ 87778 w 88900"/>
                  <a:gd name="connsiteY3" fmla="*/ 4774 h 50800"/>
                  <a:gd name="connsiteX4" fmla="*/ 80158 w 88900"/>
                  <a:gd name="connsiteY4" fmla="*/ 29539 h 5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900" h="50800">
                    <a:moveTo>
                      <a:pt x="80158" y="29539"/>
                    </a:moveTo>
                    <a:cubicBezTo>
                      <a:pt x="46503" y="47319"/>
                      <a:pt x="42058" y="61289"/>
                      <a:pt x="5862" y="31444"/>
                    </a:cubicBezTo>
                    <a:cubicBezTo>
                      <a:pt x="-488" y="26364"/>
                      <a:pt x="22372" y="39064"/>
                      <a:pt x="30628" y="36524"/>
                    </a:cubicBezTo>
                    <a:cubicBezTo>
                      <a:pt x="50947" y="29539"/>
                      <a:pt x="66187" y="7949"/>
                      <a:pt x="87778" y="4774"/>
                    </a:cubicBezTo>
                    <a:cubicBezTo>
                      <a:pt x="96033" y="4139"/>
                      <a:pt x="80158" y="29539"/>
                      <a:pt x="80158" y="295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88BF1A9E-FB60-4F3E-AD22-BBA830DA395E}"/>
                  </a:ext>
                </a:extLst>
              </p:cNvPr>
              <p:cNvSpPr/>
              <p:nvPr/>
            </p:nvSpPr>
            <p:spPr>
              <a:xfrm>
                <a:off x="9621810" y="959271"/>
                <a:ext cx="88900" cy="44450"/>
              </a:xfrm>
              <a:custGeom>
                <a:avLst/>
                <a:gdLst>
                  <a:gd name="connsiteX0" fmla="*/ 84165 w 88900"/>
                  <a:gd name="connsiteY0" fmla="*/ 31964 h 44450"/>
                  <a:gd name="connsiteX1" fmla="*/ 61940 w 88900"/>
                  <a:gd name="connsiteY1" fmla="*/ 44029 h 44450"/>
                  <a:gd name="connsiteX2" fmla="*/ 4790 w 88900"/>
                  <a:gd name="connsiteY2" fmla="*/ 9739 h 44450"/>
                  <a:gd name="connsiteX3" fmla="*/ 42890 w 88900"/>
                  <a:gd name="connsiteY3" fmla="*/ 15454 h 44450"/>
                  <a:gd name="connsiteX4" fmla="*/ 84165 w 88900"/>
                  <a:gd name="connsiteY4" fmla="*/ 31964 h 44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900" h="44450">
                    <a:moveTo>
                      <a:pt x="84165" y="31964"/>
                    </a:moveTo>
                    <a:cubicBezTo>
                      <a:pt x="76546" y="35774"/>
                      <a:pt x="70196" y="42759"/>
                      <a:pt x="61940" y="44029"/>
                    </a:cubicBezTo>
                    <a:cubicBezTo>
                      <a:pt x="46065" y="45934"/>
                      <a:pt x="3521" y="19899"/>
                      <a:pt x="4790" y="9739"/>
                    </a:cubicBezTo>
                    <a:cubicBezTo>
                      <a:pt x="6060" y="-2961"/>
                      <a:pt x="30190" y="12279"/>
                      <a:pt x="42890" y="15454"/>
                    </a:cubicBezTo>
                    <a:cubicBezTo>
                      <a:pt x="56860" y="19899"/>
                      <a:pt x="84165" y="31964"/>
                      <a:pt x="84165" y="3196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ABAE3C3C-F1B7-4DD6-9BAE-F51D64757C46}"/>
                  </a:ext>
                </a:extLst>
              </p:cNvPr>
              <p:cNvSpPr/>
              <p:nvPr/>
            </p:nvSpPr>
            <p:spPr>
              <a:xfrm>
                <a:off x="9684073" y="1378775"/>
                <a:ext cx="82550" cy="177800"/>
              </a:xfrm>
              <a:custGeom>
                <a:avLst/>
                <a:gdLst>
                  <a:gd name="connsiteX0" fmla="*/ 39046 w 82550"/>
                  <a:gd name="connsiteY0" fmla="*/ 113475 h 177800"/>
                  <a:gd name="connsiteX1" fmla="*/ 19361 w 82550"/>
                  <a:gd name="connsiteY1" fmla="*/ 88710 h 177800"/>
                  <a:gd name="connsiteX2" fmla="*/ 6661 w 82550"/>
                  <a:gd name="connsiteY2" fmla="*/ 76010 h 177800"/>
                  <a:gd name="connsiteX3" fmla="*/ 62542 w 82550"/>
                  <a:gd name="connsiteY3" fmla="*/ 4890 h 177800"/>
                  <a:gd name="connsiteX4" fmla="*/ 61271 w 82550"/>
                  <a:gd name="connsiteY4" fmla="*/ 6795 h 177800"/>
                  <a:gd name="connsiteX5" fmla="*/ 53652 w 82550"/>
                  <a:gd name="connsiteY5" fmla="*/ 62040 h 177800"/>
                  <a:gd name="connsiteX6" fmla="*/ 52382 w 82550"/>
                  <a:gd name="connsiteY6" fmla="*/ 69660 h 177800"/>
                  <a:gd name="connsiteX7" fmla="*/ 72067 w 82550"/>
                  <a:gd name="connsiteY7" fmla="*/ 101410 h 177800"/>
                  <a:gd name="connsiteX8" fmla="*/ 56827 w 82550"/>
                  <a:gd name="connsiteY8" fmla="*/ 110300 h 177800"/>
                  <a:gd name="connsiteX9" fmla="*/ 82227 w 82550"/>
                  <a:gd name="connsiteY9" fmla="*/ 128715 h 177800"/>
                  <a:gd name="connsiteX10" fmla="*/ 62542 w 82550"/>
                  <a:gd name="connsiteY10" fmla="*/ 173800 h 177800"/>
                  <a:gd name="connsiteX11" fmla="*/ 39046 w 82550"/>
                  <a:gd name="connsiteY11" fmla="*/ 113475 h 177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2550" h="177800">
                    <a:moveTo>
                      <a:pt x="39046" y="113475"/>
                    </a:moveTo>
                    <a:cubicBezTo>
                      <a:pt x="32696" y="105220"/>
                      <a:pt x="26346" y="96965"/>
                      <a:pt x="19361" y="88710"/>
                    </a:cubicBezTo>
                    <a:cubicBezTo>
                      <a:pt x="15552" y="84265"/>
                      <a:pt x="7932" y="81725"/>
                      <a:pt x="6661" y="76010"/>
                    </a:cubicBezTo>
                    <a:cubicBezTo>
                      <a:pt x="-4133" y="34100"/>
                      <a:pt x="33332" y="22670"/>
                      <a:pt x="62542" y="4890"/>
                    </a:cubicBezTo>
                    <a:cubicBezTo>
                      <a:pt x="63177" y="4255"/>
                      <a:pt x="61271" y="6160"/>
                      <a:pt x="61271" y="6795"/>
                    </a:cubicBezTo>
                    <a:cubicBezTo>
                      <a:pt x="58096" y="25210"/>
                      <a:pt x="56192" y="43625"/>
                      <a:pt x="53652" y="62040"/>
                    </a:cubicBezTo>
                    <a:cubicBezTo>
                      <a:pt x="53017" y="64580"/>
                      <a:pt x="51111" y="67120"/>
                      <a:pt x="52382" y="69660"/>
                    </a:cubicBezTo>
                    <a:cubicBezTo>
                      <a:pt x="57461" y="79820"/>
                      <a:pt x="75877" y="95695"/>
                      <a:pt x="72067" y="101410"/>
                    </a:cubicBezTo>
                    <a:cubicBezTo>
                      <a:pt x="68892" y="106490"/>
                      <a:pt x="54921" y="105220"/>
                      <a:pt x="56827" y="110300"/>
                    </a:cubicBezTo>
                    <a:cubicBezTo>
                      <a:pt x="60636" y="119825"/>
                      <a:pt x="81592" y="118555"/>
                      <a:pt x="82227" y="128715"/>
                    </a:cubicBezTo>
                    <a:cubicBezTo>
                      <a:pt x="83496" y="145225"/>
                      <a:pt x="77782" y="179515"/>
                      <a:pt x="62542" y="173800"/>
                    </a:cubicBezTo>
                    <a:cubicBezTo>
                      <a:pt x="41586" y="166815"/>
                      <a:pt x="39046" y="113475"/>
                      <a:pt x="39046" y="1134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35DFAA5F-9FEE-41D4-9D38-858A61EE821D}"/>
                  </a:ext>
                </a:extLst>
              </p:cNvPr>
              <p:cNvSpPr/>
              <p:nvPr/>
            </p:nvSpPr>
            <p:spPr>
              <a:xfrm>
                <a:off x="8259128" y="1046163"/>
                <a:ext cx="25400" cy="19050"/>
              </a:xfrm>
              <a:custGeom>
                <a:avLst/>
                <a:gdLst>
                  <a:gd name="connsiteX0" fmla="*/ 4763 w 25400"/>
                  <a:gd name="connsiteY0" fmla="*/ 19368 h 19050"/>
                  <a:gd name="connsiteX1" fmla="*/ 23178 w 25400"/>
                  <a:gd name="connsiteY1" fmla="*/ 4763 h 19050"/>
                  <a:gd name="connsiteX2" fmla="*/ 4763 w 25400"/>
                  <a:gd name="connsiteY2" fmla="*/ 19368 h 19050"/>
                  <a:gd name="connsiteX3" fmla="*/ 4763 w 25400"/>
                  <a:gd name="connsiteY3" fmla="*/ 1936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400" h="19050">
                    <a:moveTo>
                      <a:pt x="4763" y="19368"/>
                    </a:moveTo>
                    <a:cubicBezTo>
                      <a:pt x="10478" y="14288"/>
                      <a:pt x="23178" y="4763"/>
                      <a:pt x="23178" y="4763"/>
                    </a:cubicBezTo>
                    <a:cubicBezTo>
                      <a:pt x="23178" y="4763"/>
                      <a:pt x="10478" y="14923"/>
                      <a:pt x="4763" y="19368"/>
                    </a:cubicBezTo>
                    <a:lnTo>
                      <a:pt x="4763" y="1936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1976CEB1-D566-4B81-B602-777D03DDAE77}"/>
                  </a:ext>
                </a:extLst>
              </p:cNvPr>
              <p:cNvSpPr/>
              <p:nvPr/>
            </p:nvSpPr>
            <p:spPr>
              <a:xfrm>
                <a:off x="8139281" y="1113721"/>
                <a:ext cx="88900" cy="38100"/>
              </a:xfrm>
              <a:custGeom>
                <a:avLst/>
                <a:gdLst>
                  <a:gd name="connsiteX0" fmla="*/ 85874 w 88900"/>
                  <a:gd name="connsiteY0" fmla="*/ 6419 h 38100"/>
                  <a:gd name="connsiteX1" fmla="*/ 7769 w 88900"/>
                  <a:gd name="connsiteY1" fmla="*/ 38169 h 38100"/>
                  <a:gd name="connsiteX2" fmla="*/ 30629 w 88900"/>
                  <a:gd name="connsiteY2" fmla="*/ 13404 h 38100"/>
                  <a:gd name="connsiteX3" fmla="*/ 85874 w 88900"/>
                  <a:gd name="connsiteY3" fmla="*/ 6419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00" h="38100">
                    <a:moveTo>
                      <a:pt x="85874" y="6419"/>
                    </a:moveTo>
                    <a:cubicBezTo>
                      <a:pt x="59838" y="17214"/>
                      <a:pt x="35709" y="34359"/>
                      <a:pt x="7769" y="38169"/>
                    </a:cubicBezTo>
                    <a:cubicBezTo>
                      <a:pt x="-3662" y="39439"/>
                      <a:pt x="20469" y="18484"/>
                      <a:pt x="30629" y="13404"/>
                    </a:cubicBezTo>
                    <a:cubicBezTo>
                      <a:pt x="52219" y="1974"/>
                      <a:pt x="66188" y="4514"/>
                      <a:pt x="85874" y="6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76722844-4DCF-4654-8B00-C41B8C08B01F}"/>
                  </a:ext>
                </a:extLst>
              </p:cNvPr>
              <p:cNvSpPr/>
              <p:nvPr/>
            </p:nvSpPr>
            <p:spPr>
              <a:xfrm>
                <a:off x="9873385" y="1061293"/>
                <a:ext cx="57150" cy="31750"/>
              </a:xfrm>
              <a:custGeom>
                <a:avLst/>
                <a:gdLst>
                  <a:gd name="connsiteX0" fmla="*/ 58650 w 57150"/>
                  <a:gd name="connsiteY0" fmla="*/ 32812 h 31750"/>
                  <a:gd name="connsiteX1" fmla="*/ 5945 w 57150"/>
                  <a:gd name="connsiteY1" fmla="*/ 15667 h 31750"/>
                  <a:gd name="connsiteX2" fmla="*/ 10390 w 57150"/>
                  <a:gd name="connsiteY2" fmla="*/ 4872 h 31750"/>
                  <a:gd name="connsiteX3" fmla="*/ 58650 w 57150"/>
                  <a:gd name="connsiteY3" fmla="*/ 3281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31750">
                    <a:moveTo>
                      <a:pt x="58650" y="32812"/>
                    </a:moveTo>
                    <a:cubicBezTo>
                      <a:pt x="40870" y="27097"/>
                      <a:pt x="21820" y="24557"/>
                      <a:pt x="5945" y="15667"/>
                    </a:cubicBezTo>
                    <a:cubicBezTo>
                      <a:pt x="2770" y="13762"/>
                      <a:pt x="6580" y="3602"/>
                      <a:pt x="10390" y="4872"/>
                    </a:cubicBezTo>
                    <a:cubicBezTo>
                      <a:pt x="28170" y="11222"/>
                      <a:pt x="58650" y="32812"/>
                      <a:pt x="58650" y="328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25B2E6F5-6DE0-4338-9BF1-4492F7A726A0}"/>
                  </a:ext>
                </a:extLst>
              </p:cNvPr>
              <p:cNvSpPr/>
              <p:nvPr/>
            </p:nvSpPr>
            <p:spPr>
              <a:xfrm>
                <a:off x="8342917" y="954103"/>
                <a:ext cx="120650" cy="50800"/>
              </a:xfrm>
              <a:custGeom>
                <a:avLst/>
                <a:gdLst>
                  <a:gd name="connsiteX0" fmla="*/ 79723 w 120650"/>
                  <a:gd name="connsiteY0" fmla="*/ 28877 h 50800"/>
                  <a:gd name="connsiteX1" fmla="*/ 13683 w 120650"/>
                  <a:gd name="connsiteY1" fmla="*/ 51102 h 50800"/>
                  <a:gd name="connsiteX2" fmla="*/ 11142 w 120650"/>
                  <a:gd name="connsiteY2" fmla="*/ 16812 h 50800"/>
                  <a:gd name="connsiteX3" fmla="*/ 117188 w 120650"/>
                  <a:gd name="connsiteY3" fmla="*/ 20622 h 50800"/>
                  <a:gd name="connsiteX4" fmla="*/ 79723 w 120650"/>
                  <a:gd name="connsiteY4" fmla="*/ 28877 h 5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650" h="50800">
                    <a:moveTo>
                      <a:pt x="79723" y="28877"/>
                    </a:moveTo>
                    <a:cubicBezTo>
                      <a:pt x="58133" y="36497"/>
                      <a:pt x="36542" y="55547"/>
                      <a:pt x="13683" y="51102"/>
                    </a:cubicBezTo>
                    <a:cubicBezTo>
                      <a:pt x="2252" y="49197"/>
                      <a:pt x="2252" y="24432"/>
                      <a:pt x="11142" y="16812"/>
                    </a:cubicBezTo>
                    <a:cubicBezTo>
                      <a:pt x="23842" y="6017"/>
                      <a:pt x="104488" y="-5413"/>
                      <a:pt x="117188" y="20622"/>
                    </a:cubicBezTo>
                    <a:cubicBezTo>
                      <a:pt x="123538" y="32687"/>
                      <a:pt x="79723" y="28877"/>
                      <a:pt x="79723" y="2887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1A0DD140-BDF7-457A-BE1F-1491A77BDC72}"/>
                  </a:ext>
                </a:extLst>
              </p:cNvPr>
              <p:cNvSpPr/>
              <p:nvPr/>
            </p:nvSpPr>
            <p:spPr>
              <a:xfrm>
                <a:off x="8167677" y="1076180"/>
                <a:ext cx="82550" cy="31750"/>
              </a:xfrm>
              <a:custGeom>
                <a:avLst/>
                <a:gdLst>
                  <a:gd name="connsiteX0" fmla="*/ 83513 w 82550"/>
                  <a:gd name="connsiteY0" fmla="*/ 14115 h 31750"/>
                  <a:gd name="connsiteX1" fmla="*/ 28903 w 82550"/>
                  <a:gd name="connsiteY1" fmla="*/ 29990 h 31750"/>
                  <a:gd name="connsiteX2" fmla="*/ 5408 w 82550"/>
                  <a:gd name="connsiteY2" fmla="*/ 22370 h 31750"/>
                  <a:gd name="connsiteX3" fmla="*/ 83513 w 82550"/>
                  <a:gd name="connsiteY3" fmla="*/ 14115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550" h="31750">
                    <a:moveTo>
                      <a:pt x="83513" y="14115"/>
                    </a:moveTo>
                    <a:cubicBezTo>
                      <a:pt x="65098" y="19830"/>
                      <a:pt x="47953" y="28085"/>
                      <a:pt x="28903" y="29990"/>
                    </a:cubicBezTo>
                    <a:cubicBezTo>
                      <a:pt x="20648" y="30625"/>
                      <a:pt x="963" y="29355"/>
                      <a:pt x="5408" y="22370"/>
                    </a:cubicBezTo>
                    <a:cubicBezTo>
                      <a:pt x="25728" y="-7475"/>
                      <a:pt x="60017" y="8400"/>
                      <a:pt x="83513" y="141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5703820E-54DC-42BB-97F2-D596A7CC371D}"/>
                  </a:ext>
                </a:extLst>
              </p:cNvPr>
              <p:cNvSpPr/>
              <p:nvPr/>
            </p:nvSpPr>
            <p:spPr>
              <a:xfrm>
                <a:off x="9739334" y="1541414"/>
                <a:ext cx="171450" cy="101600"/>
              </a:xfrm>
              <a:custGeom>
                <a:avLst/>
                <a:gdLst>
                  <a:gd name="connsiteX0" fmla="*/ 36491 w 171450"/>
                  <a:gd name="connsiteY0" fmla="*/ 84821 h 101600"/>
                  <a:gd name="connsiteX1" fmla="*/ 44746 w 171450"/>
                  <a:gd name="connsiteY1" fmla="*/ 4811 h 101600"/>
                  <a:gd name="connsiteX2" fmla="*/ 40301 w 171450"/>
                  <a:gd name="connsiteY2" fmla="*/ 12431 h 101600"/>
                  <a:gd name="connsiteX3" fmla="*/ 81576 w 171450"/>
                  <a:gd name="connsiteY3" fmla="*/ 56881 h 101600"/>
                  <a:gd name="connsiteX4" fmla="*/ 124756 w 171450"/>
                  <a:gd name="connsiteY4" fmla="*/ 76566 h 101600"/>
                  <a:gd name="connsiteX5" fmla="*/ 162856 w 171450"/>
                  <a:gd name="connsiteY5" fmla="*/ 84186 h 101600"/>
                  <a:gd name="connsiteX6" fmla="*/ 133010 w 171450"/>
                  <a:gd name="connsiteY6" fmla="*/ 98791 h 101600"/>
                  <a:gd name="connsiteX7" fmla="*/ 36491 w 171450"/>
                  <a:gd name="connsiteY7" fmla="*/ 84821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1450" h="101600">
                    <a:moveTo>
                      <a:pt x="36491" y="84821"/>
                    </a:moveTo>
                    <a:cubicBezTo>
                      <a:pt x="10456" y="25766"/>
                      <a:pt x="-23199" y="10526"/>
                      <a:pt x="44746" y="4811"/>
                    </a:cubicBezTo>
                    <a:cubicBezTo>
                      <a:pt x="47921" y="4176"/>
                      <a:pt x="39031" y="9891"/>
                      <a:pt x="40301" y="12431"/>
                    </a:cubicBezTo>
                    <a:cubicBezTo>
                      <a:pt x="46651" y="29576"/>
                      <a:pt x="65701" y="47991"/>
                      <a:pt x="81576" y="56881"/>
                    </a:cubicBezTo>
                    <a:cubicBezTo>
                      <a:pt x="94910" y="65136"/>
                      <a:pt x="109516" y="71486"/>
                      <a:pt x="124756" y="76566"/>
                    </a:cubicBezTo>
                    <a:cubicBezTo>
                      <a:pt x="136821" y="81011"/>
                      <a:pt x="152060" y="77201"/>
                      <a:pt x="162856" y="84186"/>
                    </a:cubicBezTo>
                    <a:cubicBezTo>
                      <a:pt x="186985" y="101331"/>
                      <a:pt x="139996" y="99426"/>
                      <a:pt x="133010" y="98791"/>
                    </a:cubicBezTo>
                    <a:cubicBezTo>
                      <a:pt x="100626" y="94981"/>
                      <a:pt x="36491" y="84821"/>
                      <a:pt x="36491" y="848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73360D04-A9AD-4BCF-9621-549844DC678D}"/>
                  </a:ext>
                </a:extLst>
              </p:cNvPr>
              <p:cNvSpPr/>
              <p:nvPr/>
            </p:nvSpPr>
            <p:spPr>
              <a:xfrm>
                <a:off x="7627489" y="1190146"/>
                <a:ext cx="1225550" cy="787400"/>
              </a:xfrm>
              <a:custGeom>
                <a:avLst/>
                <a:gdLst>
                  <a:gd name="connsiteX0" fmla="*/ 411611 w 1225550"/>
                  <a:gd name="connsiteY0" fmla="*/ 612619 h 787400"/>
                  <a:gd name="connsiteX1" fmla="*/ 399546 w 1225550"/>
                  <a:gd name="connsiteY1" fmla="*/ 592299 h 787400"/>
                  <a:gd name="connsiteX2" fmla="*/ 395101 w 1225550"/>
                  <a:gd name="connsiteY2" fmla="*/ 582139 h 787400"/>
                  <a:gd name="connsiteX3" fmla="*/ 353826 w 1225550"/>
                  <a:gd name="connsiteY3" fmla="*/ 611349 h 787400"/>
                  <a:gd name="connsiteX4" fmla="*/ 343031 w 1225550"/>
                  <a:gd name="connsiteY4" fmla="*/ 596109 h 787400"/>
                  <a:gd name="connsiteX5" fmla="*/ 334142 w 1225550"/>
                  <a:gd name="connsiteY5" fmla="*/ 604999 h 787400"/>
                  <a:gd name="connsiteX6" fmla="*/ 290961 w 1225550"/>
                  <a:gd name="connsiteY6" fmla="*/ 604364 h 787400"/>
                  <a:gd name="connsiteX7" fmla="*/ 267467 w 1225550"/>
                  <a:gd name="connsiteY7" fmla="*/ 642464 h 787400"/>
                  <a:gd name="connsiteX8" fmla="*/ 247146 w 1225550"/>
                  <a:gd name="connsiteY8" fmla="*/ 633574 h 787400"/>
                  <a:gd name="connsiteX9" fmla="*/ 236986 w 1225550"/>
                  <a:gd name="connsiteY9" fmla="*/ 667229 h 787400"/>
                  <a:gd name="connsiteX10" fmla="*/ 230636 w 1225550"/>
                  <a:gd name="connsiteY10" fmla="*/ 650719 h 787400"/>
                  <a:gd name="connsiteX11" fmla="*/ 155706 w 1225550"/>
                  <a:gd name="connsiteY11" fmla="*/ 703424 h 787400"/>
                  <a:gd name="connsiteX12" fmla="*/ 122686 w 1225550"/>
                  <a:gd name="connsiteY12" fmla="*/ 726919 h 787400"/>
                  <a:gd name="connsiteX13" fmla="*/ 118242 w 1225550"/>
                  <a:gd name="connsiteY13" fmla="*/ 721204 h 787400"/>
                  <a:gd name="connsiteX14" fmla="*/ 100461 w 1225550"/>
                  <a:gd name="connsiteY14" fmla="*/ 744064 h 787400"/>
                  <a:gd name="connsiteX15" fmla="*/ 93476 w 1225550"/>
                  <a:gd name="connsiteY15" fmla="*/ 734539 h 787400"/>
                  <a:gd name="connsiteX16" fmla="*/ 42042 w 1225550"/>
                  <a:gd name="connsiteY16" fmla="*/ 787879 h 787400"/>
                  <a:gd name="connsiteX17" fmla="*/ 13467 w 1225550"/>
                  <a:gd name="connsiteY17" fmla="*/ 760574 h 787400"/>
                  <a:gd name="connsiteX18" fmla="*/ 60456 w 1225550"/>
                  <a:gd name="connsiteY18" fmla="*/ 716759 h 787400"/>
                  <a:gd name="connsiteX19" fmla="*/ 36961 w 1225550"/>
                  <a:gd name="connsiteY19" fmla="*/ 718029 h 787400"/>
                  <a:gd name="connsiteX20" fmla="*/ 5211 w 1225550"/>
                  <a:gd name="connsiteY20" fmla="*/ 695169 h 787400"/>
                  <a:gd name="connsiteX21" fmla="*/ 19817 w 1225550"/>
                  <a:gd name="connsiteY21" fmla="*/ 694534 h 787400"/>
                  <a:gd name="connsiteX22" fmla="*/ 28706 w 1225550"/>
                  <a:gd name="connsiteY22" fmla="*/ 672309 h 787400"/>
                  <a:gd name="connsiteX23" fmla="*/ 21721 w 1225550"/>
                  <a:gd name="connsiteY23" fmla="*/ 662149 h 787400"/>
                  <a:gd name="connsiteX24" fmla="*/ 37596 w 1225550"/>
                  <a:gd name="connsiteY24" fmla="*/ 658974 h 787400"/>
                  <a:gd name="connsiteX25" fmla="*/ 31246 w 1225550"/>
                  <a:gd name="connsiteY25" fmla="*/ 653894 h 787400"/>
                  <a:gd name="connsiteX26" fmla="*/ 58551 w 1225550"/>
                  <a:gd name="connsiteY26" fmla="*/ 632304 h 787400"/>
                  <a:gd name="connsiteX27" fmla="*/ 58551 w 1225550"/>
                  <a:gd name="connsiteY27" fmla="*/ 626589 h 787400"/>
                  <a:gd name="connsiteX28" fmla="*/ 57917 w 1225550"/>
                  <a:gd name="connsiteY28" fmla="*/ 606269 h 787400"/>
                  <a:gd name="connsiteX29" fmla="*/ 120146 w 1225550"/>
                  <a:gd name="connsiteY29" fmla="*/ 546579 h 787400"/>
                  <a:gd name="connsiteX30" fmla="*/ 108717 w 1225550"/>
                  <a:gd name="connsiteY30" fmla="*/ 545309 h 787400"/>
                  <a:gd name="connsiteX31" fmla="*/ 146181 w 1225550"/>
                  <a:gd name="connsiteY31" fmla="*/ 505939 h 787400"/>
                  <a:gd name="connsiteX32" fmla="*/ 171581 w 1225550"/>
                  <a:gd name="connsiteY32" fmla="*/ 480539 h 787400"/>
                  <a:gd name="connsiteX33" fmla="*/ 209046 w 1225550"/>
                  <a:gd name="connsiteY33" fmla="*/ 487524 h 787400"/>
                  <a:gd name="connsiteX34" fmla="*/ 196346 w 1225550"/>
                  <a:gd name="connsiteY34" fmla="*/ 448789 h 787400"/>
                  <a:gd name="connsiteX35" fmla="*/ 214126 w 1225550"/>
                  <a:gd name="connsiteY35" fmla="*/ 447519 h 787400"/>
                  <a:gd name="connsiteX36" fmla="*/ 257306 w 1225550"/>
                  <a:gd name="connsiteY36" fmla="*/ 442439 h 787400"/>
                  <a:gd name="connsiteX37" fmla="*/ 275086 w 1225550"/>
                  <a:gd name="connsiteY37" fmla="*/ 450059 h 787400"/>
                  <a:gd name="connsiteX38" fmla="*/ 253496 w 1225550"/>
                  <a:gd name="connsiteY38" fmla="*/ 441169 h 787400"/>
                  <a:gd name="connsiteX39" fmla="*/ 202061 w 1225550"/>
                  <a:gd name="connsiteY39" fmla="*/ 444979 h 787400"/>
                  <a:gd name="connsiteX40" fmla="*/ 214126 w 1225550"/>
                  <a:gd name="connsiteY40" fmla="*/ 442439 h 787400"/>
                  <a:gd name="connsiteX41" fmla="*/ 245876 w 1225550"/>
                  <a:gd name="connsiteY41" fmla="*/ 408784 h 787400"/>
                  <a:gd name="connsiteX42" fmla="*/ 280801 w 1225550"/>
                  <a:gd name="connsiteY42" fmla="*/ 440534 h 787400"/>
                  <a:gd name="connsiteX43" fmla="*/ 254767 w 1225550"/>
                  <a:gd name="connsiteY43" fmla="*/ 404974 h 787400"/>
                  <a:gd name="connsiteX44" fmla="*/ 292231 w 1225550"/>
                  <a:gd name="connsiteY44" fmla="*/ 401164 h 787400"/>
                  <a:gd name="connsiteX45" fmla="*/ 301121 w 1225550"/>
                  <a:gd name="connsiteY45" fmla="*/ 385924 h 787400"/>
                  <a:gd name="connsiteX46" fmla="*/ 320806 w 1225550"/>
                  <a:gd name="connsiteY46" fmla="*/ 417674 h 787400"/>
                  <a:gd name="connsiteX47" fmla="*/ 313821 w 1225550"/>
                  <a:gd name="connsiteY47" fmla="*/ 375129 h 787400"/>
                  <a:gd name="connsiteX48" fmla="*/ 348111 w 1225550"/>
                  <a:gd name="connsiteY48" fmla="*/ 389099 h 787400"/>
                  <a:gd name="connsiteX49" fmla="*/ 423042 w 1225550"/>
                  <a:gd name="connsiteY49" fmla="*/ 350364 h 787400"/>
                  <a:gd name="connsiteX50" fmla="*/ 408436 w 1225550"/>
                  <a:gd name="connsiteY50" fmla="*/ 331949 h 787400"/>
                  <a:gd name="connsiteX51" fmla="*/ 445901 w 1225550"/>
                  <a:gd name="connsiteY51" fmla="*/ 332584 h 787400"/>
                  <a:gd name="connsiteX52" fmla="*/ 437646 w 1225550"/>
                  <a:gd name="connsiteY52" fmla="*/ 330679 h 787400"/>
                  <a:gd name="connsiteX53" fmla="*/ 459871 w 1225550"/>
                  <a:gd name="connsiteY53" fmla="*/ 305914 h 787400"/>
                  <a:gd name="connsiteX54" fmla="*/ 517021 w 1225550"/>
                  <a:gd name="connsiteY54" fmla="*/ 255749 h 787400"/>
                  <a:gd name="connsiteX55" fmla="*/ 468126 w 1225550"/>
                  <a:gd name="connsiteY55" fmla="*/ 256384 h 787400"/>
                  <a:gd name="connsiteX56" fmla="*/ 543056 w 1225550"/>
                  <a:gd name="connsiteY56" fmla="*/ 229714 h 787400"/>
                  <a:gd name="connsiteX57" fmla="*/ 541151 w 1225550"/>
                  <a:gd name="connsiteY57" fmla="*/ 221459 h 787400"/>
                  <a:gd name="connsiteX58" fmla="*/ 569726 w 1225550"/>
                  <a:gd name="connsiteY58" fmla="*/ 203679 h 787400"/>
                  <a:gd name="connsiteX59" fmla="*/ 602746 w 1225550"/>
                  <a:gd name="connsiteY59" fmla="*/ 187804 h 787400"/>
                  <a:gd name="connsiteX60" fmla="*/ 633861 w 1225550"/>
                  <a:gd name="connsiteY60" fmla="*/ 156689 h 787400"/>
                  <a:gd name="connsiteX61" fmla="*/ 677676 w 1225550"/>
                  <a:gd name="connsiteY61" fmla="*/ 123669 h 787400"/>
                  <a:gd name="connsiteX62" fmla="*/ 659261 w 1225550"/>
                  <a:gd name="connsiteY62" fmla="*/ 72234 h 787400"/>
                  <a:gd name="connsiteX63" fmla="*/ 675771 w 1225550"/>
                  <a:gd name="connsiteY63" fmla="*/ 60169 h 787400"/>
                  <a:gd name="connsiteX64" fmla="*/ 708792 w 1225550"/>
                  <a:gd name="connsiteY64" fmla="*/ 39849 h 787400"/>
                  <a:gd name="connsiteX65" fmla="*/ 741811 w 1225550"/>
                  <a:gd name="connsiteY65" fmla="*/ 61439 h 787400"/>
                  <a:gd name="connsiteX66" fmla="*/ 752606 w 1225550"/>
                  <a:gd name="connsiteY66" fmla="*/ 54454 h 787400"/>
                  <a:gd name="connsiteX67" fmla="*/ 733556 w 1225550"/>
                  <a:gd name="connsiteY67" fmla="*/ 45564 h 787400"/>
                  <a:gd name="connsiteX68" fmla="*/ 788801 w 1225550"/>
                  <a:gd name="connsiteY68" fmla="*/ 11909 h 787400"/>
                  <a:gd name="connsiteX69" fmla="*/ 857381 w 1225550"/>
                  <a:gd name="connsiteY69" fmla="*/ 33499 h 787400"/>
                  <a:gd name="connsiteX70" fmla="*/ 949456 w 1225550"/>
                  <a:gd name="connsiteY70" fmla="*/ 13179 h 787400"/>
                  <a:gd name="connsiteX71" fmla="*/ 978031 w 1225550"/>
                  <a:gd name="connsiteY71" fmla="*/ 36674 h 787400"/>
                  <a:gd name="connsiteX72" fmla="*/ 1013592 w 1225550"/>
                  <a:gd name="connsiteY72" fmla="*/ 16354 h 787400"/>
                  <a:gd name="connsiteX73" fmla="*/ 1044706 w 1225550"/>
                  <a:gd name="connsiteY73" fmla="*/ 67154 h 787400"/>
                  <a:gd name="connsiteX74" fmla="*/ 1089792 w 1225550"/>
                  <a:gd name="connsiteY74" fmla="*/ 41754 h 787400"/>
                  <a:gd name="connsiteX75" fmla="*/ 1119636 w 1225550"/>
                  <a:gd name="connsiteY75" fmla="*/ 60804 h 787400"/>
                  <a:gd name="connsiteX76" fmla="*/ 1206631 w 1225550"/>
                  <a:gd name="connsiteY76" fmla="*/ 74774 h 787400"/>
                  <a:gd name="connsiteX77" fmla="*/ 1195201 w 1225550"/>
                  <a:gd name="connsiteY77" fmla="*/ 76044 h 787400"/>
                  <a:gd name="connsiteX78" fmla="*/ 1161546 w 1225550"/>
                  <a:gd name="connsiteY78" fmla="*/ 62709 h 787400"/>
                  <a:gd name="connsiteX79" fmla="*/ 1134876 w 1225550"/>
                  <a:gd name="connsiteY79" fmla="*/ 67789 h 787400"/>
                  <a:gd name="connsiteX80" fmla="*/ 1205996 w 1225550"/>
                  <a:gd name="connsiteY80" fmla="*/ 78584 h 787400"/>
                  <a:gd name="connsiteX81" fmla="*/ 1209806 w 1225550"/>
                  <a:gd name="connsiteY81" fmla="*/ 101444 h 787400"/>
                  <a:gd name="connsiteX82" fmla="*/ 1176151 w 1225550"/>
                  <a:gd name="connsiteY82" fmla="*/ 106524 h 787400"/>
                  <a:gd name="connsiteX83" fmla="*/ 1132971 w 1225550"/>
                  <a:gd name="connsiteY83" fmla="*/ 90649 h 787400"/>
                  <a:gd name="connsiteX84" fmla="*/ 1105667 w 1225550"/>
                  <a:gd name="connsiteY84" fmla="*/ 102079 h 787400"/>
                  <a:gd name="connsiteX85" fmla="*/ 1141226 w 1225550"/>
                  <a:gd name="connsiteY85" fmla="*/ 102714 h 787400"/>
                  <a:gd name="connsiteX86" fmla="*/ 1118367 w 1225550"/>
                  <a:gd name="connsiteY86" fmla="*/ 156054 h 787400"/>
                  <a:gd name="connsiteX87" fmla="*/ 1131067 w 1225550"/>
                  <a:gd name="connsiteY87" fmla="*/ 152244 h 787400"/>
                  <a:gd name="connsiteX88" fmla="*/ 1146942 w 1225550"/>
                  <a:gd name="connsiteY88" fmla="*/ 146529 h 787400"/>
                  <a:gd name="connsiteX89" fmla="*/ 1221236 w 1225550"/>
                  <a:gd name="connsiteY89" fmla="*/ 159229 h 787400"/>
                  <a:gd name="connsiteX90" fmla="*/ 1193931 w 1225550"/>
                  <a:gd name="connsiteY90" fmla="*/ 168754 h 787400"/>
                  <a:gd name="connsiteX91" fmla="*/ 1127256 w 1225550"/>
                  <a:gd name="connsiteY91" fmla="*/ 190344 h 787400"/>
                  <a:gd name="connsiteX92" fmla="*/ 1146942 w 1225550"/>
                  <a:gd name="connsiteY92" fmla="*/ 182089 h 787400"/>
                  <a:gd name="connsiteX93" fmla="*/ 1042801 w 1225550"/>
                  <a:gd name="connsiteY93" fmla="*/ 255114 h 787400"/>
                  <a:gd name="connsiteX94" fmla="*/ 1063121 w 1225550"/>
                  <a:gd name="connsiteY94" fmla="*/ 293214 h 787400"/>
                  <a:gd name="connsiteX95" fmla="*/ 1052961 w 1225550"/>
                  <a:gd name="connsiteY95" fmla="*/ 300199 h 787400"/>
                  <a:gd name="connsiteX96" fmla="*/ 1009781 w 1225550"/>
                  <a:gd name="connsiteY96" fmla="*/ 283054 h 787400"/>
                  <a:gd name="connsiteX97" fmla="*/ 1007242 w 1225550"/>
                  <a:gd name="connsiteY97" fmla="*/ 298294 h 787400"/>
                  <a:gd name="connsiteX98" fmla="*/ 1000892 w 1225550"/>
                  <a:gd name="connsiteY98" fmla="*/ 346554 h 787400"/>
                  <a:gd name="connsiteX99" fmla="*/ 953901 w 1225550"/>
                  <a:gd name="connsiteY99" fmla="*/ 343379 h 787400"/>
                  <a:gd name="connsiteX100" fmla="*/ 977396 w 1225550"/>
                  <a:gd name="connsiteY100" fmla="*/ 382749 h 787400"/>
                  <a:gd name="connsiteX101" fmla="*/ 938661 w 1225550"/>
                  <a:gd name="connsiteY101" fmla="*/ 366874 h 787400"/>
                  <a:gd name="connsiteX102" fmla="*/ 923421 w 1225550"/>
                  <a:gd name="connsiteY102" fmla="*/ 417039 h 787400"/>
                  <a:gd name="connsiteX103" fmla="*/ 886592 w 1225550"/>
                  <a:gd name="connsiteY103" fmla="*/ 387194 h 787400"/>
                  <a:gd name="connsiteX104" fmla="*/ 870717 w 1225550"/>
                  <a:gd name="connsiteY104" fmla="*/ 396084 h 787400"/>
                  <a:gd name="connsiteX105" fmla="*/ 828171 w 1225550"/>
                  <a:gd name="connsiteY105" fmla="*/ 384654 h 787400"/>
                  <a:gd name="connsiteX106" fmla="*/ 814836 w 1225550"/>
                  <a:gd name="connsiteY106" fmla="*/ 434184 h 787400"/>
                  <a:gd name="connsiteX107" fmla="*/ 804676 w 1225550"/>
                  <a:gd name="connsiteY107" fmla="*/ 444979 h 787400"/>
                  <a:gd name="connsiteX108" fmla="*/ 829442 w 1225550"/>
                  <a:gd name="connsiteY108" fmla="*/ 437994 h 787400"/>
                  <a:gd name="connsiteX109" fmla="*/ 809756 w 1225550"/>
                  <a:gd name="connsiteY109" fmla="*/ 532609 h 787400"/>
                  <a:gd name="connsiteX110" fmla="*/ 795151 w 1225550"/>
                  <a:gd name="connsiteY110" fmla="*/ 529434 h 787400"/>
                  <a:gd name="connsiteX111" fmla="*/ 807851 w 1225550"/>
                  <a:gd name="connsiteY111" fmla="*/ 511654 h 787400"/>
                  <a:gd name="connsiteX112" fmla="*/ 791976 w 1225550"/>
                  <a:gd name="connsiteY112" fmla="*/ 527529 h 787400"/>
                  <a:gd name="connsiteX113" fmla="*/ 765942 w 1225550"/>
                  <a:gd name="connsiteY113" fmla="*/ 459584 h 787400"/>
                  <a:gd name="connsiteX114" fmla="*/ 762767 w 1225550"/>
                  <a:gd name="connsiteY114" fmla="*/ 427199 h 787400"/>
                  <a:gd name="connsiteX115" fmla="*/ 732921 w 1225550"/>
                  <a:gd name="connsiteY115" fmla="*/ 479904 h 787400"/>
                  <a:gd name="connsiteX116" fmla="*/ 731017 w 1225550"/>
                  <a:gd name="connsiteY116" fmla="*/ 504669 h 787400"/>
                  <a:gd name="connsiteX117" fmla="*/ 685296 w 1225550"/>
                  <a:gd name="connsiteY117" fmla="*/ 506574 h 787400"/>
                  <a:gd name="connsiteX118" fmla="*/ 782451 w 1225550"/>
                  <a:gd name="connsiteY118" fmla="*/ 547849 h 787400"/>
                  <a:gd name="connsiteX119" fmla="*/ 743717 w 1225550"/>
                  <a:gd name="connsiteY119" fmla="*/ 559279 h 787400"/>
                  <a:gd name="connsiteX120" fmla="*/ 734192 w 1225550"/>
                  <a:gd name="connsiteY120" fmla="*/ 552929 h 787400"/>
                  <a:gd name="connsiteX121" fmla="*/ 686567 w 1225550"/>
                  <a:gd name="connsiteY121" fmla="*/ 575789 h 787400"/>
                  <a:gd name="connsiteX122" fmla="*/ 567821 w 1225550"/>
                  <a:gd name="connsiteY122" fmla="*/ 538959 h 787400"/>
                  <a:gd name="connsiteX123" fmla="*/ 541786 w 1225550"/>
                  <a:gd name="connsiteY123" fmla="*/ 572614 h 787400"/>
                  <a:gd name="connsiteX124" fmla="*/ 518292 w 1225550"/>
                  <a:gd name="connsiteY124" fmla="*/ 571344 h 787400"/>
                  <a:gd name="connsiteX125" fmla="*/ 505592 w 1225550"/>
                  <a:gd name="connsiteY125" fmla="*/ 582139 h 787400"/>
                  <a:gd name="connsiteX126" fmla="*/ 499242 w 1225550"/>
                  <a:gd name="connsiteY126" fmla="*/ 580869 h 787400"/>
                  <a:gd name="connsiteX127" fmla="*/ 455426 w 1225550"/>
                  <a:gd name="connsiteY127" fmla="*/ 607539 h 787400"/>
                  <a:gd name="connsiteX128" fmla="*/ 411611 w 1225550"/>
                  <a:gd name="connsiteY128" fmla="*/ 612619 h 78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</a:cxnLst>
                <a:rect l="l" t="t" r="r" b="b"/>
                <a:pathLst>
                  <a:path w="1225550" h="787400">
                    <a:moveTo>
                      <a:pt x="411611" y="612619"/>
                    </a:moveTo>
                    <a:cubicBezTo>
                      <a:pt x="407801" y="605634"/>
                      <a:pt x="403356" y="599284"/>
                      <a:pt x="399546" y="592299"/>
                    </a:cubicBezTo>
                    <a:cubicBezTo>
                      <a:pt x="397642" y="589124"/>
                      <a:pt x="398276" y="580234"/>
                      <a:pt x="395101" y="582139"/>
                    </a:cubicBezTo>
                    <a:cubicBezTo>
                      <a:pt x="379226" y="588489"/>
                      <a:pt x="370336" y="606904"/>
                      <a:pt x="353826" y="611349"/>
                    </a:cubicBezTo>
                    <a:cubicBezTo>
                      <a:pt x="348111" y="613254"/>
                      <a:pt x="348746" y="598014"/>
                      <a:pt x="343031" y="596109"/>
                    </a:cubicBezTo>
                    <a:cubicBezTo>
                      <a:pt x="339221" y="594839"/>
                      <a:pt x="337951" y="604364"/>
                      <a:pt x="334142" y="604999"/>
                    </a:cubicBezTo>
                    <a:cubicBezTo>
                      <a:pt x="319536" y="606904"/>
                      <a:pt x="303661" y="597379"/>
                      <a:pt x="290961" y="604364"/>
                    </a:cubicBezTo>
                    <a:cubicBezTo>
                      <a:pt x="278261" y="611349"/>
                      <a:pt x="279531" y="634209"/>
                      <a:pt x="267467" y="642464"/>
                    </a:cubicBezTo>
                    <a:cubicBezTo>
                      <a:pt x="261117" y="646909"/>
                      <a:pt x="252861" y="629129"/>
                      <a:pt x="247146" y="633574"/>
                    </a:cubicBezTo>
                    <a:cubicBezTo>
                      <a:pt x="238256" y="641194"/>
                      <a:pt x="245242" y="658974"/>
                      <a:pt x="236986" y="667229"/>
                    </a:cubicBezTo>
                    <a:cubicBezTo>
                      <a:pt x="232542" y="671674"/>
                      <a:pt x="235717" y="648179"/>
                      <a:pt x="230636" y="650719"/>
                    </a:cubicBezTo>
                    <a:cubicBezTo>
                      <a:pt x="202696" y="662784"/>
                      <a:pt x="180471" y="685644"/>
                      <a:pt x="155706" y="703424"/>
                    </a:cubicBezTo>
                    <a:cubicBezTo>
                      <a:pt x="144911" y="711044"/>
                      <a:pt x="135386" y="721204"/>
                      <a:pt x="122686" y="726919"/>
                    </a:cubicBezTo>
                    <a:cubicBezTo>
                      <a:pt x="120781" y="728189"/>
                      <a:pt x="120146" y="719299"/>
                      <a:pt x="118242" y="721204"/>
                    </a:cubicBezTo>
                    <a:cubicBezTo>
                      <a:pt x="110621" y="726919"/>
                      <a:pt x="108717" y="738984"/>
                      <a:pt x="100461" y="744064"/>
                    </a:cubicBezTo>
                    <a:cubicBezTo>
                      <a:pt x="97286" y="745969"/>
                      <a:pt x="96651" y="732634"/>
                      <a:pt x="93476" y="734539"/>
                    </a:cubicBezTo>
                    <a:cubicBezTo>
                      <a:pt x="73792" y="749144"/>
                      <a:pt x="65536" y="778989"/>
                      <a:pt x="42042" y="787879"/>
                    </a:cubicBezTo>
                    <a:cubicBezTo>
                      <a:pt x="29976" y="792324"/>
                      <a:pt x="2671" y="767559"/>
                      <a:pt x="13467" y="760574"/>
                    </a:cubicBezTo>
                    <a:cubicBezTo>
                      <a:pt x="18546" y="757399"/>
                      <a:pt x="69981" y="740254"/>
                      <a:pt x="60456" y="716759"/>
                    </a:cubicBezTo>
                    <a:cubicBezTo>
                      <a:pt x="57281" y="709774"/>
                      <a:pt x="44581" y="721204"/>
                      <a:pt x="36961" y="718029"/>
                    </a:cubicBezTo>
                    <a:cubicBezTo>
                      <a:pt x="24896" y="713584"/>
                      <a:pt x="12831" y="705329"/>
                      <a:pt x="5211" y="695169"/>
                    </a:cubicBezTo>
                    <a:cubicBezTo>
                      <a:pt x="2036" y="691359"/>
                      <a:pt x="16642" y="698344"/>
                      <a:pt x="19817" y="694534"/>
                    </a:cubicBezTo>
                    <a:cubicBezTo>
                      <a:pt x="25531" y="688819"/>
                      <a:pt x="28071" y="680564"/>
                      <a:pt x="28706" y="672309"/>
                    </a:cubicBezTo>
                    <a:cubicBezTo>
                      <a:pt x="29342" y="668499"/>
                      <a:pt x="22356" y="665959"/>
                      <a:pt x="21721" y="662149"/>
                    </a:cubicBezTo>
                    <a:cubicBezTo>
                      <a:pt x="19181" y="645004"/>
                      <a:pt x="35056" y="658974"/>
                      <a:pt x="37596" y="658974"/>
                    </a:cubicBezTo>
                    <a:cubicBezTo>
                      <a:pt x="40136" y="658974"/>
                      <a:pt x="29976" y="655799"/>
                      <a:pt x="31246" y="653894"/>
                    </a:cubicBezTo>
                    <a:cubicBezTo>
                      <a:pt x="38231" y="645004"/>
                      <a:pt x="50296" y="640559"/>
                      <a:pt x="58551" y="632304"/>
                    </a:cubicBezTo>
                    <a:cubicBezTo>
                      <a:pt x="59821" y="631034"/>
                      <a:pt x="58551" y="628494"/>
                      <a:pt x="58551" y="626589"/>
                    </a:cubicBezTo>
                    <a:cubicBezTo>
                      <a:pt x="58551" y="619604"/>
                      <a:pt x="53471" y="611984"/>
                      <a:pt x="57917" y="606269"/>
                    </a:cubicBezTo>
                    <a:cubicBezTo>
                      <a:pt x="58551" y="604999"/>
                      <a:pt x="122051" y="556739"/>
                      <a:pt x="120146" y="546579"/>
                    </a:cubicBezTo>
                    <a:cubicBezTo>
                      <a:pt x="119511" y="542769"/>
                      <a:pt x="106811" y="548484"/>
                      <a:pt x="108717" y="545309"/>
                    </a:cubicBezTo>
                    <a:cubicBezTo>
                      <a:pt x="118876" y="530069"/>
                      <a:pt x="133481" y="518639"/>
                      <a:pt x="146181" y="505939"/>
                    </a:cubicBezTo>
                    <a:cubicBezTo>
                      <a:pt x="154436" y="497684"/>
                      <a:pt x="160151" y="483714"/>
                      <a:pt x="171581" y="480539"/>
                    </a:cubicBezTo>
                    <a:cubicBezTo>
                      <a:pt x="183646" y="476729"/>
                      <a:pt x="200792" y="497684"/>
                      <a:pt x="209046" y="487524"/>
                    </a:cubicBezTo>
                    <a:cubicBezTo>
                      <a:pt x="217301" y="476729"/>
                      <a:pt x="195076" y="462124"/>
                      <a:pt x="196346" y="448789"/>
                    </a:cubicBezTo>
                    <a:cubicBezTo>
                      <a:pt x="196981" y="443074"/>
                      <a:pt x="208411" y="448154"/>
                      <a:pt x="214126" y="447519"/>
                    </a:cubicBezTo>
                    <a:cubicBezTo>
                      <a:pt x="228731" y="446249"/>
                      <a:pt x="242701" y="441804"/>
                      <a:pt x="257306" y="442439"/>
                    </a:cubicBezTo>
                    <a:cubicBezTo>
                      <a:pt x="263656" y="442439"/>
                      <a:pt x="268736" y="451329"/>
                      <a:pt x="275086" y="450059"/>
                    </a:cubicBezTo>
                    <a:cubicBezTo>
                      <a:pt x="282706" y="448789"/>
                      <a:pt x="261117" y="440534"/>
                      <a:pt x="253496" y="441169"/>
                    </a:cubicBezTo>
                    <a:cubicBezTo>
                      <a:pt x="236351" y="442439"/>
                      <a:pt x="219206" y="444344"/>
                      <a:pt x="202061" y="444979"/>
                    </a:cubicBezTo>
                    <a:cubicBezTo>
                      <a:pt x="198251" y="444979"/>
                      <a:pt x="210951" y="444979"/>
                      <a:pt x="214126" y="442439"/>
                    </a:cubicBezTo>
                    <a:cubicBezTo>
                      <a:pt x="226192" y="432914"/>
                      <a:pt x="230636" y="409419"/>
                      <a:pt x="245876" y="408784"/>
                    </a:cubicBezTo>
                    <a:cubicBezTo>
                      <a:pt x="261751" y="408149"/>
                      <a:pt x="266831" y="446884"/>
                      <a:pt x="280801" y="440534"/>
                    </a:cubicBezTo>
                    <a:cubicBezTo>
                      <a:pt x="294136" y="434184"/>
                      <a:pt x="250956" y="418944"/>
                      <a:pt x="254767" y="404974"/>
                    </a:cubicBezTo>
                    <a:cubicBezTo>
                      <a:pt x="257942" y="392909"/>
                      <a:pt x="280801" y="406244"/>
                      <a:pt x="292231" y="401164"/>
                    </a:cubicBezTo>
                    <a:cubicBezTo>
                      <a:pt x="297311" y="398624"/>
                      <a:pt x="296042" y="382749"/>
                      <a:pt x="301121" y="385924"/>
                    </a:cubicBezTo>
                    <a:cubicBezTo>
                      <a:pt x="311917" y="392274"/>
                      <a:pt x="311281" y="425929"/>
                      <a:pt x="320806" y="417674"/>
                    </a:cubicBezTo>
                    <a:cubicBezTo>
                      <a:pt x="331601" y="408149"/>
                      <a:pt x="304296" y="385289"/>
                      <a:pt x="313821" y="375129"/>
                    </a:cubicBezTo>
                    <a:cubicBezTo>
                      <a:pt x="322711" y="366239"/>
                      <a:pt x="336046" y="391639"/>
                      <a:pt x="348111" y="389099"/>
                    </a:cubicBezTo>
                    <a:cubicBezTo>
                      <a:pt x="375417" y="382749"/>
                      <a:pt x="402721" y="370049"/>
                      <a:pt x="423042" y="350364"/>
                    </a:cubicBezTo>
                    <a:cubicBezTo>
                      <a:pt x="428756" y="344649"/>
                      <a:pt x="402086" y="336394"/>
                      <a:pt x="408436" y="331949"/>
                    </a:cubicBezTo>
                    <a:cubicBezTo>
                      <a:pt x="418596" y="324329"/>
                      <a:pt x="433201" y="333219"/>
                      <a:pt x="445901" y="332584"/>
                    </a:cubicBezTo>
                    <a:cubicBezTo>
                      <a:pt x="449076" y="332584"/>
                      <a:pt x="436376" y="333219"/>
                      <a:pt x="437646" y="330679"/>
                    </a:cubicBezTo>
                    <a:cubicBezTo>
                      <a:pt x="442726" y="321154"/>
                      <a:pt x="450981" y="312899"/>
                      <a:pt x="459871" y="305914"/>
                    </a:cubicBezTo>
                    <a:cubicBezTo>
                      <a:pt x="477017" y="292579"/>
                      <a:pt x="528451" y="298294"/>
                      <a:pt x="517021" y="255749"/>
                    </a:cubicBezTo>
                    <a:cubicBezTo>
                      <a:pt x="512576" y="239874"/>
                      <a:pt x="456696" y="267814"/>
                      <a:pt x="468126" y="256384"/>
                    </a:cubicBezTo>
                    <a:cubicBezTo>
                      <a:pt x="486542" y="237334"/>
                      <a:pt x="518926" y="241144"/>
                      <a:pt x="543056" y="229714"/>
                    </a:cubicBezTo>
                    <a:cubicBezTo>
                      <a:pt x="545596" y="228444"/>
                      <a:pt x="539246" y="223364"/>
                      <a:pt x="541151" y="221459"/>
                    </a:cubicBezTo>
                    <a:cubicBezTo>
                      <a:pt x="549406" y="213839"/>
                      <a:pt x="559567" y="209394"/>
                      <a:pt x="569726" y="203679"/>
                    </a:cubicBezTo>
                    <a:cubicBezTo>
                      <a:pt x="580521" y="197964"/>
                      <a:pt x="592586" y="194789"/>
                      <a:pt x="602746" y="187804"/>
                    </a:cubicBezTo>
                    <a:cubicBezTo>
                      <a:pt x="614176" y="178914"/>
                      <a:pt x="622431" y="165579"/>
                      <a:pt x="633861" y="156689"/>
                    </a:cubicBezTo>
                    <a:cubicBezTo>
                      <a:pt x="662436" y="133194"/>
                      <a:pt x="647196" y="169389"/>
                      <a:pt x="677676" y="123669"/>
                    </a:cubicBezTo>
                    <a:cubicBezTo>
                      <a:pt x="706886" y="79854"/>
                      <a:pt x="669421" y="110969"/>
                      <a:pt x="659261" y="72234"/>
                    </a:cubicBezTo>
                    <a:cubicBezTo>
                      <a:pt x="657356" y="65249"/>
                      <a:pt x="670056" y="63979"/>
                      <a:pt x="675771" y="60169"/>
                    </a:cubicBezTo>
                    <a:cubicBezTo>
                      <a:pt x="686567" y="53184"/>
                      <a:pt x="696092" y="39849"/>
                      <a:pt x="708792" y="39849"/>
                    </a:cubicBezTo>
                    <a:cubicBezTo>
                      <a:pt x="722126" y="39849"/>
                      <a:pt x="729111" y="57629"/>
                      <a:pt x="741811" y="61439"/>
                    </a:cubicBezTo>
                    <a:cubicBezTo>
                      <a:pt x="745621" y="62709"/>
                      <a:pt x="754511" y="58264"/>
                      <a:pt x="752606" y="54454"/>
                    </a:cubicBezTo>
                    <a:cubicBezTo>
                      <a:pt x="749431" y="48104"/>
                      <a:pt x="738636" y="50644"/>
                      <a:pt x="733556" y="45564"/>
                    </a:cubicBezTo>
                    <a:cubicBezTo>
                      <a:pt x="732921" y="44929"/>
                      <a:pt x="748161" y="13179"/>
                      <a:pt x="788801" y="11909"/>
                    </a:cubicBezTo>
                    <a:cubicBezTo>
                      <a:pt x="844681" y="10639"/>
                      <a:pt x="814201" y="50644"/>
                      <a:pt x="857381" y="33499"/>
                    </a:cubicBezTo>
                    <a:cubicBezTo>
                      <a:pt x="907546" y="13179"/>
                      <a:pt x="855476" y="-7141"/>
                      <a:pt x="949456" y="13179"/>
                    </a:cubicBezTo>
                    <a:cubicBezTo>
                      <a:pt x="961521" y="15719"/>
                      <a:pt x="965331" y="36039"/>
                      <a:pt x="978031" y="36674"/>
                    </a:cubicBezTo>
                    <a:cubicBezTo>
                      <a:pt x="991367" y="37309"/>
                      <a:pt x="1000892" y="10639"/>
                      <a:pt x="1013592" y="16354"/>
                    </a:cubicBezTo>
                    <a:cubicBezTo>
                      <a:pt x="1044706" y="30324"/>
                      <a:pt x="980571" y="77314"/>
                      <a:pt x="1044706" y="67154"/>
                    </a:cubicBezTo>
                    <a:cubicBezTo>
                      <a:pt x="1061851" y="64614"/>
                      <a:pt x="1072646" y="44294"/>
                      <a:pt x="1089792" y="41754"/>
                    </a:cubicBezTo>
                    <a:cubicBezTo>
                      <a:pt x="1101221" y="40484"/>
                      <a:pt x="1107571" y="62074"/>
                      <a:pt x="1119636" y="60804"/>
                    </a:cubicBezTo>
                    <a:cubicBezTo>
                      <a:pt x="1157736" y="56994"/>
                      <a:pt x="1185676" y="34769"/>
                      <a:pt x="1206631" y="74774"/>
                    </a:cubicBezTo>
                    <a:cubicBezTo>
                      <a:pt x="1208536" y="78584"/>
                      <a:pt x="1199011" y="77314"/>
                      <a:pt x="1195201" y="76044"/>
                    </a:cubicBezTo>
                    <a:cubicBezTo>
                      <a:pt x="1183136" y="72869"/>
                      <a:pt x="1173611" y="64614"/>
                      <a:pt x="1161546" y="62709"/>
                    </a:cubicBezTo>
                    <a:cubicBezTo>
                      <a:pt x="1152656" y="61439"/>
                      <a:pt x="1125986" y="64614"/>
                      <a:pt x="1134876" y="67789"/>
                    </a:cubicBezTo>
                    <a:cubicBezTo>
                      <a:pt x="1157101" y="76044"/>
                      <a:pt x="1183771" y="68424"/>
                      <a:pt x="1205996" y="78584"/>
                    </a:cubicBezTo>
                    <a:cubicBezTo>
                      <a:pt x="1212981" y="81759"/>
                      <a:pt x="1215521" y="96364"/>
                      <a:pt x="1209806" y="101444"/>
                    </a:cubicBezTo>
                    <a:cubicBezTo>
                      <a:pt x="1201551" y="109064"/>
                      <a:pt x="1187581" y="108429"/>
                      <a:pt x="1176151" y="106524"/>
                    </a:cubicBezTo>
                    <a:cubicBezTo>
                      <a:pt x="1160911" y="104619"/>
                      <a:pt x="1148211" y="91919"/>
                      <a:pt x="1132971" y="90649"/>
                    </a:cubicBezTo>
                    <a:cubicBezTo>
                      <a:pt x="1123446" y="90014"/>
                      <a:pt x="1099951" y="93824"/>
                      <a:pt x="1105667" y="102079"/>
                    </a:cubicBezTo>
                    <a:cubicBezTo>
                      <a:pt x="1112651" y="111604"/>
                      <a:pt x="1130431" y="97634"/>
                      <a:pt x="1141226" y="102714"/>
                    </a:cubicBezTo>
                    <a:cubicBezTo>
                      <a:pt x="1204726" y="134464"/>
                      <a:pt x="1141226" y="143354"/>
                      <a:pt x="1118367" y="156054"/>
                    </a:cubicBezTo>
                    <a:cubicBezTo>
                      <a:pt x="1114556" y="157959"/>
                      <a:pt x="1126621" y="153514"/>
                      <a:pt x="1131067" y="152244"/>
                    </a:cubicBezTo>
                    <a:cubicBezTo>
                      <a:pt x="1136781" y="150339"/>
                      <a:pt x="1141226" y="145894"/>
                      <a:pt x="1146942" y="146529"/>
                    </a:cubicBezTo>
                    <a:cubicBezTo>
                      <a:pt x="1171706" y="148434"/>
                      <a:pt x="1198376" y="148434"/>
                      <a:pt x="1221236" y="159229"/>
                    </a:cubicBezTo>
                    <a:cubicBezTo>
                      <a:pt x="1230126" y="163039"/>
                      <a:pt x="1202821" y="165579"/>
                      <a:pt x="1193931" y="168754"/>
                    </a:cubicBezTo>
                    <a:cubicBezTo>
                      <a:pt x="1171706" y="176374"/>
                      <a:pt x="1150117" y="183994"/>
                      <a:pt x="1127256" y="190344"/>
                    </a:cubicBezTo>
                    <a:cubicBezTo>
                      <a:pt x="1120271" y="192249"/>
                      <a:pt x="1152656" y="177644"/>
                      <a:pt x="1146942" y="182089"/>
                    </a:cubicBezTo>
                    <a:cubicBezTo>
                      <a:pt x="1143767" y="184629"/>
                      <a:pt x="1047246" y="243049"/>
                      <a:pt x="1042801" y="255114"/>
                    </a:cubicBezTo>
                    <a:cubicBezTo>
                      <a:pt x="1038356" y="268449"/>
                      <a:pt x="1059946" y="279244"/>
                      <a:pt x="1063121" y="293214"/>
                    </a:cubicBezTo>
                    <a:cubicBezTo>
                      <a:pt x="1063756" y="297024"/>
                      <a:pt x="1056771" y="300834"/>
                      <a:pt x="1052961" y="300199"/>
                    </a:cubicBezTo>
                    <a:cubicBezTo>
                      <a:pt x="1037721" y="297659"/>
                      <a:pt x="1025656" y="283689"/>
                      <a:pt x="1009781" y="283054"/>
                    </a:cubicBezTo>
                    <a:cubicBezTo>
                      <a:pt x="1004701" y="283054"/>
                      <a:pt x="1007876" y="293214"/>
                      <a:pt x="1007242" y="298294"/>
                    </a:cubicBezTo>
                    <a:cubicBezTo>
                      <a:pt x="1005336" y="314169"/>
                      <a:pt x="1013592" y="335759"/>
                      <a:pt x="1000892" y="346554"/>
                    </a:cubicBezTo>
                    <a:cubicBezTo>
                      <a:pt x="988826" y="356714"/>
                      <a:pt x="962156" y="330044"/>
                      <a:pt x="953901" y="343379"/>
                    </a:cubicBezTo>
                    <a:cubicBezTo>
                      <a:pt x="945646" y="356079"/>
                      <a:pt x="985651" y="370049"/>
                      <a:pt x="977396" y="382749"/>
                    </a:cubicBezTo>
                    <a:cubicBezTo>
                      <a:pt x="969776" y="394814"/>
                      <a:pt x="950092" y="359254"/>
                      <a:pt x="938661" y="366874"/>
                    </a:cubicBezTo>
                    <a:cubicBezTo>
                      <a:pt x="923421" y="376399"/>
                      <a:pt x="936121" y="404974"/>
                      <a:pt x="923421" y="417039"/>
                    </a:cubicBezTo>
                    <a:cubicBezTo>
                      <a:pt x="881511" y="459584"/>
                      <a:pt x="889131" y="390369"/>
                      <a:pt x="886592" y="387194"/>
                    </a:cubicBezTo>
                    <a:cubicBezTo>
                      <a:pt x="882781" y="382749"/>
                      <a:pt x="877067" y="396084"/>
                      <a:pt x="870717" y="396084"/>
                    </a:cubicBezTo>
                    <a:cubicBezTo>
                      <a:pt x="856111" y="395449"/>
                      <a:pt x="840236" y="376399"/>
                      <a:pt x="828171" y="384654"/>
                    </a:cubicBezTo>
                    <a:cubicBezTo>
                      <a:pt x="814201" y="394179"/>
                      <a:pt x="821186" y="418309"/>
                      <a:pt x="814836" y="434184"/>
                    </a:cubicBezTo>
                    <a:cubicBezTo>
                      <a:pt x="812931" y="438629"/>
                      <a:pt x="800231" y="443709"/>
                      <a:pt x="804676" y="444979"/>
                    </a:cubicBezTo>
                    <a:cubicBezTo>
                      <a:pt x="812931" y="447519"/>
                      <a:pt x="821821" y="433549"/>
                      <a:pt x="829442" y="437994"/>
                    </a:cubicBezTo>
                    <a:cubicBezTo>
                      <a:pt x="865636" y="461489"/>
                      <a:pt x="818011" y="521814"/>
                      <a:pt x="809756" y="532609"/>
                    </a:cubicBezTo>
                    <a:cubicBezTo>
                      <a:pt x="806581" y="536419"/>
                      <a:pt x="795786" y="534514"/>
                      <a:pt x="795151" y="529434"/>
                    </a:cubicBezTo>
                    <a:cubicBezTo>
                      <a:pt x="794517" y="522449"/>
                      <a:pt x="813567" y="515464"/>
                      <a:pt x="807851" y="511654"/>
                    </a:cubicBezTo>
                    <a:cubicBezTo>
                      <a:pt x="801501" y="507844"/>
                      <a:pt x="798961" y="524354"/>
                      <a:pt x="791976" y="527529"/>
                    </a:cubicBezTo>
                    <a:cubicBezTo>
                      <a:pt x="772292" y="536419"/>
                      <a:pt x="771656" y="492604"/>
                      <a:pt x="765942" y="459584"/>
                    </a:cubicBezTo>
                    <a:cubicBezTo>
                      <a:pt x="764036" y="448789"/>
                      <a:pt x="757686" y="417674"/>
                      <a:pt x="762767" y="427199"/>
                    </a:cubicBezTo>
                    <a:cubicBezTo>
                      <a:pt x="811026" y="515464"/>
                      <a:pt x="768481" y="459584"/>
                      <a:pt x="732921" y="479904"/>
                    </a:cubicBezTo>
                    <a:cubicBezTo>
                      <a:pt x="725936" y="483714"/>
                      <a:pt x="738001" y="500859"/>
                      <a:pt x="731017" y="504669"/>
                    </a:cubicBezTo>
                    <a:cubicBezTo>
                      <a:pt x="717681" y="512289"/>
                      <a:pt x="673867" y="497049"/>
                      <a:pt x="685296" y="506574"/>
                    </a:cubicBezTo>
                    <a:cubicBezTo>
                      <a:pt x="712601" y="529434"/>
                      <a:pt x="756417" y="524354"/>
                      <a:pt x="782451" y="547849"/>
                    </a:cubicBezTo>
                    <a:cubicBezTo>
                      <a:pt x="792611" y="556739"/>
                      <a:pt x="757051" y="557374"/>
                      <a:pt x="743717" y="559279"/>
                    </a:cubicBezTo>
                    <a:cubicBezTo>
                      <a:pt x="739906" y="559914"/>
                      <a:pt x="738001" y="551659"/>
                      <a:pt x="734192" y="552929"/>
                    </a:cubicBezTo>
                    <a:cubicBezTo>
                      <a:pt x="717046" y="558009"/>
                      <a:pt x="703076" y="570709"/>
                      <a:pt x="686567" y="575789"/>
                    </a:cubicBezTo>
                    <a:cubicBezTo>
                      <a:pt x="610367" y="599284"/>
                      <a:pt x="677042" y="545944"/>
                      <a:pt x="567821" y="538959"/>
                    </a:cubicBezTo>
                    <a:cubicBezTo>
                      <a:pt x="553851" y="537689"/>
                      <a:pt x="553851" y="564994"/>
                      <a:pt x="541786" y="572614"/>
                    </a:cubicBezTo>
                    <a:cubicBezTo>
                      <a:pt x="535436" y="577059"/>
                      <a:pt x="525911" y="569439"/>
                      <a:pt x="518292" y="571344"/>
                    </a:cubicBezTo>
                    <a:cubicBezTo>
                      <a:pt x="512576" y="572614"/>
                      <a:pt x="510671" y="579599"/>
                      <a:pt x="505592" y="582139"/>
                    </a:cubicBezTo>
                    <a:cubicBezTo>
                      <a:pt x="503686" y="582774"/>
                      <a:pt x="501146" y="580234"/>
                      <a:pt x="499242" y="580869"/>
                    </a:cubicBezTo>
                    <a:cubicBezTo>
                      <a:pt x="484001" y="588489"/>
                      <a:pt x="471301" y="601824"/>
                      <a:pt x="455426" y="607539"/>
                    </a:cubicBezTo>
                    <a:cubicBezTo>
                      <a:pt x="440186" y="612619"/>
                      <a:pt x="411611" y="612619"/>
                      <a:pt x="411611" y="6126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19A4F117-CBA7-4F80-8B2E-1B18E4EF1A92}"/>
                  </a:ext>
                </a:extLst>
              </p:cNvPr>
              <p:cNvSpPr/>
              <p:nvPr/>
            </p:nvSpPr>
            <p:spPr>
              <a:xfrm>
                <a:off x="8071663" y="1468438"/>
                <a:ext cx="19050" cy="6350"/>
              </a:xfrm>
              <a:custGeom>
                <a:avLst/>
                <a:gdLst>
                  <a:gd name="connsiteX0" fmla="*/ 19507 w 19050"/>
                  <a:gd name="connsiteY0" fmla="*/ 6032 h 6350"/>
                  <a:gd name="connsiteX1" fmla="*/ 20142 w 19050"/>
                  <a:gd name="connsiteY1" fmla="*/ 4763 h 6350"/>
                  <a:gd name="connsiteX2" fmla="*/ 19507 w 19050"/>
                  <a:gd name="connsiteY2" fmla="*/ 603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6350">
                    <a:moveTo>
                      <a:pt x="19507" y="6032"/>
                    </a:moveTo>
                    <a:cubicBezTo>
                      <a:pt x="6172" y="7938"/>
                      <a:pt x="-5893" y="9207"/>
                      <a:pt x="20142" y="4763"/>
                    </a:cubicBezTo>
                    <a:cubicBezTo>
                      <a:pt x="20142" y="4763"/>
                      <a:pt x="19507" y="6032"/>
                      <a:pt x="19507" y="60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77411943-2551-4AFB-8368-1D1D45C54181}"/>
                  </a:ext>
                </a:extLst>
              </p:cNvPr>
              <p:cNvSpPr/>
              <p:nvPr/>
            </p:nvSpPr>
            <p:spPr>
              <a:xfrm>
                <a:off x="8035803" y="984705"/>
                <a:ext cx="298450" cy="139700"/>
              </a:xfrm>
              <a:custGeom>
                <a:avLst/>
                <a:gdLst>
                  <a:gd name="connsiteX0" fmla="*/ 279522 w 298450"/>
                  <a:gd name="connsiteY0" fmla="*/ 26850 h 139700"/>
                  <a:gd name="connsiteX1" fmla="*/ 217927 w 298450"/>
                  <a:gd name="connsiteY1" fmla="*/ 61775 h 139700"/>
                  <a:gd name="connsiteX2" fmla="*/ 172207 w 298450"/>
                  <a:gd name="connsiteY2" fmla="*/ 71300 h 139700"/>
                  <a:gd name="connsiteX3" fmla="*/ 179191 w 298450"/>
                  <a:gd name="connsiteY3" fmla="*/ 73205 h 139700"/>
                  <a:gd name="connsiteX4" fmla="*/ 240152 w 298450"/>
                  <a:gd name="connsiteY4" fmla="*/ 63045 h 139700"/>
                  <a:gd name="connsiteX5" fmla="*/ 249041 w 298450"/>
                  <a:gd name="connsiteY5" fmla="*/ 61140 h 139700"/>
                  <a:gd name="connsiteX6" fmla="*/ 81402 w 298450"/>
                  <a:gd name="connsiteY6" fmla="*/ 111305 h 139700"/>
                  <a:gd name="connsiteX7" fmla="*/ 5837 w 298450"/>
                  <a:gd name="connsiteY7" fmla="*/ 128450 h 139700"/>
                  <a:gd name="connsiteX8" fmla="*/ 31872 w 298450"/>
                  <a:gd name="connsiteY8" fmla="*/ 110670 h 139700"/>
                  <a:gd name="connsiteX9" fmla="*/ 71877 w 298450"/>
                  <a:gd name="connsiteY9" fmla="*/ 94795 h 139700"/>
                  <a:gd name="connsiteX10" fmla="*/ 106802 w 298450"/>
                  <a:gd name="connsiteY10" fmla="*/ 55425 h 139700"/>
                  <a:gd name="connsiteX11" fmla="*/ 136012 w 298450"/>
                  <a:gd name="connsiteY11" fmla="*/ 49710 h 139700"/>
                  <a:gd name="connsiteX12" fmla="*/ 181097 w 298450"/>
                  <a:gd name="connsiteY12" fmla="*/ 29390 h 139700"/>
                  <a:gd name="connsiteX13" fmla="*/ 214116 w 298450"/>
                  <a:gd name="connsiteY13" fmla="*/ 21135 h 139700"/>
                  <a:gd name="connsiteX14" fmla="*/ 157602 w 298450"/>
                  <a:gd name="connsiteY14" fmla="*/ 56695 h 139700"/>
                  <a:gd name="connsiteX15" fmla="*/ 199512 w 298450"/>
                  <a:gd name="connsiteY15" fmla="*/ 39550 h 139700"/>
                  <a:gd name="connsiteX16" fmla="*/ 237612 w 298450"/>
                  <a:gd name="connsiteY16" fmla="*/ 18595 h 139700"/>
                  <a:gd name="connsiteX17" fmla="*/ 278252 w 298450"/>
                  <a:gd name="connsiteY17" fmla="*/ 14150 h 139700"/>
                  <a:gd name="connsiteX18" fmla="*/ 294762 w 298450"/>
                  <a:gd name="connsiteY18" fmla="*/ 6530 h 139700"/>
                  <a:gd name="connsiteX19" fmla="*/ 279522 w 298450"/>
                  <a:gd name="connsiteY19" fmla="*/ 26850 h 13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8450" h="139700">
                    <a:moveTo>
                      <a:pt x="279522" y="26850"/>
                    </a:moveTo>
                    <a:cubicBezTo>
                      <a:pt x="261741" y="38280"/>
                      <a:pt x="238247" y="54790"/>
                      <a:pt x="217927" y="61775"/>
                    </a:cubicBezTo>
                    <a:cubicBezTo>
                      <a:pt x="203322" y="66855"/>
                      <a:pt x="186812" y="66855"/>
                      <a:pt x="172207" y="71300"/>
                    </a:cubicBezTo>
                    <a:cubicBezTo>
                      <a:pt x="169666" y="71935"/>
                      <a:pt x="176652" y="73840"/>
                      <a:pt x="179191" y="73205"/>
                    </a:cubicBezTo>
                    <a:cubicBezTo>
                      <a:pt x="199512" y="70665"/>
                      <a:pt x="219832" y="66220"/>
                      <a:pt x="240152" y="63045"/>
                    </a:cubicBezTo>
                    <a:cubicBezTo>
                      <a:pt x="243327" y="62410"/>
                      <a:pt x="252216" y="59870"/>
                      <a:pt x="249041" y="61140"/>
                    </a:cubicBezTo>
                    <a:cubicBezTo>
                      <a:pt x="196972" y="89715"/>
                      <a:pt x="134107" y="84000"/>
                      <a:pt x="81402" y="111305"/>
                    </a:cubicBezTo>
                    <a:cubicBezTo>
                      <a:pt x="69337" y="117655"/>
                      <a:pt x="23616" y="150675"/>
                      <a:pt x="5837" y="128450"/>
                    </a:cubicBezTo>
                    <a:cubicBezTo>
                      <a:pt x="-513" y="120195"/>
                      <a:pt x="22982" y="115115"/>
                      <a:pt x="31872" y="110670"/>
                    </a:cubicBezTo>
                    <a:cubicBezTo>
                      <a:pt x="44572" y="104320"/>
                      <a:pt x="59812" y="103685"/>
                      <a:pt x="71877" y="94795"/>
                    </a:cubicBezTo>
                    <a:cubicBezTo>
                      <a:pt x="85847" y="84635"/>
                      <a:pt x="92197" y="65585"/>
                      <a:pt x="106802" y="55425"/>
                    </a:cubicBezTo>
                    <a:cubicBezTo>
                      <a:pt x="115057" y="49710"/>
                      <a:pt x="126487" y="52885"/>
                      <a:pt x="136012" y="49710"/>
                    </a:cubicBezTo>
                    <a:cubicBezTo>
                      <a:pt x="151252" y="43995"/>
                      <a:pt x="165857" y="35105"/>
                      <a:pt x="181097" y="29390"/>
                    </a:cubicBezTo>
                    <a:cubicBezTo>
                      <a:pt x="191891" y="25580"/>
                      <a:pt x="221737" y="12245"/>
                      <a:pt x="214116" y="21135"/>
                    </a:cubicBezTo>
                    <a:cubicBezTo>
                      <a:pt x="199512" y="37645"/>
                      <a:pt x="171572" y="38915"/>
                      <a:pt x="157602" y="56695"/>
                    </a:cubicBezTo>
                    <a:cubicBezTo>
                      <a:pt x="148077" y="68125"/>
                      <a:pt x="186177" y="45900"/>
                      <a:pt x="199512" y="39550"/>
                    </a:cubicBezTo>
                    <a:cubicBezTo>
                      <a:pt x="212847" y="33200"/>
                      <a:pt x="223641" y="23040"/>
                      <a:pt x="237612" y="18595"/>
                    </a:cubicBezTo>
                    <a:cubicBezTo>
                      <a:pt x="250312" y="14150"/>
                      <a:pt x="264916" y="17325"/>
                      <a:pt x="278252" y="14150"/>
                    </a:cubicBezTo>
                    <a:cubicBezTo>
                      <a:pt x="283966" y="12880"/>
                      <a:pt x="294127" y="180"/>
                      <a:pt x="294762" y="6530"/>
                    </a:cubicBezTo>
                    <a:cubicBezTo>
                      <a:pt x="295397" y="13515"/>
                      <a:pt x="279522" y="26850"/>
                      <a:pt x="279522" y="268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81ABCB28-D3F4-4A5E-BBDA-A49C38D51AEB}"/>
                  </a:ext>
                </a:extLst>
              </p:cNvPr>
              <p:cNvSpPr/>
              <p:nvPr/>
            </p:nvSpPr>
            <p:spPr>
              <a:xfrm>
                <a:off x="7980273" y="1491932"/>
                <a:ext cx="57150" cy="44450"/>
              </a:xfrm>
              <a:custGeom>
                <a:avLst/>
                <a:gdLst>
                  <a:gd name="connsiteX0" fmla="*/ 56287 w 57150"/>
                  <a:gd name="connsiteY0" fmla="*/ 4763 h 44450"/>
                  <a:gd name="connsiteX1" fmla="*/ 6122 w 57150"/>
                  <a:gd name="connsiteY1" fmla="*/ 42863 h 44450"/>
                  <a:gd name="connsiteX2" fmla="*/ 10567 w 57150"/>
                  <a:gd name="connsiteY2" fmla="*/ 31432 h 44450"/>
                  <a:gd name="connsiteX3" fmla="*/ 56287 w 57150"/>
                  <a:gd name="connsiteY3" fmla="*/ 4763 h 44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44450">
                    <a:moveTo>
                      <a:pt x="56287" y="4763"/>
                    </a:moveTo>
                    <a:cubicBezTo>
                      <a:pt x="39777" y="17463"/>
                      <a:pt x="24537" y="32703"/>
                      <a:pt x="6122" y="42863"/>
                    </a:cubicBezTo>
                    <a:cubicBezTo>
                      <a:pt x="2312" y="44768"/>
                      <a:pt x="7392" y="33973"/>
                      <a:pt x="10567" y="31432"/>
                    </a:cubicBezTo>
                    <a:cubicBezTo>
                      <a:pt x="24537" y="21273"/>
                      <a:pt x="56287" y="4763"/>
                      <a:pt x="56287" y="47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CB76351E-9C0B-463A-BEF8-37E68A5FAC9C}"/>
                  </a:ext>
                </a:extLst>
              </p:cNvPr>
              <p:cNvSpPr/>
              <p:nvPr/>
            </p:nvSpPr>
            <p:spPr>
              <a:xfrm>
                <a:off x="7935779" y="1278696"/>
                <a:ext cx="19050" cy="12700"/>
              </a:xfrm>
              <a:custGeom>
                <a:avLst/>
                <a:gdLst>
                  <a:gd name="connsiteX0" fmla="*/ 16326 w 19050"/>
                  <a:gd name="connsiteY0" fmla="*/ 5274 h 12700"/>
                  <a:gd name="connsiteX1" fmla="*/ 5531 w 19050"/>
                  <a:gd name="connsiteY1" fmla="*/ 13529 h 12700"/>
                  <a:gd name="connsiteX2" fmla="*/ 16326 w 19050"/>
                  <a:gd name="connsiteY2" fmla="*/ 5274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12700">
                    <a:moveTo>
                      <a:pt x="16326" y="5274"/>
                    </a:moveTo>
                    <a:cubicBezTo>
                      <a:pt x="12516" y="7814"/>
                      <a:pt x="9976" y="11624"/>
                      <a:pt x="5531" y="13529"/>
                    </a:cubicBezTo>
                    <a:cubicBezTo>
                      <a:pt x="1721" y="14799"/>
                      <a:pt x="13151" y="2099"/>
                      <a:pt x="16326" y="52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7AE16669-2DE3-4CE8-A6D9-8CD4F747457E}"/>
                  </a:ext>
                </a:extLst>
              </p:cNvPr>
              <p:cNvSpPr/>
              <p:nvPr/>
            </p:nvSpPr>
            <p:spPr>
              <a:xfrm>
                <a:off x="7966857" y="1131753"/>
                <a:ext cx="82550" cy="44450"/>
              </a:xfrm>
              <a:custGeom>
                <a:avLst/>
                <a:gdLst>
                  <a:gd name="connsiteX0" fmla="*/ 79228 w 82550"/>
                  <a:gd name="connsiteY0" fmla="*/ 8072 h 44450"/>
                  <a:gd name="connsiteX1" fmla="*/ 28428 w 82550"/>
                  <a:gd name="connsiteY1" fmla="*/ 30297 h 44450"/>
                  <a:gd name="connsiteX2" fmla="*/ 5568 w 82550"/>
                  <a:gd name="connsiteY2" fmla="*/ 40457 h 44450"/>
                  <a:gd name="connsiteX3" fmla="*/ 46843 w 82550"/>
                  <a:gd name="connsiteY3" fmla="*/ 6167 h 44450"/>
                  <a:gd name="connsiteX4" fmla="*/ 79228 w 82550"/>
                  <a:gd name="connsiteY4" fmla="*/ 8072 h 44450"/>
                  <a:gd name="connsiteX5" fmla="*/ 79228 w 82550"/>
                  <a:gd name="connsiteY5" fmla="*/ 8072 h 44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2550" h="44450">
                    <a:moveTo>
                      <a:pt x="79228" y="8072"/>
                    </a:moveTo>
                    <a:cubicBezTo>
                      <a:pt x="62083" y="15692"/>
                      <a:pt x="44937" y="22677"/>
                      <a:pt x="28428" y="30297"/>
                    </a:cubicBezTo>
                    <a:cubicBezTo>
                      <a:pt x="20808" y="34107"/>
                      <a:pt x="487" y="47442"/>
                      <a:pt x="5568" y="40457"/>
                    </a:cubicBezTo>
                    <a:cubicBezTo>
                      <a:pt x="16362" y="26487"/>
                      <a:pt x="30333" y="13787"/>
                      <a:pt x="46843" y="6167"/>
                    </a:cubicBezTo>
                    <a:cubicBezTo>
                      <a:pt x="56368" y="2357"/>
                      <a:pt x="68433" y="7437"/>
                      <a:pt x="79228" y="8072"/>
                    </a:cubicBezTo>
                    <a:lnTo>
                      <a:pt x="79228" y="807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0326119D-8A30-407B-924D-813F9E05AF9C}"/>
                  </a:ext>
                </a:extLst>
              </p:cNvPr>
              <p:cNvSpPr/>
              <p:nvPr/>
            </p:nvSpPr>
            <p:spPr>
              <a:xfrm>
                <a:off x="7546809" y="1168655"/>
                <a:ext cx="628650" cy="457200"/>
              </a:xfrm>
              <a:custGeom>
                <a:avLst/>
                <a:gdLst>
                  <a:gd name="connsiteX0" fmla="*/ 325921 w 628650"/>
                  <a:gd name="connsiteY0" fmla="*/ 267080 h 457200"/>
                  <a:gd name="connsiteX1" fmla="*/ 301156 w 628650"/>
                  <a:gd name="connsiteY1" fmla="*/ 288035 h 457200"/>
                  <a:gd name="connsiteX2" fmla="*/ 322746 w 628650"/>
                  <a:gd name="connsiteY2" fmla="*/ 282320 h 457200"/>
                  <a:gd name="connsiteX3" fmla="*/ 284646 w 628650"/>
                  <a:gd name="connsiteY3" fmla="*/ 324230 h 457200"/>
                  <a:gd name="connsiteX4" fmla="*/ 261151 w 628650"/>
                  <a:gd name="connsiteY4" fmla="*/ 369315 h 457200"/>
                  <a:gd name="connsiteX5" fmla="*/ 256706 w 628650"/>
                  <a:gd name="connsiteY5" fmla="*/ 359790 h 457200"/>
                  <a:gd name="connsiteX6" fmla="*/ 163360 w 628650"/>
                  <a:gd name="connsiteY6" fmla="*/ 395350 h 457200"/>
                  <a:gd name="connsiteX7" fmla="*/ 177331 w 628650"/>
                  <a:gd name="connsiteY7" fmla="*/ 383920 h 457200"/>
                  <a:gd name="connsiteX8" fmla="*/ 190031 w 628650"/>
                  <a:gd name="connsiteY8" fmla="*/ 368680 h 457200"/>
                  <a:gd name="connsiteX9" fmla="*/ 233846 w 628650"/>
                  <a:gd name="connsiteY9" fmla="*/ 345185 h 457200"/>
                  <a:gd name="connsiteX10" fmla="*/ 220510 w 628650"/>
                  <a:gd name="connsiteY10" fmla="*/ 303275 h 457200"/>
                  <a:gd name="connsiteX11" fmla="*/ 183681 w 628650"/>
                  <a:gd name="connsiteY11" fmla="*/ 335660 h 457200"/>
                  <a:gd name="connsiteX12" fmla="*/ 146851 w 628650"/>
                  <a:gd name="connsiteY12" fmla="*/ 364235 h 457200"/>
                  <a:gd name="connsiteX13" fmla="*/ 61126 w 628650"/>
                  <a:gd name="connsiteY13" fmla="*/ 441705 h 457200"/>
                  <a:gd name="connsiteX14" fmla="*/ 43346 w 628650"/>
                  <a:gd name="connsiteY14" fmla="*/ 444880 h 457200"/>
                  <a:gd name="connsiteX15" fmla="*/ 7151 w 628650"/>
                  <a:gd name="connsiteY15" fmla="*/ 455040 h 457200"/>
                  <a:gd name="connsiteX16" fmla="*/ 21121 w 628650"/>
                  <a:gd name="connsiteY16" fmla="*/ 411860 h 457200"/>
                  <a:gd name="connsiteX17" fmla="*/ 44616 w 628650"/>
                  <a:gd name="connsiteY17" fmla="*/ 388365 h 457200"/>
                  <a:gd name="connsiteX18" fmla="*/ 57316 w 628650"/>
                  <a:gd name="connsiteY18" fmla="*/ 356615 h 457200"/>
                  <a:gd name="connsiteX19" fmla="*/ 117006 w 628650"/>
                  <a:gd name="connsiteY19" fmla="*/ 302005 h 457200"/>
                  <a:gd name="connsiteX20" fmla="*/ 145581 w 628650"/>
                  <a:gd name="connsiteY20" fmla="*/ 237235 h 457200"/>
                  <a:gd name="connsiteX21" fmla="*/ 165901 w 628650"/>
                  <a:gd name="connsiteY21" fmla="*/ 252475 h 457200"/>
                  <a:gd name="connsiteX22" fmla="*/ 141135 w 628650"/>
                  <a:gd name="connsiteY22" fmla="*/ 268350 h 457200"/>
                  <a:gd name="connsiteX23" fmla="*/ 200826 w 628650"/>
                  <a:gd name="connsiteY23" fmla="*/ 282955 h 457200"/>
                  <a:gd name="connsiteX24" fmla="*/ 233846 w 628650"/>
                  <a:gd name="connsiteY24" fmla="*/ 288670 h 457200"/>
                  <a:gd name="connsiteX25" fmla="*/ 240831 w 628650"/>
                  <a:gd name="connsiteY25" fmla="*/ 245490 h 457200"/>
                  <a:gd name="connsiteX26" fmla="*/ 266866 w 628650"/>
                  <a:gd name="connsiteY26" fmla="*/ 241045 h 457200"/>
                  <a:gd name="connsiteX27" fmla="*/ 316396 w 628650"/>
                  <a:gd name="connsiteY27" fmla="*/ 211200 h 457200"/>
                  <a:gd name="connsiteX28" fmla="*/ 342431 w 628650"/>
                  <a:gd name="connsiteY28" fmla="*/ 167385 h 457200"/>
                  <a:gd name="connsiteX29" fmla="*/ 448476 w 628650"/>
                  <a:gd name="connsiteY29" fmla="*/ 109600 h 457200"/>
                  <a:gd name="connsiteX30" fmla="*/ 402756 w 628650"/>
                  <a:gd name="connsiteY30" fmla="*/ 110235 h 457200"/>
                  <a:gd name="connsiteX31" fmla="*/ 438316 w 628650"/>
                  <a:gd name="connsiteY31" fmla="*/ 82930 h 457200"/>
                  <a:gd name="connsiteX32" fmla="*/ 454191 w 628650"/>
                  <a:gd name="connsiteY32" fmla="*/ 43560 h 457200"/>
                  <a:gd name="connsiteX33" fmla="*/ 504356 w 628650"/>
                  <a:gd name="connsiteY33" fmla="*/ 18795 h 457200"/>
                  <a:gd name="connsiteX34" fmla="*/ 621831 w 628650"/>
                  <a:gd name="connsiteY34" fmla="*/ 19430 h 457200"/>
                  <a:gd name="connsiteX35" fmla="*/ 582461 w 628650"/>
                  <a:gd name="connsiteY35" fmla="*/ 17525 h 457200"/>
                  <a:gd name="connsiteX36" fmla="*/ 487210 w 628650"/>
                  <a:gd name="connsiteY36" fmla="*/ 41655 h 457200"/>
                  <a:gd name="connsiteX37" fmla="*/ 490385 w 628650"/>
                  <a:gd name="connsiteY37" fmla="*/ 53085 h 457200"/>
                  <a:gd name="connsiteX38" fmla="*/ 581191 w 628650"/>
                  <a:gd name="connsiteY38" fmla="*/ 23875 h 457200"/>
                  <a:gd name="connsiteX39" fmla="*/ 611671 w 628650"/>
                  <a:gd name="connsiteY39" fmla="*/ 42925 h 457200"/>
                  <a:gd name="connsiteX40" fmla="*/ 581826 w 628650"/>
                  <a:gd name="connsiteY40" fmla="*/ 56260 h 457200"/>
                  <a:gd name="connsiteX41" fmla="*/ 515785 w 628650"/>
                  <a:gd name="connsiteY41" fmla="*/ 72770 h 457200"/>
                  <a:gd name="connsiteX42" fmla="*/ 555791 w 628650"/>
                  <a:gd name="connsiteY42" fmla="*/ 88645 h 457200"/>
                  <a:gd name="connsiteX43" fmla="*/ 529121 w 628650"/>
                  <a:gd name="connsiteY43" fmla="*/ 112775 h 457200"/>
                  <a:gd name="connsiteX44" fmla="*/ 518960 w 628650"/>
                  <a:gd name="connsiteY44" fmla="*/ 107695 h 457200"/>
                  <a:gd name="connsiteX45" fmla="*/ 471971 w 628650"/>
                  <a:gd name="connsiteY45" fmla="*/ 131190 h 457200"/>
                  <a:gd name="connsiteX46" fmla="*/ 461176 w 628650"/>
                  <a:gd name="connsiteY46" fmla="*/ 148970 h 457200"/>
                  <a:gd name="connsiteX47" fmla="*/ 492926 w 628650"/>
                  <a:gd name="connsiteY47" fmla="*/ 149605 h 457200"/>
                  <a:gd name="connsiteX48" fmla="*/ 411010 w 628650"/>
                  <a:gd name="connsiteY48" fmla="*/ 185165 h 457200"/>
                  <a:gd name="connsiteX49" fmla="*/ 458001 w 628650"/>
                  <a:gd name="connsiteY49" fmla="*/ 180720 h 457200"/>
                  <a:gd name="connsiteX50" fmla="*/ 386881 w 628650"/>
                  <a:gd name="connsiteY50" fmla="*/ 208660 h 457200"/>
                  <a:gd name="connsiteX51" fmla="*/ 382435 w 628650"/>
                  <a:gd name="connsiteY51" fmla="*/ 242950 h 457200"/>
                  <a:gd name="connsiteX52" fmla="*/ 353226 w 628650"/>
                  <a:gd name="connsiteY52" fmla="*/ 229615 h 457200"/>
                  <a:gd name="connsiteX53" fmla="*/ 325921 w 628650"/>
                  <a:gd name="connsiteY53" fmla="*/ 26708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28650" h="457200">
                    <a:moveTo>
                      <a:pt x="325921" y="267080"/>
                    </a:moveTo>
                    <a:cubicBezTo>
                      <a:pt x="317666" y="274065"/>
                      <a:pt x="303060" y="277240"/>
                      <a:pt x="301156" y="288035"/>
                    </a:cubicBezTo>
                    <a:cubicBezTo>
                      <a:pt x="299885" y="295655"/>
                      <a:pt x="325921" y="275335"/>
                      <a:pt x="322746" y="282320"/>
                    </a:cubicBezTo>
                    <a:cubicBezTo>
                      <a:pt x="315126" y="299465"/>
                      <a:pt x="295441" y="308990"/>
                      <a:pt x="284646" y="324230"/>
                    </a:cubicBezTo>
                    <a:cubicBezTo>
                      <a:pt x="275121" y="338200"/>
                      <a:pt x="271946" y="355980"/>
                      <a:pt x="261151" y="369315"/>
                    </a:cubicBezTo>
                    <a:cubicBezTo>
                      <a:pt x="259246" y="371855"/>
                      <a:pt x="260516" y="359155"/>
                      <a:pt x="256706" y="359790"/>
                    </a:cubicBezTo>
                    <a:cubicBezTo>
                      <a:pt x="237021" y="364870"/>
                      <a:pt x="190031" y="396620"/>
                      <a:pt x="163360" y="395350"/>
                    </a:cubicBezTo>
                    <a:cubicBezTo>
                      <a:pt x="157646" y="395350"/>
                      <a:pt x="172885" y="388365"/>
                      <a:pt x="177331" y="383920"/>
                    </a:cubicBezTo>
                    <a:cubicBezTo>
                      <a:pt x="181776" y="379475"/>
                      <a:pt x="184316" y="372490"/>
                      <a:pt x="190031" y="368680"/>
                    </a:cubicBezTo>
                    <a:cubicBezTo>
                      <a:pt x="204001" y="359155"/>
                      <a:pt x="226860" y="360425"/>
                      <a:pt x="233846" y="345185"/>
                    </a:cubicBezTo>
                    <a:cubicBezTo>
                      <a:pt x="240196" y="331850"/>
                      <a:pt x="235116" y="305815"/>
                      <a:pt x="220510" y="303275"/>
                    </a:cubicBezTo>
                    <a:cubicBezTo>
                      <a:pt x="204635" y="300100"/>
                      <a:pt x="196381" y="325500"/>
                      <a:pt x="183681" y="335660"/>
                    </a:cubicBezTo>
                    <a:cubicBezTo>
                      <a:pt x="163996" y="352170"/>
                      <a:pt x="162091" y="347090"/>
                      <a:pt x="146851" y="364235"/>
                    </a:cubicBezTo>
                    <a:cubicBezTo>
                      <a:pt x="120816" y="392175"/>
                      <a:pt x="97956" y="428370"/>
                      <a:pt x="61126" y="441705"/>
                    </a:cubicBezTo>
                    <a:cubicBezTo>
                      <a:pt x="55410" y="443610"/>
                      <a:pt x="49060" y="443610"/>
                      <a:pt x="43346" y="444880"/>
                    </a:cubicBezTo>
                    <a:cubicBezTo>
                      <a:pt x="31281" y="448055"/>
                      <a:pt x="14135" y="465835"/>
                      <a:pt x="7151" y="455040"/>
                    </a:cubicBezTo>
                    <a:cubicBezTo>
                      <a:pt x="-1104" y="442340"/>
                      <a:pt x="14135" y="425195"/>
                      <a:pt x="21121" y="411860"/>
                    </a:cubicBezTo>
                    <a:cubicBezTo>
                      <a:pt x="26201" y="402335"/>
                      <a:pt x="38266" y="397890"/>
                      <a:pt x="44616" y="388365"/>
                    </a:cubicBezTo>
                    <a:cubicBezTo>
                      <a:pt x="50966" y="378840"/>
                      <a:pt x="50966" y="366140"/>
                      <a:pt x="57316" y="356615"/>
                    </a:cubicBezTo>
                    <a:cubicBezTo>
                      <a:pt x="70651" y="334390"/>
                      <a:pt x="101131" y="322325"/>
                      <a:pt x="117006" y="302005"/>
                    </a:cubicBezTo>
                    <a:cubicBezTo>
                      <a:pt x="127166" y="288670"/>
                      <a:pt x="134151" y="244855"/>
                      <a:pt x="145581" y="237235"/>
                    </a:cubicBezTo>
                    <a:cubicBezTo>
                      <a:pt x="152566" y="232790"/>
                      <a:pt x="167171" y="244220"/>
                      <a:pt x="165901" y="252475"/>
                    </a:cubicBezTo>
                    <a:cubicBezTo>
                      <a:pt x="164631" y="262000"/>
                      <a:pt x="133516" y="262000"/>
                      <a:pt x="141135" y="268350"/>
                    </a:cubicBezTo>
                    <a:cubicBezTo>
                      <a:pt x="156376" y="282320"/>
                      <a:pt x="180506" y="278510"/>
                      <a:pt x="200826" y="282955"/>
                    </a:cubicBezTo>
                    <a:cubicBezTo>
                      <a:pt x="211621" y="285495"/>
                      <a:pt x="225591" y="296290"/>
                      <a:pt x="233846" y="288670"/>
                    </a:cubicBezTo>
                    <a:cubicBezTo>
                      <a:pt x="244641" y="278510"/>
                      <a:pt x="232576" y="257555"/>
                      <a:pt x="240831" y="245490"/>
                    </a:cubicBezTo>
                    <a:cubicBezTo>
                      <a:pt x="245910" y="238505"/>
                      <a:pt x="259246" y="244855"/>
                      <a:pt x="266866" y="241045"/>
                    </a:cubicBezTo>
                    <a:cubicBezTo>
                      <a:pt x="284646" y="233425"/>
                      <a:pt x="302426" y="224535"/>
                      <a:pt x="316396" y="211200"/>
                    </a:cubicBezTo>
                    <a:cubicBezTo>
                      <a:pt x="328460" y="199135"/>
                      <a:pt x="331635" y="180085"/>
                      <a:pt x="342431" y="167385"/>
                    </a:cubicBezTo>
                    <a:cubicBezTo>
                      <a:pt x="351956" y="156590"/>
                      <a:pt x="451016" y="130555"/>
                      <a:pt x="448476" y="109600"/>
                    </a:cubicBezTo>
                    <a:cubicBezTo>
                      <a:pt x="446571" y="94360"/>
                      <a:pt x="408471" y="124205"/>
                      <a:pt x="402756" y="110235"/>
                    </a:cubicBezTo>
                    <a:cubicBezTo>
                      <a:pt x="397676" y="96265"/>
                      <a:pt x="429426" y="94995"/>
                      <a:pt x="438316" y="82930"/>
                    </a:cubicBezTo>
                    <a:cubicBezTo>
                      <a:pt x="447206" y="71500"/>
                      <a:pt x="447206" y="56260"/>
                      <a:pt x="454191" y="43560"/>
                    </a:cubicBezTo>
                    <a:cubicBezTo>
                      <a:pt x="462446" y="27050"/>
                      <a:pt x="487210" y="25780"/>
                      <a:pt x="504356" y="18795"/>
                    </a:cubicBezTo>
                    <a:cubicBezTo>
                      <a:pt x="544996" y="2920"/>
                      <a:pt x="578016" y="-2795"/>
                      <a:pt x="621831" y="19430"/>
                    </a:cubicBezTo>
                    <a:cubicBezTo>
                      <a:pt x="633261" y="25780"/>
                      <a:pt x="595796" y="15620"/>
                      <a:pt x="582461" y="17525"/>
                    </a:cubicBezTo>
                    <a:cubicBezTo>
                      <a:pt x="550076" y="22605"/>
                      <a:pt x="517691" y="29590"/>
                      <a:pt x="487210" y="41655"/>
                    </a:cubicBezTo>
                    <a:cubicBezTo>
                      <a:pt x="483401" y="42925"/>
                      <a:pt x="486576" y="53720"/>
                      <a:pt x="490385" y="53085"/>
                    </a:cubicBezTo>
                    <a:cubicBezTo>
                      <a:pt x="526581" y="46735"/>
                      <a:pt x="541821" y="18795"/>
                      <a:pt x="581191" y="23875"/>
                    </a:cubicBezTo>
                    <a:cubicBezTo>
                      <a:pt x="593256" y="25780"/>
                      <a:pt x="611036" y="31495"/>
                      <a:pt x="611671" y="42925"/>
                    </a:cubicBezTo>
                    <a:cubicBezTo>
                      <a:pt x="611671" y="53720"/>
                      <a:pt x="591986" y="53085"/>
                      <a:pt x="581826" y="56260"/>
                    </a:cubicBezTo>
                    <a:cubicBezTo>
                      <a:pt x="560236" y="63245"/>
                      <a:pt x="529756" y="54990"/>
                      <a:pt x="515785" y="72770"/>
                    </a:cubicBezTo>
                    <a:cubicBezTo>
                      <a:pt x="506896" y="84200"/>
                      <a:pt x="551346" y="74675"/>
                      <a:pt x="555791" y="88645"/>
                    </a:cubicBezTo>
                    <a:cubicBezTo>
                      <a:pt x="559601" y="100075"/>
                      <a:pt x="539916" y="107060"/>
                      <a:pt x="529121" y="112775"/>
                    </a:cubicBezTo>
                    <a:cubicBezTo>
                      <a:pt x="525946" y="114680"/>
                      <a:pt x="522771" y="106425"/>
                      <a:pt x="518960" y="107695"/>
                    </a:cubicBezTo>
                    <a:cubicBezTo>
                      <a:pt x="502451" y="113410"/>
                      <a:pt x="485941" y="121030"/>
                      <a:pt x="471971" y="131190"/>
                    </a:cubicBezTo>
                    <a:cubicBezTo>
                      <a:pt x="466256" y="135635"/>
                      <a:pt x="456096" y="144525"/>
                      <a:pt x="461176" y="148970"/>
                    </a:cubicBezTo>
                    <a:cubicBezTo>
                      <a:pt x="468796" y="155955"/>
                      <a:pt x="501181" y="143255"/>
                      <a:pt x="492926" y="149605"/>
                    </a:cubicBezTo>
                    <a:cubicBezTo>
                      <a:pt x="468796" y="166750"/>
                      <a:pt x="433235" y="164845"/>
                      <a:pt x="411010" y="185165"/>
                    </a:cubicBezTo>
                    <a:cubicBezTo>
                      <a:pt x="398946" y="195960"/>
                      <a:pt x="456731" y="164845"/>
                      <a:pt x="458001" y="180720"/>
                    </a:cubicBezTo>
                    <a:cubicBezTo>
                      <a:pt x="463716" y="242315"/>
                      <a:pt x="401485" y="191515"/>
                      <a:pt x="386881" y="208660"/>
                    </a:cubicBezTo>
                    <a:cubicBezTo>
                      <a:pt x="379260" y="217550"/>
                      <a:pt x="391960" y="236600"/>
                      <a:pt x="382435" y="242950"/>
                    </a:cubicBezTo>
                    <a:cubicBezTo>
                      <a:pt x="373546" y="248665"/>
                      <a:pt x="363385" y="225805"/>
                      <a:pt x="353226" y="229615"/>
                    </a:cubicBezTo>
                    <a:cubicBezTo>
                      <a:pt x="338621" y="237870"/>
                      <a:pt x="325921" y="267080"/>
                      <a:pt x="325921" y="2670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C05DA423-EAE0-467C-AD69-5BBAD457F728}"/>
                  </a:ext>
                </a:extLst>
              </p:cNvPr>
              <p:cNvSpPr/>
              <p:nvPr/>
            </p:nvSpPr>
            <p:spPr>
              <a:xfrm>
                <a:off x="7759925" y="1303973"/>
                <a:ext cx="25400" cy="19050"/>
              </a:xfrm>
              <a:custGeom>
                <a:avLst/>
                <a:gdLst>
                  <a:gd name="connsiteX0" fmla="*/ 20731 w 25400"/>
                  <a:gd name="connsiteY0" fmla="*/ 7302 h 19050"/>
                  <a:gd name="connsiteX1" fmla="*/ 4856 w 25400"/>
                  <a:gd name="connsiteY1" fmla="*/ 13652 h 19050"/>
                  <a:gd name="connsiteX2" fmla="*/ 21365 w 25400"/>
                  <a:gd name="connsiteY2" fmla="*/ 4763 h 19050"/>
                  <a:gd name="connsiteX3" fmla="*/ 20731 w 25400"/>
                  <a:gd name="connsiteY3" fmla="*/ 7302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400" h="19050">
                    <a:moveTo>
                      <a:pt x="20731" y="7302"/>
                    </a:moveTo>
                    <a:cubicBezTo>
                      <a:pt x="15650" y="9207"/>
                      <a:pt x="3585" y="19367"/>
                      <a:pt x="4856" y="13652"/>
                    </a:cubicBezTo>
                    <a:cubicBezTo>
                      <a:pt x="6125" y="7302"/>
                      <a:pt x="15650" y="7302"/>
                      <a:pt x="21365" y="4763"/>
                    </a:cubicBezTo>
                    <a:cubicBezTo>
                      <a:pt x="21365" y="4763"/>
                      <a:pt x="20731" y="6667"/>
                      <a:pt x="20731" y="73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3ED56497-10EE-476E-8446-9B3B4E511126}"/>
                  </a:ext>
                </a:extLst>
              </p:cNvPr>
              <p:cNvSpPr/>
              <p:nvPr/>
            </p:nvSpPr>
            <p:spPr>
              <a:xfrm>
                <a:off x="8192043" y="1884347"/>
                <a:ext cx="260350" cy="184150"/>
              </a:xfrm>
              <a:custGeom>
                <a:avLst/>
                <a:gdLst>
                  <a:gd name="connsiteX0" fmla="*/ 33112 w 260350"/>
                  <a:gd name="connsiteY0" fmla="*/ 138128 h 184150"/>
                  <a:gd name="connsiteX1" fmla="*/ 77562 w 260350"/>
                  <a:gd name="connsiteY1" fmla="*/ 60023 h 184150"/>
                  <a:gd name="connsiteX2" fmla="*/ 65497 w 260350"/>
                  <a:gd name="connsiteY2" fmla="*/ 55578 h 184150"/>
                  <a:gd name="connsiteX3" fmla="*/ 21682 w 260350"/>
                  <a:gd name="connsiteY3" fmla="*/ 37163 h 184150"/>
                  <a:gd name="connsiteX4" fmla="*/ 37557 w 260350"/>
                  <a:gd name="connsiteY4" fmla="*/ 40973 h 184150"/>
                  <a:gd name="connsiteX5" fmla="*/ 81372 w 260350"/>
                  <a:gd name="connsiteY5" fmla="*/ 4778 h 184150"/>
                  <a:gd name="connsiteX6" fmla="*/ 103597 w 260350"/>
                  <a:gd name="connsiteY6" fmla="*/ 35893 h 184150"/>
                  <a:gd name="connsiteX7" fmla="*/ 81372 w 260350"/>
                  <a:gd name="connsiteY7" fmla="*/ 77168 h 184150"/>
                  <a:gd name="connsiteX8" fmla="*/ 97882 w 260350"/>
                  <a:gd name="connsiteY8" fmla="*/ 58753 h 184150"/>
                  <a:gd name="connsiteX9" fmla="*/ 103597 w 260350"/>
                  <a:gd name="connsiteY9" fmla="*/ 66373 h 184150"/>
                  <a:gd name="connsiteX10" fmla="*/ 114392 w 260350"/>
                  <a:gd name="connsiteY10" fmla="*/ 59388 h 184150"/>
                  <a:gd name="connsiteX11" fmla="*/ 133442 w 260350"/>
                  <a:gd name="connsiteY11" fmla="*/ 61293 h 184150"/>
                  <a:gd name="connsiteX12" fmla="*/ 144237 w 260350"/>
                  <a:gd name="connsiteY12" fmla="*/ 46053 h 184150"/>
                  <a:gd name="connsiteX13" fmla="*/ 161382 w 260350"/>
                  <a:gd name="connsiteY13" fmla="*/ 74628 h 184150"/>
                  <a:gd name="connsiteX14" fmla="*/ 255997 w 260350"/>
                  <a:gd name="connsiteY14" fmla="*/ 109553 h 184150"/>
                  <a:gd name="connsiteX15" fmla="*/ 231232 w 260350"/>
                  <a:gd name="connsiteY15" fmla="*/ 127333 h 184150"/>
                  <a:gd name="connsiteX16" fmla="*/ 207102 w 260350"/>
                  <a:gd name="connsiteY16" fmla="*/ 157178 h 184150"/>
                  <a:gd name="connsiteX17" fmla="*/ 185512 w 260350"/>
                  <a:gd name="connsiteY17" fmla="*/ 151463 h 184150"/>
                  <a:gd name="connsiteX18" fmla="*/ 95342 w 260350"/>
                  <a:gd name="connsiteY18" fmla="*/ 180038 h 184150"/>
                  <a:gd name="connsiteX19" fmla="*/ 50892 w 260350"/>
                  <a:gd name="connsiteY19" fmla="*/ 162258 h 184150"/>
                  <a:gd name="connsiteX20" fmla="*/ 33112 w 260350"/>
                  <a:gd name="connsiteY20" fmla="*/ 138128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60350" h="184150">
                    <a:moveTo>
                      <a:pt x="33112" y="138128"/>
                    </a:moveTo>
                    <a:cubicBezTo>
                      <a:pt x="-37373" y="68913"/>
                      <a:pt x="41367" y="75263"/>
                      <a:pt x="77562" y="60023"/>
                    </a:cubicBezTo>
                    <a:cubicBezTo>
                      <a:pt x="81372" y="58118"/>
                      <a:pt x="69307" y="57483"/>
                      <a:pt x="65497" y="55578"/>
                    </a:cubicBezTo>
                    <a:cubicBezTo>
                      <a:pt x="50892" y="49863"/>
                      <a:pt x="35652" y="44148"/>
                      <a:pt x="21682" y="37163"/>
                    </a:cubicBezTo>
                    <a:cubicBezTo>
                      <a:pt x="17237" y="34623"/>
                      <a:pt x="32477" y="43513"/>
                      <a:pt x="37557" y="40973"/>
                    </a:cubicBezTo>
                    <a:cubicBezTo>
                      <a:pt x="54067" y="32083"/>
                      <a:pt x="62322" y="6048"/>
                      <a:pt x="81372" y="4778"/>
                    </a:cubicBezTo>
                    <a:cubicBezTo>
                      <a:pt x="94072" y="4143"/>
                      <a:pt x="103597" y="23193"/>
                      <a:pt x="103597" y="35893"/>
                    </a:cubicBezTo>
                    <a:cubicBezTo>
                      <a:pt x="103597" y="51768"/>
                      <a:pt x="85182" y="61928"/>
                      <a:pt x="81372" y="77168"/>
                    </a:cubicBezTo>
                    <a:cubicBezTo>
                      <a:pt x="79467" y="85423"/>
                      <a:pt x="90262" y="62563"/>
                      <a:pt x="97882" y="58753"/>
                    </a:cubicBezTo>
                    <a:cubicBezTo>
                      <a:pt x="101057" y="57483"/>
                      <a:pt x="100422" y="66373"/>
                      <a:pt x="103597" y="66373"/>
                    </a:cubicBezTo>
                    <a:cubicBezTo>
                      <a:pt x="108042" y="66373"/>
                      <a:pt x="109947" y="60023"/>
                      <a:pt x="114392" y="59388"/>
                    </a:cubicBezTo>
                    <a:cubicBezTo>
                      <a:pt x="120742" y="58118"/>
                      <a:pt x="127727" y="63833"/>
                      <a:pt x="133442" y="61293"/>
                    </a:cubicBezTo>
                    <a:cubicBezTo>
                      <a:pt x="139157" y="58753"/>
                      <a:pt x="138522" y="42878"/>
                      <a:pt x="144237" y="46053"/>
                    </a:cubicBezTo>
                    <a:cubicBezTo>
                      <a:pt x="154397" y="50498"/>
                      <a:pt x="150587" y="72088"/>
                      <a:pt x="161382" y="74628"/>
                    </a:cubicBezTo>
                    <a:cubicBezTo>
                      <a:pt x="193767" y="82248"/>
                      <a:pt x="260442" y="33353"/>
                      <a:pt x="255997" y="109553"/>
                    </a:cubicBezTo>
                    <a:cubicBezTo>
                      <a:pt x="255362" y="119713"/>
                      <a:pt x="238217" y="120348"/>
                      <a:pt x="231232" y="127333"/>
                    </a:cubicBezTo>
                    <a:cubicBezTo>
                      <a:pt x="222342" y="136223"/>
                      <a:pt x="218532" y="150828"/>
                      <a:pt x="207102" y="157178"/>
                    </a:cubicBezTo>
                    <a:cubicBezTo>
                      <a:pt x="200752" y="160353"/>
                      <a:pt x="192497" y="150193"/>
                      <a:pt x="185512" y="151463"/>
                    </a:cubicBezTo>
                    <a:cubicBezTo>
                      <a:pt x="154397" y="157813"/>
                      <a:pt x="127092" y="177498"/>
                      <a:pt x="95342" y="180038"/>
                    </a:cubicBezTo>
                    <a:cubicBezTo>
                      <a:pt x="79467" y="181308"/>
                      <a:pt x="64227" y="171148"/>
                      <a:pt x="50892" y="162258"/>
                    </a:cubicBezTo>
                    <a:cubicBezTo>
                      <a:pt x="42002" y="157178"/>
                      <a:pt x="33112" y="138128"/>
                      <a:pt x="33112" y="13812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24A7F57D-8C6C-48C0-9895-903212C30B83}"/>
                  </a:ext>
                </a:extLst>
              </p:cNvPr>
              <p:cNvSpPr/>
              <p:nvPr/>
            </p:nvSpPr>
            <p:spPr>
              <a:xfrm>
                <a:off x="7632287" y="1300064"/>
                <a:ext cx="152400" cy="107950"/>
              </a:xfrm>
              <a:custGeom>
                <a:avLst/>
                <a:gdLst>
                  <a:gd name="connsiteX0" fmla="*/ 87407 w 152400"/>
                  <a:gd name="connsiteY0" fmla="*/ 51851 h 107950"/>
                  <a:gd name="connsiteX1" fmla="*/ 39782 w 152400"/>
                  <a:gd name="connsiteY1" fmla="*/ 82331 h 107950"/>
                  <a:gd name="connsiteX2" fmla="*/ 9938 w 152400"/>
                  <a:gd name="connsiteY2" fmla="*/ 105826 h 107950"/>
                  <a:gd name="connsiteX3" fmla="*/ 15018 w 152400"/>
                  <a:gd name="connsiteY3" fmla="*/ 65186 h 107950"/>
                  <a:gd name="connsiteX4" fmla="*/ 65818 w 152400"/>
                  <a:gd name="connsiteY4" fmla="*/ 34706 h 107950"/>
                  <a:gd name="connsiteX5" fmla="*/ 140748 w 152400"/>
                  <a:gd name="connsiteY5" fmla="*/ 5496 h 107950"/>
                  <a:gd name="connsiteX6" fmla="*/ 148368 w 152400"/>
                  <a:gd name="connsiteY6" fmla="*/ 5496 h 107950"/>
                  <a:gd name="connsiteX7" fmla="*/ 111538 w 152400"/>
                  <a:gd name="connsiteY7" fmla="*/ 25816 h 107950"/>
                  <a:gd name="connsiteX8" fmla="*/ 87407 w 152400"/>
                  <a:gd name="connsiteY8" fmla="*/ 51851 h 10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07950">
                    <a:moveTo>
                      <a:pt x="87407" y="51851"/>
                    </a:moveTo>
                    <a:cubicBezTo>
                      <a:pt x="71532" y="62011"/>
                      <a:pt x="55023" y="71536"/>
                      <a:pt x="39782" y="82331"/>
                    </a:cubicBezTo>
                    <a:cubicBezTo>
                      <a:pt x="29623" y="89316"/>
                      <a:pt x="20098" y="112811"/>
                      <a:pt x="9938" y="105826"/>
                    </a:cubicBezTo>
                    <a:cubicBezTo>
                      <a:pt x="-1493" y="98206"/>
                      <a:pt x="8668" y="77251"/>
                      <a:pt x="15018" y="65186"/>
                    </a:cubicBezTo>
                    <a:cubicBezTo>
                      <a:pt x="48038" y="2956"/>
                      <a:pt x="34703" y="44866"/>
                      <a:pt x="65818" y="34706"/>
                    </a:cubicBezTo>
                    <a:cubicBezTo>
                      <a:pt x="91218" y="26451"/>
                      <a:pt x="115348" y="14386"/>
                      <a:pt x="140748" y="5496"/>
                    </a:cubicBezTo>
                    <a:cubicBezTo>
                      <a:pt x="143288" y="4861"/>
                      <a:pt x="150273" y="4226"/>
                      <a:pt x="148368" y="5496"/>
                    </a:cubicBezTo>
                    <a:cubicBezTo>
                      <a:pt x="136938" y="13751"/>
                      <a:pt x="122332" y="17561"/>
                      <a:pt x="111538" y="25816"/>
                    </a:cubicBezTo>
                    <a:cubicBezTo>
                      <a:pt x="101378" y="33436"/>
                      <a:pt x="87407" y="51851"/>
                      <a:pt x="87407" y="5185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1FD10597-9A84-4849-A396-5A6A730B9799}"/>
                  </a:ext>
                </a:extLst>
              </p:cNvPr>
              <p:cNvSpPr/>
              <p:nvPr/>
            </p:nvSpPr>
            <p:spPr>
              <a:xfrm>
                <a:off x="7624128" y="1437957"/>
                <a:ext cx="12700" cy="19050"/>
              </a:xfrm>
              <a:custGeom>
                <a:avLst/>
                <a:gdLst>
                  <a:gd name="connsiteX0" fmla="*/ 4763 w 12700"/>
                  <a:gd name="connsiteY0" fmla="*/ 18098 h 19050"/>
                  <a:gd name="connsiteX1" fmla="*/ 13653 w 12700"/>
                  <a:gd name="connsiteY1" fmla="*/ 4763 h 19050"/>
                  <a:gd name="connsiteX2" fmla="*/ 4763 w 12700"/>
                  <a:gd name="connsiteY2" fmla="*/ 18098 h 19050"/>
                  <a:gd name="connsiteX3" fmla="*/ 4763 w 12700"/>
                  <a:gd name="connsiteY3" fmla="*/ 18098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" h="19050">
                    <a:moveTo>
                      <a:pt x="4763" y="18098"/>
                    </a:moveTo>
                    <a:cubicBezTo>
                      <a:pt x="7938" y="13653"/>
                      <a:pt x="13653" y="4763"/>
                      <a:pt x="13653" y="4763"/>
                    </a:cubicBezTo>
                    <a:cubicBezTo>
                      <a:pt x="13653" y="4763"/>
                      <a:pt x="7938" y="13653"/>
                      <a:pt x="4763" y="18098"/>
                    </a:cubicBezTo>
                    <a:lnTo>
                      <a:pt x="4763" y="1809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B2FE801A-C986-4767-80B3-7EDC5077DA9B}"/>
                  </a:ext>
                </a:extLst>
              </p:cNvPr>
              <p:cNvSpPr/>
              <p:nvPr/>
            </p:nvSpPr>
            <p:spPr>
              <a:xfrm>
                <a:off x="7616507" y="1429068"/>
                <a:ext cx="19050" cy="25400"/>
              </a:xfrm>
              <a:custGeom>
                <a:avLst/>
                <a:gdLst>
                  <a:gd name="connsiteX0" fmla="*/ 4763 w 19050"/>
                  <a:gd name="connsiteY0" fmla="*/ 20638 h 25400"/>
                  <a:gd name="connsiteX1" fmla="*/ 14923 w 19050"/>
                  <a:gd name="connsiteY1" fmla="*/ 4763 h 25400"/>
                  <a:gd name="connsiteX2" fmla="*/ 4763 w 19050"/>
                  <a:gd name="connsiteY2" fmla="*/ 20638 h 2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25400">
                    <a:moveTo>
                      <a:pt x="4763" y="20638"/>
                    </a:moveTo>
                    <a:cubicBezTo>
                      <a:pt x="7938" y="15557"/>
                      <a:pt x="14923" y="4763"/>
                      <a:pt x="14923" y="4763"/>
                    </a:cubicBezTo>
                    <a:cubicBezTo>
                      <a:pt x="14923" y="4763"/>
                      <a:pt x="7938" y="15557"/>
                      <a:pt x="4763" y="20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D1797788-6CB7-471F-9C6C-1A9B682D5FA1}"/>
                  </a:ext>
                </a:extLst>
              </p:cNvPr>
              <p:cNvSpPr/>
              <p:nvPr/>
            </p:nvSpPr>
            <p:spPr>
              <a:xfrm>
                <a:off x="6973962" y="2134228"/>
                <a:ext cx="184150" cy="273050"/>
              </a:xfrm>
              <a:custGeom>
                <a:avLst/>
                <a:gdLst>
                  <a:gd name="connsiteX0" fmla="*/ 185028 w 184150"/>
                  <a:gd name="connsiteY0" fmla="*/ 12707 h 273050"/>
                  <a:gd name="connsiteX1" fmla="*/ 94222 w 184150"/>
                  <a:gd name="connsiteY1" fmla="*/ 75572 h 273050"/>
                  <a:gd name="connsiteX2" fmla="*/ 87238 w 184150"/>
                  <a:gd name="connsiteY2" fmla="*/ 123832 h 273050"/>
                  <a:gd name="connsiteX3" fmla="*/ 115813 w 184150"/>
                  <a:gd name="connsiteY3" fmla="*/ 147962 h 273050"/>
                  <a:gd name="connsiteX4" fmla="*/ 89143 w 184150"/>
                  <a:gd name="connsiteY4" fmla="*/ 156852 h 273050"/>
                  <a:gd name="connsiteX5" fmla="*/ 91682 w 184150"/>
                  <a:gd name="connsiteY5" fmla="*/ 172093 h 273050"/>
                  <a:gd name="connsiteX6" fmla="*/ 75172 w 184150"/>
                  <a:gd name="connsiteY6" fmla="*/ 173997 h 273050"/>
                  <a:gd name="connsiteX7" fmla="*/ 94222 w 184150"/>
                  <a:gd name="connsiteY7" fmla="*/ 188602 h 273050"/>
                  <a:gd name="connsiteX8" fmla="*/ 48503 w 184150"/>
                  <a:gd name="connsiteY8" fmla="*/ 220987 h 273050"/>
                  <a:gd name="connsiteX9" fmla="*/ 78982 w 184150"/>
                  <a:gd name="connsiteY9" fmla="*/ 211462 h 273050"/>
                  <a:gd name="connsiteX10" fmla="*/ 56122 w 184150"/>
                  <a:gd name="connsiteY10" fmla="*/ 225432 h 273050"/>
                  <a:gd name="connsiteX11" fmla="*/ 51043 w 184150"/>
                  <a:gd name="connsiteY11" fmla="*/ 236227 h 273050"/>
                  <a:gd name="connsiteX12" fmla="*/ 23738 w 184150"/>
                  <a:gd name="connsiteY12" fmla="*/ 271152 h 273050"/>
                  <a:gd name="connsiteX13" fmla="*/ 18022 w 184150"/>
                  <a:gd name="connsiteY13" fmla="*/ 260993 h 273050"/>
                  <a:gd name="connsiteX14" fmla="*/ 38343 w 184150"/>
                  <a:gd name="connsiteY14" fmla="*/ 237497 h 273050"/>
                  <a:gd name="connsiteX15" fmla="*/ 56757 w 184150"/>
                  <a:gd name="connsiteY15" fmla="*/ 193682 h 273050"/>
                  <a:gd name="connsiteX16" fmla="*/ 38978 w 184150"/>
                  <a:gd name="connsiteY16" fmla="*/ 210193 h 273050"/>
                  <a:gd name="connsiteX17" fmla="*/ 8497 w 184150"/>
                  <a:gd name="connsiteY17" fmla="*/ 216543 h 273050"/>
                  <a:gd name="connsiteX18" fmla="*/ 7228 w 184150"/>
                  <a:gd name="connsiteY18" fmla="*/ 200032 h 273050"/>
                  <a:gd name="connsiteX19" fmla="*/ 44057 w 184150"/>
                  <a:gd name="connsiteY19" fmla="*/ 162568 h 273050"/>
                  <a:gd name="connsiteX20" fmla="*/ 19928 w 184150"/>
                  <a:gd name="connsiteY20" fmla="*/ 160662 h 273050"/>
                  <a:gd name="connsiteX21" fmla="*/ 44693 w 184150"/>
                  <a:gd name="connsiteY21" fmla="*/ 91447 h 273050"/>
                  <a:gd name="connsiteX22" fmla="*/ 39613 w 184150"/>
                  <a:gd name="connsiteY22" fmla="*/ 72397 h 273050"/>
                  <a:gd name="connsiteX23" fmla="*/ 51678 w 184150"/>
                  <a:gd name="connsiteY23" fmla="*/ 71127 h 273050"/>
                  <a:gd name="connsiteX24" fmla="*/ 44057 w 184150"/>
                  <a:gd name="connsiteY24" fmla="*/ 81287 h 273050"/>
                  <a:gd name="connsiteX25" fmla="*/ 134863 w 184150"/>
                  <a:gd name="connsiteY25" fmla="*/ 26043 h 273050"/>
                  <a:gd name="connsiteX26" fmla="*/ 165978 w 184150"/>
                  <a:gd name="connsiteY26" fmla="*/ 5087 h 273050"/>
                  <a:gd name="connsiteX27" fmla="*/ 185028 w 184150"/>
                  <a:gd name="connsiteY27" fmla="*/ 12707 h 27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84150" h="273050">
                    <a:moveTo>
                      <a:pt x="185028" y="12707"/>
                    </a:moveTo>
                    <a:cubicBezTo>
                      <a:pt x="169153" y="27312"/>
                      <a:pt x="98032" y="69857"/>
                      <a:pt x="94222" y="75572"/>
                    </a:cubicBezTo>
                    <a:cubicBezTo>
                      <a:pt x="84697" y="88907"/>
                      <a:pt x="82793" y="108593"/>
                      <a:pt x="87238" y="123832"/>
                    </a:cubicBezTo>
                    <a:cubicBezTo>
                      <a:pt x="91047" y="135897"/>
                      <a:pt x="115178" y="135262"/>
                      <a:pt x="115813" y="147962"/>
                    </a:cubicBezTo>
                    <a:cubicBezTo>
                      <a:pt x="116447" y="157487"/>
                      <a:pt x="95493" y="150502"/>
                      <a:pt x="89143" y="156852"/>
                    </a:cubicBezTo>
                    <a:cubicBezTo>
                      <a:pt x="85332" y="160662"/>
                      <a:pt x="94857" y="168282"/>
                      <a:pt x="91682" y="172093"/>
                    </a:cubicBezTo>
                    <a:cubicBezTo>
                      <a:pt x="87872" y="176537"/>
                      <a:pt x="74538" y="168282"/>
                      <a:pt x="75172" y="173997"/>
                    </a:cubicBezTo>
                    <a:cubicBezTo>
                      <a:pt x="76443" y="182252"/>
                      <a:pt x="96128" y="180982"/>
                      <a:pt x="94222" y="188602"/>
                    </a:cubicBezTo>
                    <a:cubicBezTo>
                      <a:pt x="86603" y="214637"/>
                      <a:pt x="21197" y="115577"/>
                      <a:pt x="48503" y="220987"/>
                    </a:cubicBezTo>
                    <a:cubicBezTo>
                      <a:pt x="51043" y="231147"/>
                      <a:pt x="69457" y="206382"/>
                      <a:pt x="78982" y="211462"/>
                    </a:cubicBezTo>
                    <a:cubicBezTo>
                      <a:pt x="86603" y="215907"/>
                      <a:pt x="62472" y="219082"/>
                      <a:pt x="56122" y="225432"/>
                    </a:cubicBezTo>
                    <a:cubicBezTo>
                      <a:pt x="52947" y="227972"/>
                      <a:pt x="52947" y="233052"/>
                      <a:pt x="51043" y="236227"/>
                    </a:cubicBezTo>
                    <a:cubicBezTo>
                      <a:pt x="42788" y="248293"/>
                      <a:pt x="35803" y="262262"/>
                      <a:pt x="23738" y="271152"/>
                    </a:cubicBezTo>
                    <a:cubicBezTo>
                      <a:pt x="20563" y="273693"/>
                      <a:pt x="16118" y="264168"/>
                      <a:pt x="18022" y="260993"/>
                    </a:cubicBezTo>
                    <a:cubicBezTo>
                      <a:pt x="21832" y="251468"/>
                      <a:pt x="33263" y="246387"/>
                      <a:pt x="38343" y="237497"/>
                    </a:cubicBezTo>
                    <a:cubicBezTo>
                      <a:pt x="45963" y="224162"/>
                      <a:pt x="56757" y="209557"/>
                      <a:pt x="56757" y="193682"/>
                    </a:cubicBezTo>
                    <a:cubicBezTo>
                      <a:pt x="56757" y="185427"/>
                      <a:pt x="45963" y="207018"/>
                      <a:pt x="38978" y="210193"/>
                    </a:cubicBezTo>
                    <a:cubicBezTo>
                      <a:pt x="29453" y="214637"/>
                      <a:pt x="18022" y="219718"/>
                      <a:pt x="8497" y="216543"/>
                    </a:cubicBezTo>
                    <a:cubicBezTo>
                      <a:pt x="3418" y="214637"/>
                      <a:pt x="4053" y="204477"/>
                      <a:pt x="7228" y="200032"/>
                    </a:cubicBezTo>
                    <a:cubicBezTo>
                      <a:pt x="16753" y="185427"/>
                      <a:pt x="38978" y="179077"/>
                      <a:pt x="44057" y="162568"/>
                    </a:cubicBezTo>
                    <a:cubicBezTo>
                      <a:pt x="46597" y="154947"/>
                      <a:pt x="24372" y="167647"/>
                      <a:pt x="19928" y="160662"/>
                    </a:cubicBezTo>
                    <a:cubicBezTo>
                      <a:pt x="-7378" y="122562"/>
                      <a:pt x="33263" y="117482"/>
                      <a:pt x="44693" y="91447"/>
                    </a:cubicBezTo>
                    <a:cubicBezTo>
                      <a:pt x="47232" y="85097"/>
                      <a:pt x="37072" y="78747"/>
                      <a:pt x="39613" y="72397"/>
                    </a:cubicBezTo>
                    <a:cubicBezTo>
                      <a:pt x="40882" y="68587"/>
                      <a:pt x="49772" y="67952"/>
                      <a:pt x="51678" y="71127"/>
                    </a:cubicBezTo>
                    <a:cubicBezTo>
                      <a:pt x="53582" y="74937"/>
                      <a:pt x="40247" y="82557"/>
                      <a:pt x="44057" y="81287"/>
                    </a:cubicBezTo>
                    <a:cubicBezTo>
                      <a:pt x="63743" y="72397"/>
                      <a:pt x="114543" y="38107"/>
                      <a:pt x="134863" y="26043"/>
                    </a:cubicBezTo>
                    <a:cubicBezTo>
                      <a:pt x="145657" y="19693"/>
                      <a:pt x="153913" y="8262"/>
                      <a:pt x="165978" y="5087"/>
                    </a:cubicBezTo>
                    <a:cubicBezTo>
                      <a:pt x="171057" y="3182"/>
                      <a:pt x="178043" y="10168"/>
                      <a:pt x="185028" y="127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4E46D953-6532-4521-B2B1-647E1BEBCDD8}"/>
                  </a:ext>
                </a:extLst>
              </p:cNvPr>
              <p:cNvSpPr/>
              <p:nvPr/>
            </p:nvSpPr>
            <p:spPr>
              <a:xfrm>
                <a:off x="6891935" y="2250758"/>
                <a:ext cx="50800" cy="57150"/>
              </a:xfrm>
              <a:custGeom>
                <a:avLst/>
                <a:gdLst>
                  <a:gd name="connsiteX0" fmla="*/ 51156 w 50800"/>
                  <a:gd name="connsiteY0" fmla="*/ 4763 h 57150"/>
                  <a:gd name="connsiteX1" fmla="*/ 5435 w 50800"/>
                  <a:gd name="connsiteY1" fmla="*/ 35242 h 57150"/>
                  <a:gd name="connsiteX2" fmla="*/ 21310 w 50800"/>
                  <a:gd name="connsiteY2" fmla="*/ 52388 h 57150"/>
                  <a:gd name="connsiteX3" fmla="*/ 51156 w 50800"/>
                  <a:gd name="connsiteY3" fmla="*/ 476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00" h="57150">
                    <a:moveTo>
                      <a:pt x="51156" y="4763"/>
                    </a:moveTo>
                    <a:cubicBezTo>
                      <a:pt x="35915" y="14922"/>
                      <a:pt x="15596" y="20002"/>
                      <a:pt x="5435" y="35242"/>
                    </a:cubicBezTo>
                    <a:cubicBezTo>
                      <a:pt x="1625" y="41592"/>
                      <a:pt x="14960" y="56832"/>
                      <a:pt x="21310" y="52388"/>
                    </a:cubicBezTo>
                    <a:cubicBezTo>
                      <a:pt x="37185" y="42227"/>
                      <a:pt x="51156" y="4763"/>
                      <a:pt x="51156" y="47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D1280FD3-840D-4FA9-8003-3FD241D7A48E}"/>
                  </a:ext>
                </a:extLst>
              </p:cNvPr>
              <p:cNvSpPr/>
              <p:nvPr/>
            </p:nvSpPr>
            <p:spPr>
              <a:xfrm>
                <a:off x="11225222" y="3816667"/>
                <a:ext cx="31750" cy="50800"/>
              </a:xfrm>
              <a:custGeom>
                <a:avLst/>
                <a:gdLst>
                  <a:gd name="connsiteX0" fmla="*/ 33328 w 31750"/>
                  <a:gd name="connsiteY0" fmla="*/ 4763 h 50800"/>
                  <a:gd name="connsiteX1" fmla="*/ 7928 w 31750"/>
                  <a:gd name="connsiteY1" fmla="*/ 51117 h 50800"/>
                  <a:gd name="connsiteX2" fmla="*/ 16819 w 31750"/>
                  <a:gd name="connsiteY2" fmla="*/ 18098 h 50800"/>
                  <a:gd name="connsiteX3" fmla="*/ 33328 w 31750"/>
                  <a:gd name="connsiteY3" fmla="*/ 4763 h 5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50" h="50800">
                    <a:moveTo>
                      <a:pt x="33328" y="4763"/>
                    </a:moveTo>
                    <a:cubicBezTo>
                      <a:pt x="25073" y="20003"/>
                      <a:pt x="21898" y="40323"/>
                      <a:pt x="7928" y="51117"/>
                    </a:cubicBezTo>
                    <a:cubicBezTo>
                      <a:pt x="-962" y="58103"/>
                      <a:pt x="11103" y="28258"/>
                      <a:pt x="16819" y="18098"/>
                    </a:cubicBezTo>
                    <a:cubicBezTo>
                      <a:pt x="19994" y="11748"/>
                      <a:pt x="33328" y="4763"/>
                      <a:pt x="33328" y="47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908B66B2-F7A9-49F7-ADFF-B7E488CFEFEA}"/>
                  </a:ext>
                </a:extLst>
              </p:cNvPr>
              <p:cNvSpPr/>
              <p:nvPr/>
            </p:nvSpPr>
            <p:spPr>
              <a:xfrm>
                <a:off x="11793896" y="3076744"/>
                <a:ext cx="12700" cy="19050"/>
              </a:xfrm>
              <a:custGeom>
                <a:avLst/>
                <a:gdLst>
                  <a:gd name="connsiteX0" fmla="*/ 5674 w 12700"/>
                  <a:gd name="connsiteY0" fmla="*/ 4911 h 19050"/>
                  <a:gd name="connsiteX1" fmla="*/ 8849 w 12700"/>
                  <a:gd name="connsiteY1" fmla="*/ 1697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0" h="19050">
                    <a:moveTo>
                      <a:pt x="5674" y="4911"/>
                    </a:moveTo>
                    <a:cubicBezTo>
                      <a:pt x="1864" y="3006"/>
                      <a:pt x="11389" y="20151"/>
                      <a:pt x="8849" y="16976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00CA4FF8-2256-4492-9CD4-D59ECAC6E62F}"/>
                  </a:ext>
                </a:extLst>
              </p:cNvPr>
              <p:cNvSpPr/>
              <p:nvPr/>
            </p:nvSpPr>
            <p:spPr>
              <a:xfrm>
                <a:off x="10788968" y="4691063"/>
                <a:ext cx="6350" cy="12700"/>
              </a:xfrm>
              <a:custGeom>
                <a:avLst/>
                <a:gdLst>
                  <a:gd name="connsiteX0" fmla="*/ 6032 w 6350"/>
                  <a:gd name="connsiteY0" fmla="*/ 4763 h 12700"/>
                  <a:gd name="connsiteX1" fmla="*/ 4763 w 6350"/>
                  <a:gd name="connsiteY1" fmla="*/ 11747 h 12700"/>
                  <a:gd name="connsiteX2" fmla="*/ 6032 w 6350"/>
                  <a:gd name="connsiteY2" fmla="*/ 4763 h 12700"/>
                  <a:gd name="connsiteX3" fmla="*/ 6032 w 6350"/>
                  <a:gd name="connsiteY3" fmla="*/ 4763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12700">
                    <a:moveTo>
                      <a:pt x="6032" y="4763"/>
                    </a:moveTo>
                    <a:cubicBezTo>
                      <a:pt x="5397" y="7303"/>
                      <a:pt x="4763" y="11747"/>
                      <a:pt x="4763" y="11747"/>
                    </a:cubicBezTo>
                    <a:cubicBezTo>
                      <a:pt x="4763" y="11747"/>
                      <a:pt x="5397" y="6667"/>
                      <a:pt x="6032" y="4763"/>
                    </a:cubicBezTo>
                    <a:lnTo>
                      <a:pt x="6032" y="476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16CDAD2F-3FA9-44DA-A121-D2C8DD5D72D5}"/>
                  </a:ext>
                </a:extLst>
              </p:cNvPr>
              <p:cNvSpPr/>
              <p:nvPr/>
            </p:nvSpPr>
            <p:spPr>
              <a:xfrm>
                <a:off x="11812768" y="3906630"/>
                <a:ext cx="25400" cy="152400"/>
              </a:xfrm>
              <a:custGeom>
                <a:avLst/>
                <a:gdLst>
                  <a:gd name="connsiteX0" fmla="*/ 10297 w 25400"/>
                  <a:gd name="connsiteY0" fmla="*/ 105936 h 152400"/>
                  <a:gd name="connsiteX1" fmla="*/ 20457 w 25400"/>
                  <a:gd name="connsiteY1" fmla="*/ 5605 h 152400"/>
                  <a:gd name="connsiteX2" fmla="*/ 16012 w 25400"/>
                  <a:gd name="connsiteY2" fmla="*/ 15130 h 152400"/>
                  <a:gd name="connsiteX3" fmla="*/ 22362 w 25400"/>
                  <a:gd name="connsiteY3" fmla="*/ 50691 h 152400"/>
                  <a:gd name="connsiteX4" fmla="*/ 14742 w 25400"/>
                  <a:gd name="connsiteY4" fmla="*/ 111650 h 152400"/>
                  <a:gd name="connsiteX5" fmla="*/ 8392 w 25400"/>
                  <a:gd name="connsiteY5" fmla="*/ 149750 h 152400"/>
                  <a:gd name="connsiteX6" fmla="*/ 10297 w 25400"/>
                  <a:gd name="connsiteY6" fmla="*/ 105936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0" h="152400">
                    <a:moveTo>
                      <a:pt x="10297" y="105936"/>
                    </a:moveTo>
                    <a:cubicBezTo>
                      <a:pt x="13472" y="72280"/>
                      <a:pt x="17917" y="39261"/>
                      <a:pt x="20457" y="5605"/>
                    </a:cubicBezTo>
                    <a:cubicBezTo>
                      <a:pt x="20457" y="1795"/>
                      <a:pt x="16012" y="11955"/>
                      <a:pt x="16012" y="15130"/>
                    </a:cubicBezTo>
                    <a:cubicBezTo>
                      <a:pt x="16647" y="27195"/>
                      <a:pt x="21726" y="38625"/>
                      <a:pt x="22362" y="50691"/>
                    </a:cubicBezTo>
                    <a:cubicBezTo>
                      <a:pt x="22362" y="58311"/>
                      <a:pt x="17282" y="98316"/>
                      <a:pt x="14742" y="111650"/>
                    </a:cubicBezTo>
                    <a:cubicBezTo>
                      <a:pt x="12837" y="124350"/>
                      <a:pt x="16012" y="159911"/>
                      <a:pt x="8392" y="149750"/>
                    </a:cubicBezTo>
                    <a:cubicBezTo>
                      <a:pt x="-499" y="138320"/>
                      <a:pt x="9662" y="120541"/>
                      <a:pt x="10297" y="10593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06E9FBF4-1B4B-4AD8-AB4C-35E465E7E8AD}"/>
                  </a:ext>
                </a:extLst>
              </p:cNvPr>
              <p:cNvSpPr/>
              <p:nvPr/>
            </p:nvSpPr>
            <p:spPr>
              <a:xfrm>
                <a:off x="6452553" y="4580572"/>
                <a:ext cx="31750" cy="44450"/>
              </a:xfrm>
              <a:custGeom>
                <a:avLst/>
                <a:gdLst>
                  <a:gd name="connsiteX0" fmla="*/ 29527 w 31750"/>
                  <a:gd name="connsiteY0" fmla="*/ 42228 h 44450"/>
                  <a:gd name="connsiteX1" fmla="*/ 4763 w 31750"/>
                  <a:gd name="connsiteY1" fmla="*/ 4763 h 44450"/>
                  <a:gd name="connsiteX2" fmla="*/ 29527 w 31750"/>
                  <a:gd name="connsiteY2" fmla="*/ 42228 h 44450"/>
                  <a:gd name="connsiteX3" fmla="*/ 29527 w 31750"/>
                  <a:gd name="connsiteY3" fmla="*/ 42228 h 44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50" h="44450">
                    <a:moveTo>
                      <a:pt x="29527" y="42228"/>
                    </a:moveTo>
                    <a:cubicBezTo>
                      <a:pt x="21272" y="29528"/>
                      <a:pt x="4763" y="4763"/>
                      <a:pt x="4763" y="4763"/>
                    </a:cubicBezTo>
                    <a:cubicBezTo>
                      <a:pt x="4763" y="4763"/>
                      <a:pt x="21272" y="29528"/>
                      <a:pt x="29527" y="42228"/>
                    </a:cubicBezTo>
                    <a:lnTo>
                      <a:pt x="29527" y="422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83AF1E27-C8B1-4A3B-88E4-D3781AA94089}"/>
                  </a:ext>
                </a:extLst>
              </p:cNvPr>
              <p:cNvSpPr/>
              <p:nvPr/>
            </p:nvSpPr>
            <p:spPr>
              <a:xfrm>
                <a:off x="6435408" y="4536122"/>
                <a:ext cx="12700" cy="19050"/>
              </a:xfrm>
              <a:custGeom>
                <a:avLst/>
                <a:gdLst>
                  <a:gd name="connsiteX0" fmla="*/ 4763 w 12700"/>
                  <a:gd name="connsiteY0" fmla="*/ 4763 h 19050"/>
                  <a:gd name="connsiteX1" fmla="*/ 7938 w 12700"/>
                  <a:gd name="connsiteY1" fmla="*/ 15558 h 19050"/>
                  <a:gd name="connsiteX2" fmla="*/ 4763 w 12700"/>
                  <a:gd name="connsiteY2" fmla="*/ 4763 h 19050"/>
                  <a:gd name="connsiteX3" fmla="*/ 4763 w 12700"/>
                  <a:gd name="connsiteY3" fmla="*/ 476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" h="19050">
                    <a:moveTo>
                      <a:pt x="4763" y="4763"/>
                    </a:moveTo>
                    <a:cubicBezTo>
                      <a:pt x="6033" y="8573"/>
                      <a:pt x="7938" y="15558"/>
                      <a:pt x="7938" y="15558"/>
                    </a:cubicBezTo>
                    <a:cubicBezTo>
                      <a:pt x="7938" y="15558"/>
                      <a:pt x="6033" y="8573"/>
                      <a:pt x="4763" y="4763"/>
                    </a:cubicBezTo>
                    <a:lnTo>
                      <a:pt x="4763" y="476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D5D633A6-03AA-4D97-BD06-3F0870D33F9B}"/>
                  </a:ext>
                </a:extLst>
              </p:cNvPr>
              <p:cNvSpPr/>
              <p:nvPr/>
            </p:nvSpPr>
            <p:spPr>
              <a:xfrm>
                <a:off x="10544493" y="5630221"/>
                <a:ext cx="400050" cy="355600"/>
              </a:xfrm>
              <a:custGeom>
                <a:avLst/>
                <a:gdLst>
                  <a:gd name="connsiteX0" fmla="*/ 4763 w 400050"/>
                  <a:gd name="connsiteY0" fmla="*/ 351479 h 355600"/>
                  <a:gd name="connsiteX1" fmla="*/ 83502 w 400050"/>
                  <a:gd name="connsiteY1" fmla="*/ 293694 h 355600"/>
                  <a:gd name="connsiteX2" fmla="*/ 101282 w 400050"/>
                  <a:gd name="connsiteY2" fmla="*/ 264484 h 355600"/>
                  <a:gd name="connsiteX3" fmla="*/ 144463 w 400050"/>
                  <a:gd name="connsiteY3" fmla="*/ 223844 h 355600"/>
                  <a:gd name="connsiteX4" fmla="*/ 224472 w 400050"/>
                  <a:gd name="connsiteY4" fmla="*/ 170504 h 355600"/>
                  <a:gd name="connsiteX5" fmla="*/ 254317 w 400050"/>
                  <a:gd name="connsiteY5" fmla="*/ 142564 h 355600"/>
                  <a:gd name="connsiteX6" fmla="*/ 249238 w 400050"/>
                  <a:gd name="connsiteY6" fmla="*/ 149549 h 355600"/>
                  <a:gd name="connsiteX7" fmla="*/ 300038 w 400050"/>
                  <a:gd name="connsiteY7" fmla="*/ 106369 h 355600"/>
                  <a:gd name="connsiteX8" fmla="*/ 294957 w 400050"/>
                  <a:gd name="connsiteY8" fmla="*/ 105734 h 355600"/>
                  <a:gd name="connsiteX9" fmla="*/ 352107 w 400050"/>
                  <a:gd name="connsiteY9" fmla="*/ 53029 h 355600"/>
                  <a:gd name="connsiteX10" fmla="*/ 391477 w 400050"/>
                  <a:gd name="connsiteY10" fmla="*/ 4769 h 355600"/>
                  <a:gd name="connsiteX11" fmla="*/ 345122 w 400050"/>
                  <a:gd name="connsiteY11" fmla="*/ 81604 h 355600"/>
                  <a:gd name="connsiteX12" fmla="*/ 329882 w 400050"/>
                  <a:gd name="connsiteY12" fmla="*/ 103829 h 355600"/>
                  <a:gd name="connsiteX13" fmla="*/ 105092 w 400050"/>
                  <a:gd name="connsiteY13" fmla="*/ 293059 h 35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00050" h="355600">
                    <a:moveTo>
                      <a:pt x="4763" y="351479"/>
                    </a:moveTo>
                    <a:cubicBezTo>
                      <a:pt x="8572" y="348939"/>
                      <a:pt x="79057" y="298139"/>
                      <a:pt x="83502" y="293694"/>
                    </a:cubicBezTo>
                    <a:cubicBezTo>
                      <a:pt x="91757" y="285439"/>
                      <a:pt x="93663" y="272739"/>
                      <a:pt x="101282" y="264484"/>
                    </a:cubicBezTo>
                    <a:cubicBezTo>
                      <a:pt x="113982" y="249879"/>
                      <a:pt x="129222" y="236544"/>
                      <a:pt x="144463" y="223844"/>
                    </a:cubicBezTo>
                    <a:cubicBezTo>
                      <a:pt x="168592" y="204794"/>
                      <a:pt x="201613" y="189554"/>
                      <a:pt x="224472" y="170504"/>
                    </a:cubicBezTo>
                    <a:cubicBezTo>
                      <a:pt x="235267" y="161614"/>
                      <a:pt x="244157" y="151454"/>
                      <a:pt x="254317" y="142564"/>
                    </a:cubicBezTo>
                    <a:cubicBezTo>
                      <a:pt x="256222" y="140659"/>
                      <a:pt x="246697" y="151454"/>
                      <a:pt x="249238" y="149549"/>
                    </a:cubicBezTo>
                    <a:cubicBezTo>
                      <a:pt x="266382" y="135579"/>
                      <a:pt x="284163" y="121609"/>
                      <a:pt x="300038" y="106369"/>
                    </a:cubicBezTo>
                    <a:cubicBezTo>
                      <a:pt x="301307" y="105099"/>
                      <a:pt x="293688" y="107639"/>
                      <a:pt x="294957" y="105734"/>
                    </a:cubicBezTo>
                    <a:cubicBezTo>
                      <a:pt x="310832" y="85414"/>
                      <a:pt x="333692" y="71444"/>
                      <a:pt x="352107" y="53029"/>
                    </a:cubicBezTo>
                    <a:cubicBezTo>
                      <a:pt x="357822" y="47314"/>
                      <a:pt x="390842" y="4134"/>
                      <a:pt x="391477" y="4769"/>
                    </a:cubicBezTo>
                    <a:cubicBezTo>
                      <a:pt x="414338" y="39059"/>
                      <a:pt x="357822" y="68269"/>
                      <a:pt x="345122" y="81604"/>
                    </a:cubicBezTo>
                    <a:cubicBezTo>
                      <a:pt x="338772" y="87954"/>
                      <a:pt x="335597" y="97479"/>
                      <a:pt x="329882" y="103829"/>
                    </a:cubicBezTo>
                    <a:cubicBezTo>
                      <a:pt x="266382" y="176219"/>
                      <a:pt x="184467" y="238449"/>
                      <a:pt x="105092" y="29305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2EF8867A-8BE4-4664-85DA-5F6D8366D823}"/>
                  </a:ext>
                </a:extLst>
              </p:cNvPr>
              <p:cNvSpPr/>
              <p:nvPr/>
            </p:nvSpPr>
            <p:spPr>
              <a:xfrm>
                <a:off x="10538143" y="5976938"/>
                <a:ext cx="12700" cy="19050"/>
              </a:xfrm>
              <a:custGeom>
                <a:avLst/>
                <a:gdLst>
                  <a:gd name="connsiteX0" fmla="*/ 4763 w 12700"/>
                  <a:gd name="connsiteY0" fmla="*/ 16828 h 19050"/>
                  <a:gd name="connsiteX1" fmla="*/ 10477 w 12700"/>
                  <a:gd name="connsiteY1" fmla="*/ 4763 h 19050"/>
                  <a:gd name="connsiteX2" fmla="*/ 10477 w 12700"/>
                  <a:gd name="connsiteY2" fmla="*/ 476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00" h="19050">
                    <a:moveTo>
                      <a:pt x="4763" y="16828"/>
                    </a:moveTo>
                    <a:cubicBezTo>
                      <a:pt x="6667" y="13017"/>
                      <a:pt x="8572" y="8572"/>
                      <a:pt x="10477" y="4763"/>
                    </a:cubicBezTo>
                    <a:lnTo>
                      <a:pt x="10477" y="4763"/>
                    </a:ln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47871B99-BF45-4C7F-87E4-2214BEF09A68}"/>
                  </a:ext>
                </a:extLst>
              </p:cNvPr>
              <p:cNvSpPr/>
              <p:nvPr/>
            </p:nvSpPr>
            <p:spPr>
              <a:xfrm>
                <a:off x="6553168" y="838518"/>
                <a:ext cx="2419350" cy="1587500"/>
              </a:xfrm>
              <a:custGeom>
                <a:avLst/>
                <a:gdLst>
                  <a:gd name="connsiteX0" fmla="*/ 5112 w 2419350"/>
                  <a:gd name="connsiteY0" fmla="*/ 1582103 h 1587500"/>
                  <a:gd name="connsiteX1" fmla="*/ 1664367 w 2419350"/>
                  <a:gd name="connsiteY1" fmla="*/ 136207 h 1587500"/>
                  <a:gd name="connsiteX2" fmla="*/ 2411127 w 2419350"/>
                  <a:gd name="connsiteY2" fmla="*/ 6032 h 1587500"/>
                  <a:gd name="connsiteX3" fmla="*/ 2414938 w 2419350"/>
                  <a:gd name="connsiteY3" fmla="*/ 4763 h 1587500"/>
                  <a:gd name="connsiteX4" fmla="*/ 1981232 w 2419350"/>
                  <a:gd name="connsiteY4" fmla="*/ 63182 h 1587500"/>
                  <a:gd name="connsiteX5" fmla="*/ 1898682 w 2419350"/>
                  <a:gd name="connsiteY5" fmla="*/ 86043 h 1587500"/>
                  <a:gd name="connsiteX6" fmla="*/ 1834547 w 2419350"/>
                  <a:gd name="connsiteY6" fmla="*/ 112713 h 1587500"/>
                  <a:gd name="connsiteX7" fmla="*/ 1799622 w 2419350"/>
                  <a:gd name="connsiteY7" fmla="*/ 119063 h 1587500"/>
                  <a:gd name="connsiteX8" fmla="*/ 1763427 w 2419350"/>
                  <a:gd name="connsiteY8" fmla="*/ 135572 h 1587500"/>
                  <a:gd name="connsiteX9" fmla="*/ 1653572 w 2419350"/>
                  <a:gd name="connsiteY9" fmla="*/ 173672 h 1587500"/>
                  <a:gd name="connsiteX10" fmla="*/ 1625632 w 2419350"/>
                  <a:gd name="connsiteY10" fmla="*/ 187643 h 1587500"/>
                  <a:gd name="connsiteX11" fmla="*/ 1588167 w 2419350"/>
                  <a:gd name="connsiteY11" fmla="*/ 193993 h 1587500"/>
                  <a:gd name="connsiteX12" fmla="*/ 1536732 w 2419350"/>
                  <a:gd name="connsiteY12" fmla="*/ 221932 h 1587500"/>
                  <a:gd name="connsiteX13" fmla="*/ 1532922 w 2419350"/>
                  <a:gd name="connsiteY13" fmla="*/ 228282 h 1587500"/>
                  <a:gd name="connsiteX14" fmla="*/ 1492917 w 2419350"/>
                  <a:gd name="connsiteY14" fmla="*/ 243522 h 1587500"/>
                  <a:gd name="connsiteX15" fmla="*/ 1527842 w 2419350"/>
                  <a:gd name="connsiteY15" fmla="*/ 248602 h 1587500"/>
                  <a:gd name="connsiteX16" fmla="*/ 1435132 w 2419350"/>
                  <a:gd name="connsiteY16" fmla="*/ 291782 h 1587500"/>
                  <a:gd name="connsiteX17" fmla="*/ 1404652 w 2419350"/>
                  <a:gd name="connsiteY17" fmla="*/ 318452 h 1587500"/>
                  <a:gd name="connsiteX18" fmla="*/ 1385602 w 2419350"/>
                  <a:gd name="connsiteY18" fmla="*/ 334327 h 1587500"/>
                  <a:gd name="connsiteX19" fmla="*/ 1433227 w 2419350"/>
                  <a:gd name="connsiteY19" fmla="*/ 317182 h 1587500"/>
                  <a:gd name="connsiteX20" fmla="*/ 1411002 w 2419350"/>
                  <a:gd name="connsiteY20" fmla="*/ 331788 h 1587500"/>
                  <a:gd name="connsiteX21" fmla="*/ 1361472 w 2419350"/>
                  <a:gd name="connsiteY21" fmla="*/ 347027 h 1587500"/>
                  <a:gd name="connsiteX22" fmla="*/ 1327817 w 2419350"/>
                  <a:gd name="connsiteY22" fmla="*/ 360363 h 1587500"/>
                  <a:gd name="connsiteX23" fmla="*/ 1426242 w 2419350"/>
                  <a:gd name="connsiteY23" fmla="*/ 344488 h 1587500"/>
                  <a:gd name="connsiteX24" fmla="*/ 1417352 w 2419350"/>
                  <a:gd name="connsiteY24" fmla="*/ 341947 h 1587500"/>
                  <a:gd name="connsiteX25" fmla="*/ 1471327 w 2419350"/>
                  <a:gd name="connsiteY25" fmla="*/ 320357 h 1587500"/>
                  <a:gd name="connsiteX26" fmla="*/ 1495457 w 2419350"/>
                  <a:gd name="connsiteY26" fmla="*/ 310197 h 1587500"/>
                  <a:gd name="connsiteX27" fmla="*/ 1507522 w 2419350"/>
                  <a:gd name="connsiteY27" fmla="*/ 328613 h 1587500"/>
                  <a:gd name="connsiteX28" fmla="*/ 1464977 w 2419350"/>
                  <a:gd name="connsiteY28" fmla="*/ 348932 h 1587500"/>
                  <a:gd name="connsiteX29" fmla="*/ 1449102 w 2419350"/>
                  <a:gd name="connsiteY29" fmla="*/ 343852 h 1587500"/>
                  <a:gd name="connsiteX30" fmla="*/ 1433227 w 2419350"/>
                  <a:gd name="connsiteY30" fmla="*/ 355282 h 1587500"/>
                  <a:gd name="connsiteX31" fmla="*/ 1432592 w 2419350"/>
                  <a:gd name="connsiteY31" fmla="*/ 357188 h 1587500"/>
                  <a:gd name="connsiteX32" fmla="*/ 1395763 w 2419350"/>
                  <a:gd name="connsiteY32" fmla="*/ 375602 h 1587500"/>
                  <a:gd name="connsiteX33" fmla="*/ 1364647 w 2419350"/>
                  <a:gd name="connsiteY33" fmla="*/ 386397 h 1587500"/>
                  <a:gd name="connsiteX34" fmla="*/ 1358932 w 2419350"/>
                  <a:gd name="connsiteY34" fmla="*/ 405447 h 1587500"/>
                  <a:gd name="connsiteX35" fmla="*/ 1356392 w 2419350"/>
                  <a:gd name="connsiteY35" fmla="*/ 401638 h 1587500"/>
                  <a:gd name="connsiteX36" fmla="*/ 1299242 w 2419350"/>
                  <a:gd name="connsiteY36" fmla="*/ 430847 h 1587500"/>
                  <a:gd name="connsiteX37" fmla="*/ 1306227 w 2419350"/>
                  <a:gd name="connsiteY37" fmla="*/ 430213 h 1587500"/>
                  <a:gd name="connsiteX38" fmla="*/ 1365282 w 2419350"/>
                  <a:gd name="connsiteY38" fmla="*/ 418782 h 1587500"/>
                  <a:gd name="connsiteX39" fmla="*/ 1361472 w 2419350"/>
                  <a:gd name="connsiteY39" fmla="*/ 426402 h 1587500"/>
                  <a:gd name="connsiteX40" fmla="*/ 1373538 w 2419350"/>
                  <a:gd name="connsiteY40" fmla="*/ 420052 h 1587500"/>
                  <a:gd name="connsiteX41" fmla="*/ 1421163 w 2419350"/>
                  <a:gd name="connsiteY41" fmla="*/ 401638 h 1587500"/>
                  <a:gd name="connsiteX42" fmla="*/ 1397667 w 2419350"/>
                  <a:gd name="connsiteY42" fmla="*/ 433388 h 1587500"/>
                  <a:gd name="connsiteX43" fmla="*/ 1344327 w 2419350"/>
                  <a:gd name="connsiteY43" fmla="*/ 459422 h 1587500"/>
                  <a:gd name="connsiteX44" fmla="*/ 1338613 w 2419350"/>
                  <a:gd name="connsiteY44" fmla="*/ 450532 h 1587500"/>
                  <a:gd name="connsiteX45" fmla="*/ 1323372 w 2419350"/>
                  <a:gd name="connsiteY45" fmla="*/ 458788 h 1587500"/>
                  <a:gd name="connsiteX46" fmla="*/ 1285907 w 2419350"/>
                  <a:gd name="connsiteY46" fmla="*/ 481647 h 1587500"/>
                  <a:gd name="connsiteX47" fmla="*/ 1263682 w 2419350"/>
                  <a:gd name="connsiteY47" fmla="*/ 487997 h 1587500"/>
                  <a:gd name="connsiteX48" fmla="*/ 1274477 w 2419350"/>
                  <a:gd name="connsiteY48" fmla="*/ 453707 h 1587500"/>
                  <a:gd name="connsiteX49" fmla="*/ 1209707 w 2419350"/>
                  <a:gd name="connsiteY49" fmla="*/ 461327 h 1587500"/>
                  <a:gd name="connsiteX50" fmla="*/ 1252888 w 2419350"/>
                  <a:gd name="connsiteY50" fmla="*/ 427672 h 1587500"/>
                  <a:gd name="connsiteX51" fmla="*/ 1266222 w 2419350"/>
                  <a:gd name="connsiteY51" fmla="*/ 409893 h 1587500"/>
                  <a:gd name="connsiteX52" fmla="*/ 1247807 w 2419350"/>
                  <a:gd name="connsiteY52" fmla="*/ 427672 h 1587500"/>
                  <a:gd name="connsiteX53" fmla="*/ 1221138 w 2419350"/>
                  <a:gd name="connsiteY53" fmla="*/ 444818 h 1587500"/>
                  <a:gd name="connsiteX54" fmla="*/ 1203992 w 2419350"/>
                  <a:gd name="connsiteY54" fmla="*/ 467043 h 1587500"/>
                  <a:gd name="connsiteX55" fmla="*/ 1161447 w 2419350"/>
                  <a:gd name="connsiteY55" fmla="*/ 476568 h 1587500"/>
                  <a:gd name="connsiteX56" fmla="*/ 1205263 w 2419350"/>
                  <a:gd name="connsiteY56" fmla="*/ 416877 h 1587500"/>
                  <a:gd name="connsiteX57" fmla="*/ 1191292 w 2419350"/>
                  <a:gd name="connsiteY57" fmla="*/ 423227 h 1587500"/>
                  <a:gd name="connsiteX58" fmla="*/ 1171607 w 2419350"/>
                  <a:gd name="connsiteY58" fmla="*/ 441643 h 1587500"/>
                  <a:gd name="connsiteX59" fmla="*/ 1130967 w 2419350"/>
                  <a:gd name="connsiteY59" fmla="*/ 469582 h 1587500"/>
                  <a:gd name="connsiteX60" fmla="*/ 1124617 w 2419350"/>
                  <a:gd name="connsiteY60" fmla="*/ 467043 h 1587500"/>
                  <a:gd name="connsiteX61" fmla="*/ 1038257 w 2419350"/>
                  <a:gd name="connsiteY61" fmla="*/ 482282 h 1587500"/>
                  <a:gd name="connsiteX62" fmla="*/ 974122 w 2419350"/>
                  <a:gd name="connsiteY62" fmla="*/ 517843 h 1587500"/>
                  <a:gd name="connsiteX63" fmla="*/ 983647 w 2419350"/>
                  <a:gd name="connsiteY63" fmla="*/ 513397 h 1587500"/>
                  <a:gd name="connsiteX64" fmla="*/ 908717 w 2419350"/>
                  <a:gd name="connsiteY64" fmla="*/ 565468 h 1587500"/>
                  <a:gd name="connsiteX65" fmla="*/ 896652 w 2419350"/>
                  <a:gd name="connsiteY65" fmla="*/ 569277 h 1587500"/>
                  <a:gd name="connsiteX66" fmla="*/ 891572 w 2419350"/>
                  <a:gd name="connsiteY66" fmla="*/ 585152 h 1587500"/>
                  <a:gd name="connsiteX67" fmla="*/ 809657 w 2419350"/>
                  <a:gd name="connsiteY67" fmla="*/ 660083 h 1587500"/>
                  <a:gd name="connsiteX68" fmla="*/ 783622 w 2419350"/>
                  <a:gd name="connsiteY68" fmla="*/ 690563 h 1587500"/>
                  <a:gd name="connsiteX69" fmla="*/ 763302 w 2419350"/>
                  <a:gd name="connsiteY69" fmla="*/ 710883 h 1587500"/>
                  <a:gd name="connsiteX70" fmla="*/ 751238 w 2419350"/>
                  <a:gd name="connsiteY70" fmla="*/ 716597 h 1587500"/>
                  <a:gd name="connsiteX71" fmla="*/ 734727 w 2419350"/>
                  <a:gd name="connsiteY71" fmla="*/ 757238 h 1587500"/>
                  <a:gd name="connsiteX72" fmla="*/ 698532 w 2419350"/>
                  <a:gd name="connsiteY72" fmla="*/ 780733 h 1587500"/>
                  <a:gd name="connsiteX73" fmla="*/ 588677 w 2419350"/>
                  <a:gd name="connsiteY73" fmla="*/ 882333 h 1587500"/>
                  <a:gd name="connsiteX74" fmla="*/ 544227 w 2419350"/>
                  <a:gd name="connsiteY74" fmla="*/ 932497 h 1587500"/>
                  <a:gd name="connsiteX75" fmla="*/ 579788 w 2419350"/>
                  <a:gd name="connsiteY75" fmla="*/ 903287 h 1587500"/>
                  <a:gd name="connsiteX76" fmla="*/ 596297 w 2419350"/>
                  <a:gd name="connsiteY76" fmla="*/ 901383 h 1587500"/>
                  <a:gd name="connsiteX77" fmla="*/ 629952 w 2419350"/>
                  <a:gd name="connsiteY77" fmla="*/ 868362 h 1587500"/>
                  <a:gd name="connsiteX78" fmla="*/ 661067 w 2419350"/>
                  <a:gd name="connsiteY78" fmla="*/ 846137 h 1587500"/>
                  <a:gd name="connsiteX79" fmla="*/ 699167 w 2419350"/>
                  <a:gd name="connsiteY79" fmla="*/ 808672 h 1587500"/>
                  <a:gd name="connsiteX80" fmla="*/ 728377 w 2419350"/>
                  <a:gd name="connsiteY80" fmla="*/ 818833 h 1587500"/>
                  <a:gd name="connsiteX81" fmla="*/ 793782 w 2419350"/>
                  <a:gd name="connsiteY81" fmla="*/ 781368 h 1587500"/>
                  <a:gd name="connsiteX82" fmla="*/ 861092 w 2419350"/>
                  <a:gd name="connsiteY82" fmla="*/ 715963 h 1587500"/>
                  <a:gd name="connsiteX83" fmla="*/ 922688 w 2419350"/>
                  <a:gd name="connsiteY83" fmla="*/ 689927 h 1587500"/>
                  <a:gd name="connsiteX84" fmla="*/ 989363 w 2419350"/>
                  <a:gd name="connsiteY84" fmla="*/ 654368 h 1587500"/>
                  <a:gd name="connsiteX85" fmla="*/ 1028732 w 2419350"/>
                  <a:gd name="connsiteY85" fmla="*/ 627063 h 1587500"/>
                  <a:gd name="connsiteX86" fmla="*/ 1039527 w 2419350"/>
                  <a:gd name="connsiteY86" fmla="*/ 628333 h 1587500"/>
                  <a:gd name="connsiteX87" fmla="*/ 1020477 w 2419350"/>
                  <a:gd name="connsiteY87" fmla="*/ 658177 h 1587500"/>
                  <a:gd name="connsiteX88" fmla="*/ 1014763 w 2419350"/>
                  <a:gd name="connsiteY88" fmla="*/ 658177 h 1587500"/>
                  <a:gd name="connsiteX89" fmla="*/ 990632 w 2419350"/>
                  <a:gd name="connsiteY89" fmla="*/ 715963 h 1587500"/>
                  <a:gd name="connsiteX90" fmla="*/ 983013 w 2419350"/>
                  <a:gd name="connsiteY90" fmla="*/ 717868 h 1587500"/>
                  <a:gd name="connsiteX91" fmla="*/ 963327 w 2419350"/>
                  <a:gd name="connsiteY91" fmla="*/ 738188 h 1587500"/>
                  <a:gd name="connsiteX92" fmla="*/ 952532 w 2419350"/>
                  <a:gd name="connsiteY92" fmla="*/ 773747 h 1587500"/>
                  <a:gd name="connsiteX93" fmla="*/ 912527 w 2419350"/>
                  <a:gd name="connsiteY93" fmla="*/ 776288 h 1587500"/>
                  <a:gd name="connsiteX94" fmla="*/ 908717 w 2419350"/>
                  <a:gd name="connsiteY94" fmla="*/ 796608 h 1587500"/>
                  <a:gd name="connsiteX95" fmla="*/ 878872 w 2419350"/>
                  <a:gd name="connsiteY95" fmla="*/ 815658 h 1587500"/>
                  <a:gd name="connsiteX96" fmla="*/ 878872 w 2419350"/>
                  <a:gd name="connsiteY96" fmla="*/ 822643 h 1587500"/>
                  <a:gd name="connsiteX97" fmla="*/ 845217 w 2419350"/>
                  <a:gd name="connsiteY97" fmla="*/ 860743 h 1587500"/>
                  <a:gd name="connsiteX98" fmla="*/ 808388 w 2419350"/>
                  <a:gd name="connsiteY98" fmla="*/ 868997 h 1587500"/>
                  <a:gd name="connsiteX99" fmla="*/ 871252 w 2419350"/>
                  <a:gd name="connsiteY99" fmla="*/ 878522 h 1587500"/>
                  <a:gd name="connsiteX100" fmla="*/ 893477 w 2419350"/>
                  <a:gd name="connsiteY100" fmla="*/ 867728 h 1587500"/>
                  <a:gd name="connsiteX101" fmla="*/ 936657 w 2419350"/>
                  <a:gd name="connsiteY101" fmla="*/ 849312 h 1587500"/>
                  <a:gd name="connsiteX102" fmla="*/ 893477 w 2419350"/>
                  <a:gd name="connsiteY102" fmla="*/ 891222 h 1587500"/>
                  <a:gd name="connsiteX103" fmla="*/ 891572 w 2419350"/>
                  <a:gd name="connsiteY103" fmla="*/ 903922 h 1587500"/>
                  <a:gd name="connsiteX104" fmla="*/ 845852 w 2419350"/>
                  <a:gd name="connsiteY104" fmla="*/ 933768 h 1587500"/>
                  <a:gd name="connsiteX105" fmla="*/ 858552 w 2419350"/>
                  <a:gd name="connsiteY105" fmla="*/ 942022 h 1587500"/>
                  <a:gd name="connsiteX106" fmla="*/ 833152 w 2419350"/>
                  <a:gd name="connsiteY106" fmla="*/ 959168 h 1587500"/>
                  <a:gd name="connsiteX107" fmla="*/ 780447 w 2419350"/>
                  <a:gd name="connsiteY107" fmla="*/ 1008062 h 1587500"/>
                  <a:gd name="connsiteX108" fmla="*/ 782352 w 2419350"/>
                  <a:gd name="connsiteY108" fmla="*/ 1001078 h 1587500"/>
                  <a:gd name="connsiteX109" fmla="*/ 762667 w 2419350"/>
                  <a:gd name="connsiteY109" fmla="*/ 1038543 h 1587500"/>
                  <a:gd name="connsiteX110" fmla="*/ 713138 w 2419350"/>
                  <a:gd name="connsiteY110" fmla="*/ 1093153 h 1587500"/>
                  <a:gd name="connsiteX111" fmla="*/ 728377 w 2419350"/>
                  <a:gd name="connsiteY111" fmla="*/ 1090612 h 1587500"/>
                  <a:gd name="connsiteX112" fmla="*/ 706788 w 2419350"/>
                  <a:gd name="connsiteY112" fmla="*/ 1114108 h 1587500"/>
                  <a:gd name="connsiteX113" fmla="*/ 717582 w 2419350"/>
                  <a:gd name="connsiteY113" fmla="*/ 1161098 h 1587500"/>
                  <a:gd name="connsiteX114" fmla="*/ 692182 w 2419350"/>
                  <a:gd name="connsiteY114" fmla="*/ 1174433 h 1587500"/>
                  <a:gd name="connsiteX115" fmla="*/ 697263 w 2419350"/>
                  <a:gd name="connsiteY115" fmla="*/ 1164273 h 1587500"/>
                  <a:gd name="connsiteX116" fmla="*/ 668688 w 2419350"/>
                  <a:gd name="connsiteY116" fmla="*/ 1206183 h 1587500"/>
                  <a:gd name="connsiteX117" fmla="*/ 633127 w 2419350"/>
                  <a:gd name="connsiteY117" fmla="*/ 1284287 h 1587500"/>
                  <a:gd name="connsiteX118" fmla="*/ 570263 w 2419350"/>
                  <a:gd name="connsiteY118" fmla="*/ 1270953 h 1587500"/>
                  <a:gd name="connsiteX119" fmla="*/ 548038 w 2419350"/>
                  <a:gd name="connsiteY119" fmla="*/ 1284923 h 1587500"/>
                  <a:gd name="connsiteX120" fmla="*/ 519463 w 2419350"/>
                  <a:gd name="connsiteY120" fmla="*/ 1286828 h 1587500"/>
                  <a:gd name="connsiteX121" fmla="*/ 497872 w 2419350"/>
                  <a:gd name="connsiteY121" fmla="*/ 1171258 h 1587500"/>
                  <a:gd name="connsiteX122" fmla="*/ 461042 w 2419350"/>
                  <a:gd name="connsiteY122" fmla="*/ 1189037 h 1587500"/>
                  <a:gd name="connsiteX123" fmla="*/ 428657 w 2419350"/>
                  <a:gd name="connsiteY123" fmla="*/ 1154112 h 1587500"/>
                  <a:gd name="connsiteX124" fmla="*/ 415322 w 2419350"/>
                  <a:gd name="connsiteY124" fmla="*/ 1190308 h 1587500"/>
                  <a:gd name="connsiteX125" fmla="*/ 368332 w 2419350"/>
                  <a:gd name="connsiteY125" fmla="*/ 1209993 h 1587500"/>
                  <a:gd name="connsiteX126" fmla="*/ 376588 w 2419350"/>
                  <a:gd name="connsiteY126" fmla="*/ 1215708 h 1587500"/>
                  <a:gd name="connsiteX127" fmla="*/ 461677 w 2419350"/>
                  <a:gd name="connsiteY127" fmla="*/ 1226503 h 1587500"/>
                  <a:gd name="connsiteX128" fmla="*/ 453422 w 2419350"/>
                  <a:gd name="connsiteY128" fmla="*/ 1258887 h 1587500"/>
                  <a:gd name="connsiteX129" fmla="*/ 436277 w 2419350"/>
                  <a:gd name="connsiteY129" fmla="*/ 1278573 h 1587500"/>
                  <a:gd name="connsiteX130" fmla="*/ 412147 w 2419350"/>
                  <a:gd name="connsiteY130" fmla="*/ 1248093 h 1587500"/>
                  <a:gd name="connsiteX131" fmla="*/ 406432 w 2419350"/>
                  <a:gd name="connsiteY131" fmla="*/ 1298893 h 1587500"/>
                  <a:gd name="connsiteX132" fmla="*/ 381032 w 2419350"/>
                  <a:gd name="connsiteY132" fmla="*/ 1310958 h 1587500"/>
                  <a:gd name="connsiteX133" fmla="*/ 354997 w 2419350"/>
                  <a:gd name="connsiteY133" fmla="*/ 1353503 h 1587500"/>
                  <a:gd name="connsiteX134" fmla="*/ 341027 w 2419350"/>
                  <a:gd name="connsiteY134" fmla="*/ 1391603 h 1587500"/>
                  <a:gd name="connsiteX135" fmla="*/ 333407 w 2419350"/>
                  <a:gd name="connsiteY135" fmla="*/ 1470343 h 1587500"/>
                  <a:gd name="connsiteX136" fmla="*/ 306102 w 2419350"/>
                  <a:gd name="connsiteY136" fmla="*/ 1455103 h 1587500"/>
                  <a:gd name="connsiteX137" fmla="*/ 257207 w 2419350"/>
                  <a:gd name="connsiteY137" fmla="*/ 1450658 h 1587500"/>
                  <a:gd name="connsiteX138" fmla="*/ 287688 w 2419350"/>
                  <a:gd name="connsiteY138" fmla="*/ 1398587 h 1587500"/>
                  <a:gd name="connsiteX139" fmla="*/ 327057 w 2419350"/>
                  <a:gd name="connsiteY139" fmla="*/ 1418273 h 1587500"/>
                  <a:gd name="connsiteX140" fmla="*/ 321977 w 2419350"/>
                  <a:gd name="connsiteY140" fmla="*/ 1387793 h 1587500"/>
                  <a:gd name="connsiteX141" fmla="*/ 348013 w 2419350"/>
                  <a:gd name="connsiteY141" fmla="*/ 1362393 h 1587500"/>
                  <a:gd name="connsiteX142" fmla="*/ 317532 w 2419350"/>
                  <a:gd name="connsiteY142" fmla="*/ 1375093 h 1587500"/>
                  <a:gd name="connsiteX143" fmla="*/ 312452 w 2419350"/>
                  <a:gd name="connsiteY143" fmla="*/ 1348423 h 1587500"/>
                  <a:gd name="connsiteX144" fmla="*/ 295307 w 2419350"/>
                  <a:gd name="connsiteY144" fmla="*/ 1368743 h 1587500"/>
                  <a:gd name="connsiteX145" fmla="*/ 245142 w 2419350"/>
                  <a:gd name="connsiteY145" fmla="*/ 1357312 h 1587500"/>
                  <a:gd name="connsiteX146" fmla="*/ 197517 w 2419350"/>
                  <a:gd name="connsiteY146" fmla="*/ 1408748 h 1587500"/>
                  <a:gd name="connsiteX147" fmla="*/ 194342 w 2419350"/>
                  <a:gd name="connsiteY147" fmla="*/ 1400493 h 1587500"/>
                  <a:gd name="connsiteX148" fmla="*/ 179738 w 2419350"/>
                  <a:gd name="connsiteY148" fmla="*/ 1379537 h 1587500"/>
                  <a:gd name="connsiteX149" fmla="*/ 175292 w 2419350"/>
                  <a:gd name="connsiteY149" fmla="*/ 1389698 h 1587500"/>
                  <a:gd name="connsiteX150" fmla="*/ 139732 w 2419350"/>
                  <a:gd name="connsiteY150" fmla="*/ 1423987 h 1587500"/>
                  <a:gd name="connsiteX151" fmla="*/ 166402 w 2419350"/>
                  <a:gd name="connsiteY151" fmla="*/ 1380173 h 1587500"/>
                  <a:gd name="connsiteX152" fmla="*/ 127667 w 2419350"/>
                  <a:gd name="connsiteY152" fmla="*/ 1438593 h 1587500"/>
                  <a:gd name="connsiteX153" fmla="*/ 99092 w 2419350"/>
                  <a:gd name="connsiteY153" fmla="*/ 1467168 h 1587500"/>
                  <a:gd name="connsiteX154" fmla="*/ 162592 w 2419350"/>
                  <a:gd name="connsiteY154" fmla="*/ 1378903 h 1587500"/>
                  <a:gd name="connsiteX155" fmla="*/ 158782 w 2419350"/>
                  <a:gd name="connsiteY155" fmla="*/ 1374458 h 1587500"/>
                  <a:gd name="connsiteX156" fmla="*/ 133382 w 2419350"/>
                  <a:gd name="connsiteY156" fmla="*/ 1412558 h 1587500"/>
                  <a:gd name="connsiteX157" fmla="*/ 125127 w 2419350"/>
                  <a:gd name="connsiteY157" fmla="*/ 1425258 h 1587500"/>
                  <a:gd name="connsiteX158" fmla="*/ 149257 w 2419350"/>
                  <a:gd name="connsiteY158" fmla="*/ 1383348 h 1587500"/>
                  <a:gd name="connsiteX159" fmla="*/ 152432 w 2419350"/>
                  <a:gd name="connsiteY159" fmla="*/ 1378268 h 1587500"/>
                  <a:gd name="connsiteX160" fmla="*/ 112427 w 2419350"/>
                  <a:gd name="connsiteY160" fmla="*/ 1444308 h 1587500"/>
                  <a:gd name="connsiteX161" fmla="*/ 100362 w 2419350"/>
                  <a:gd name="connsiteY161" fmla="*/ 1462723 h 1587500"/>
                  <a:gd name="connsiteX162" fmla="*/ 113062 w 2419350"/>
                  <a:gd name="connsiteY162" fmla="*/ 1431608 h 1587500"/>
                  <a:gd name="connsiteX163" fmla="*/ 105442 w 2419350"/>
                  <a:gd name="connsiteY163" fmla="*/ 1450023 h 1587500"/>
                  <a:gd name="connsiteX164" fmla="*/ 84487 w 2419350"/>
                  <a:gd name="connsiteY164" fmla="*/ 1492568 h 1587500"/>
                  <a:gd name="connsiteX165" fmla="*/ 64167 w 2419350"/>
                  <a:gd name="connsiteY165" fmla="*/ 1528762 h 1587500"/>
                  <a:gd name="connsiteX166" fmla="*/ 89567 w 2419350"/>
                  <a:gd name="connsiteY166" fmla="*/ 1484312 h 1587500"/>
                  <a:gd name="connsiteX167" fmla="*/ 76867 w 2419350"/>
                  <a:gd name="connsiteY167" fmla="*/ 1495108 h 1587500"/>
                  <a:gd name="connsiteX168" fmla="*/ 62262 w 2419350"/>
                  <a:gd name="connsiteY168" fmla="*/ 1530033 h 1587500"/>
                  <a:gd name="connsiteX169" fmla="*/ 49562 w 2419350"/>
                  <a:gd name="connsiteY169" fmla="*/ 1544637 h 1587500"/>
                  <a:gd name="connsiteX170" fmla="*/ 44482 w 2419350"/>
                  <a:gd name="connsiteY170" fmla="*/ 1531937 h 1587500"/>
                  <a:gd name="connsiteX171" fmla="*/ 12732 w 2419350"/>
                  <a:gd name="connsiteY171" fmla="*/ 1578928 h 1587500"/>
                  <a:gd name="connsiteX172" fmla="*/ 8287 w 2419350"/>
                  <a:gd name="connsiteY172" fmla="*/ 1587818 h 1587500"/>
                  <a:gd name="connsiteX173" fmla="*/ 5112 w 2419350"/>
                  <a:gd name="connsiteY173" fmla="*/ 1582103 h 1587500"/>
                  <a:gd name="connsiteX174" fmla="*/ 5112 w 2419350"/>
                  <a:gd name="connsiteY174" fmla="*/ 1582103 h 158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2419350" h="1587500">
                    <a:moveTo>
                      <a:pt x="5112" y="1582103"/>
                    </a:moveTo>
                    <a:cubicBezTo>
                      <a:pt x="334042" y="898843"/>
                      <a:pt x="940467" y="368618"/>
                      <a:pt x="1664367" y="136207"/>
                    </a:cubicBezTo>
                    <a:cubicBezTo>
                      <a:pt x="1907572" y="58102"/>
                      <a:pt x="2156492" y="18097"/>
                      <a:pt x="2411127" y="6032"/>
                    </a:cubicBezTo>
                    <a:lnTo>
                      <a:pt x="2414938" y="4763"/>
                    </a:lnTo>
                    <a:cubicBezTo>
                      <a:pt x="2291113" y="18732"/>
                      <a:pt x="2106963" y="31432"/>
                      <a:pt x="1981232" y="63182"/>
                    </a:cubicBezTo>
                    <a:cubicBezTo>
                      <a:pt x="1953292" y="70168"/>
                      <a:pt x="1925352" y="77152"/>
                      <a:pt x="1898682" y="86043"/>
                    </a:cubicBezTo>
                    <a:cubicBezTo>
                      <a:pt x="1811052" y="115252"/>
                      <a:pt x="1936147" y="86043"/>
                      <a:pt x="1834547" y="112713"/>
                    </a:cubicBezTo>
                    <a:cubicBezTo>
                      <a:pt x="1823117" y="115252"/>
                      <a:pt x="1810417" y="115252"/>
                      <a:pt x="1799622" y="119063"/>
                    </a:cubicBezTo>
                    <a:cubicBezTo>
                      <a:pt x="1786922" y="122872"/>
                      <a:pt x="1775492" y="131127"/>
                      <a:pt x="1763427" y="135572"/>
                    </a:cubicBezTo>
                    <a:cubicBezTo>
                      <a:pt x="1658652" y="175577"/>
                      <a:pt x="1766602" y="127952"/>
                      <a:pt x="1653572" y="173672"/>
                    </a:cubicBezTo>
                    <a:cubicBezTo>
                      <a:pt x="1644047" y="177482"/>
                      <a:pt x="1635157" y="184468"/>
                      <a:pt x="1625632" y="187643"/>
                    </a:cubicBezTo>
                    <a:cubicBezTo>
                      <a:pt x="1613567" y="191452"/>
                      <a:pt x="1600232" y="190182"/>
                      <a:pt x="1588167" y="193993"/>
                    </a:cubicBezTo>
                    <a:cubicBezTo>
                      <a:pt x="1578007" y="197168"/>
                      <a:pt x="1547527" y="213677"/>
                      <a:pt x="1536732" y="221932"/>
                    </a:cubicBezTo>
                    <a:cubicBezTo>
                      <a:pt x="1534827" y="223202"/>
                      <a:pt x="1534827" y="227013"/>
                      <a:pt x="1532922" y="228282"/>
                    </a:cubicBezTo>
                    <a:cubicBezTo>
                      <a:pt x="1520222" y="234632"/>
                      <a:pt x="1505617" y="237807"/>
                      <a:pt x="1492917" y="243522"/>
                    </a:cubicBezTo>
                    <a:cubicBezTo>
                      <a:pt x="1489742" y="244793"/>
                      <a:pt x="1537367" y="232727"/>
                      <a:pt x="1527842" y="248602"/>
                    </a:cubicBezTo>
                    <a:cubicBezTo>
                      <a:pt x="1524032" y="254318"/>
                      <a:pt x="1453547" y="278447"/>
                      <a:pt x="1435132" y="291782"/>
                    </a:cubicBezTo>
                    <a:cubicBezTo>
                      <a:pt x="1424338" y="299402"/>
                      <a:pt x="1414813" y="310197"/>
                      <a:pt x="1404652" y="318452"/>
                    </a:cubicBezTo>
                    <a:cubicBezTo>
                      <a:pt x="1398302" y="323532"/>
                      <a:pt x="1377982" y="334327"/>
                      <a:pt x="1385602" y="334327"/>
                    </a:cubicBezTo>
                    <a:cubicBezTo>
                      <a:pt x="1402113" y="333693"/>
                      <a:pt x="1416082" y="319088"/>
                      <a:pt x="1433227" y="317182"/>
                    </a:cubicBezTo>
                    <a:cubicBezTo>
                      <a:pt x="1442117" y="316547"/>
                      <a:pt x="1419257" y="327977"/>
                      <a:pt x="1411002" y="331788"/>
                    </a:cubicBezTo>
                    <a:cubicBezTo>
                      <a:pt x="1391952" y="340677"/>
                      <a:pt x="1380522" y="340677"/>
                      <a:pt x="1361472" y="347027"/>
                    </a:cubicBezTo>
                    <a:cubicBezTo>
                      <a:pt x="1350042" y="350838"/>
                      <a:pt x="1315752" y="360363"/>
                      <a:pt x="1327817" y="360363"/>
                    </a:cubicBezTo>
                    <a:cubicBezTo>
                      <a:pt x="1360838" y="359093"/>
                      <a:pt x="1393857" y="350838"/>
                      <a:pt x="1426242" y="344488"/>
                    </a:cubicBezTo>
                    <a:cubicBezTo>
                      <a:pt x="1429417" y="343852"/>
                      <a:pt x="1414177" y="343218"/>
                      <a:pt x="1417352" y="341947"/>
                    </a:cubicBezTo>
                    <a:cubicBezTo>
                      <a:pt x="1434497" y="333057"/>
                      <a:pt x="1453547" y="327977"/>
                      <a:pt x="1471327" y="320357"/>
                    </a:cubicBezTo>
                    <a:cubicBezTo>
                      <a:pt x="1479582" y="317182"/>
                      <a:pt x="1486567" y="308293"/>
                      <a:pt x="1495457" y="310197"/>
                    </a:cubicBezTo>
                    <a:cubicBezTo>
                      <a:pt x="1502442" y="311468"/>
                      <a:pt x="1511967" y="322897"/>
                      <a:pt x="1507522" y="328613"/>
                    </a:cubicBezTo>
                    <a:cubicBezTo>
                      <a:pt x="1497363" y="340677"/>
                      <a:pt x="1480217" y="344488"/>
                      <a:pt x="1464977" y="348932"/>
                    </a:cubicBezTo>
                    <a:cubicBezTo>
                      <a:pt x="1459897" y="350202"/>
                      <a:pt x="1454817" y="343218"/>
                      <a:pt x="1449102" y="343852"/>
                    </a:cubicBezTo>
                    <a:cubicBezTo>
                      <a:pt x="1442752" y="345122"/>
                      <a:pt x="1438307" y="351472"/>
                      <a:pt x="1433227" y="355282"/>
                    </a:cubicBezTo>
                    <a:cubicBezTo>
                      <a:pt x="1432592" y="355918"/>
                      <a:pt x="1433227" y="356552"/>
                      <a:pt x="1432592" y="357188"/>
                    </a:cubicBezTo>
                    <a:cubicBezTo>
                      <a:pt x="1420527" y="363538"/>
                      <a:pt x="1408463" y="369888"/>
                      <a:pt x="1395763" y="375602"/>
                    </a:cubicBezTo>
                    <a:cubicBezTo>
                      <a:pt x="1385602" y="380047"/>
                      <a:pt x="1372902" y="379413"/>
                      <a:pt x="1364647" y="386397"/>
                    </a:cubicBezTo>
                    <a:cubicBezTo>
                      <a:pt x="1359567" y="390843"/>
                      <a:pt x="1362107" y="399732"/>
                      <a:pt x="1358932" y="405447"/>
                    </a:cubicBezTo>
                    <a:cubicBezTo>
                      <a:pt x="1358297" y="406718"/>
                      <a:pt x="1357663" y="401002"/>
                      <a:pt x="1356392" y="401638"/>
                    </a:cubicBezTo>
                    <a:cubicBezTo>
                      <a:pt x="1336707" y="409893"/>
                      <a:pt x="1317657" y="420052"/>
                      <a:pt x="1299242" y="430847"/>
                    </a:cubicBezTo>
                    <a:cubicBezTo>
                      <a:pt x="1297338" y="432118"/>
                      <a:pt x="1303688" y="430847"/>
                      <a:pt x="1306227" y="430213"/>
                    </a:cubicBezTo>
                    <a:cubicBezTo>
                      <a:pt x="1325913" y="426402"/>
                      <a:pt x="1344963" y="420052"/>
                      <a:pt x="1365282" y="418782"/>
                    </a:cubicBezTo>
                    <a:cubicBezTo>
                      <a:pt x="1368457" y="418782"/>
                      <a:pt x="1358932" y="426402"/>
                      <a:pt x="1361472" y="426402"/>
                    </a:cubicBezTo>
                    <a:cubicBezTo>
                      <a:pt x="1365917" y="427038"/>
                      <a:pt x="1369727" y="421322"/>
                      <a:pt x="1373538" y="420052"/>
                    </a:cubicBezTo>
                    <a:cubicBezTo>
                      <a:pt x="1389413" y="413702"/>
                      <a:pt x="1405922" y="393382"/>
                      <a:pt x="1421163" y="401638"/>
                    </a:cubicBezTo>
                    <a:cubicBezTo>
                      <a:pt x="1432592" y="407988"/>
                      <a:pt x="1407192" y="424497"/>
                      <a:pt x="1397667" y="433388"/>
                    </a:cubicBezTo>
                    <a:cubicBezTo>
                      <a:pt x="1390047" y="441007"/>
                      <a:pt x="1355757" y="459422"/>
                      <a:pt x="1344327" y="459422"/>
                    </a:cubicBezTo>
                    <a:cubicBezTo>
                      <a:pt x="1340517" y="459422"/>
                      <a:pt x="1342422" y="450532"/>
                      <a:pt x="1338613" y="450532"/>
                    </a:cubicBezTo>
                    <a:cubicBezTo>
                      <a:pt x="1332897" y="450532"/>
                      <a:pt x="1328452" y="455613"/>
                      <a:pt x="1323372" y="458788"/>
                    </a:cubicBezTo>
                    <a:cubicBezTo>
                      <a:pt x="1310672" y="466407"/>
                      <a:pt x="1298607" y="475297"/>
                      <a:pt x="1285907" y="481647"/>
                    </a:cubicBezTo>
                    <a:cubicBezTo>
                      <a:pt x="1278922" y="484822"/>
                      <a:pt x="1266857" y="495618"/>
                      <a:pt x="1263682" y="487997"/>
                    </a:cubicBezTo>
                    <a:cubicBezTo>
                      <a:pt x="1259238" y="477202"/>
                      <a:pt x="1285907" y="455613"/>
                      <a:pt x="1274477" y="453707"/>
                    </a:cubicBezTo>
                    <a:cubicBezTo>
                      <a:pt x="1223042" y="444182"/>
                      <a:pt x="1245267" y="520382"/>
                      <a:pt x="1209707" y="461327"/>
                    </a:cubicBezTo>
                    <a:cubicBezTo>
                      <a:pt x="1204627" y="453072"/>
                      <a:pt x="1213517" y="461963"/>
                      <a:pt x="1252888" y="427672"/>
                    </a:cubicBezTo>
                    <a:cubicBezTo>
                      <a:pt x="1258602" y="422593"/>
                      <a:pt x="1273842" y="409893"/>
                      <a:pt x="1266222" y="409893"/>
                    </a:cubicBezTo>
                    <a:cubicBezTo>
                      <a:pt x="1257967" y="409257"/>
                      <a:pt x="1254792" y="422593"/>
                      <a:pt x="1247807" y="427672"/>
                    </a:cubicBezTo>
                    <a:cubicBezTo>
                      <a:pt x="1239552" y="434022"/>
                      <a:pt x="1228757" y="437832"/>
                      <a:pt x="1221138" y="444818"/>
                    </a:cubicBezTo>
                    <a:cubicBezTo>
                      <a:pt x="1214152" y="451168"/>
                      <a:pt x="1212247" y="462597"/>
                      <a:pt x="1203992" y="467043"/>
                    </a:cubicBezTo>
                    <a:cubicBezTo>
                      <a:pt x="1191292" y="474027"/>
                      <a:pt x="1160813" y="491172"/>
                      <a:pt x="1161447" y="476568"/>
                    </a:cubicBezTo>
                    <a:cubicBezTo>
                      <a:pt x="1162082" y="451802"/>
                      <a:pt x="1193197" y="438468"/>
                      <a:pt x="1205263" y="416877"/>
                    </a:cubicBezTo>
                    <a:cubicBezTo>
                      <a:pt x="1207802" y="412432"/>
                      <a:pt x="1195102" y="420052"/>
                      <a:pt x="1191292" y="423227"/>
                    </a:cubicBezTo>
                    <a:cubicBezTo>
                      <a:pt x="1183672" y="428943"/>
                      <a:pt x="1178592" y="435927"/>
                      <a:pt x="1171607" y="441643"/>
                    </a:cubicBezTo>
                    <a:cubicBezTo>
                      <a:pt x="1158272" y="451802"/>
                      <a:pt x="1145572" y="461963"/>
                      <a:pt x="1130967" y="469582"/>
                    </a:cubicBezTo>
                    <a:cubicBezTo>
                      <a:pt x="1129063" y="470852"/>
                      <a:pt x="1126522" y="467043"/>
                      <a:pt x="1124617" y="467043"/>
                    </a:cubicBezTo>
                    <a:cubicBezTo>
                      <a:pt x="1096042" y="470852"/>
                      <a:pt x="1066832" y="475297"/>
                      <a:pt x="1038257" y="482282"/>
                    </a:cubicBezTo>
                    <a:cubicBezTo>
                      <a:pt x="1020477" y="486727"/>
                      <a:pt x="989363" y="506413"/>
                      <a:pt x="974122" y="517843"/>
                    </a:cubicBezTo>
                    <a:cubicBezTo>
                      <a:pt x="970947" y="519747"/>
                      <a:pt x="986188" y="510857"/>
                      <a:pt x="983647" y="513397"/>
                    </a:cubicBezTo>
                    <a:cubicBezTo>
                      <a:pt x="965232" y="531813"/>
                      <a:pt x="930307" y="553402"/>
                      <a:pt x="908717" y="565468"/>
                    </a:cubicBezTo>
                    <a:cubicBezTo>
                      <a:pt x="904907" y="567372"/>
                      <a:pt x="899827" y="566102"/>
                      <a:pt x="896652" y="569277"/>
                    </a:cubicBezTo>
                    <a:cubicBezTo>
                      <a:pt x="892842" y="573722"/>
                      <a:pt x="894113" y="580072"/>
                      <a:pt x="891572" y="585152"/>
                    </a:cubicBezTo>
                    <a:cubicBezTo>
                      <a:pt x="874427" y="616902"/>
                      <a:pt x="834422" y="635318"/>
                      <a:pt x="809657" y="660083"/>
                    </a:cubicBezTo>
                    <a:cubicBezTo>
                      <a:pt x="800132" y="669608"/>
                      <a:pt x="792513" y="680402"/>
                      <a:pt x="783622" y="690563"/>
                    </a:cubicBezTo>
                    <a:cubicBezTo>
                      <a:pt x="777272" y="697547"/>
                      <a:pt x="770922" y="705168"/>
                      <a:pt x="763302" y="710883"/>
                    </a:cubicBezTo>
                    <a:cubicBezTo>
                      <a:pt x="760127" y="714058"/>
                      <a:pt x="753142" y="712788"/>
                      <a:pt x="751238" y="716597"/>
                    </a:cubicBezTo>
                    <a:cubicBezTo>
                      <a:pt x="743617" y="729297"/>
                      <a:pt x="742347" y="744538"/>
                      <a:pt x="734727" y="757238"/>
                    </a:cubicBezTo>
                    <a:cubicBezTo>
                      <a:pt x="727742" y="769938"/>
                      <a:pt x="709963" y="772477"/>
                      <a:pt x="698532" y="780733"/>
                    </a:cubicBezTo>
                    <a:cubicBezTo>
                      <a:pt x="652177" y="813753"/>
                      <a:pt x="626142" y="838518"/>
                      <a:pt x="588677" y="882333"/>
                    </a:cubicBezTo>
                    <a:cubicBezTo>
                      <a:pt x="572802" y="900747"/>
                      <a:pt x="553117" y="903287"/>
                      <a:pt x="544227" y="932497"/>
                    </a:cubicBezTo>
                    <a:cubicBezTo>
                      <a:pt x="539782" y="947103"/>
                      <a:pt x="564547" y="905828"/>
                      <a:pt x="579788" y="903287"/>
                    </a:cubicBezTo>
                    <a:cubicBezTo>
                      <a:pt x="585502" y="902653"/>
                      <a:pt x="591852" y="904558"/>
                      <a:pt x="596297" y="901383"/>
                    </a:cubicBezTo>
                    <a:cubicBezTo>
                      <a:pt x="608997" y="892493"/>
                      <a:pt x="617888" y="878522"/>
                      <a:pt x="629952" y="868362"/>
                    </a:cubicBezTo>
                    <a:cubicBezTo>
                      <a:pt x="639477" y="860108"/>
                      <a:pt x="650907" y="853758"/>
                      <a:pt x="661067" y="846137"/>
                    </a:cubicBezTo>
                    <a:cubicBezTo>
                      <a:pt x="675038" y="835343"/>
                      <a:pt x="682022" y="813118"/>
                      <a:pt x="699167" y="808672"/>
                    </a:cubicBezTo>
                    <a:cubicBezTo>
                      <a:pt x="709327" y="806133"/>
                      <a:pt x="718217" y="822008"/>
                      <a:pt x="728377" y="818833"/>
                    </a:cubicBezTo>
                    <a:cubicBezTo>
                      <a:pt x="752507" y="811847"/>
                      <a:pt x="772827" y="795337"/>
                      <a:pt x="793782" y="781368"/>
                    </a:cubicBezTo>
                    <a:cubicBezTo>
                      <a:pt x="839502" y="751522"/>
                      <a:pt x="822357" y="753427"/>
                      <a:pt x="861092" y="715963"/>
                    </a:cubicBezTo>
                    <a:cubicBezTo>
                      <a:pt x="873157" y="704533"/>
                      <a:pt x="918242" y="691833"/>
                      <a:pt x="922688" y="689927"/>
                    </a:cubicBezTo>
                    <a:cubicBezTo>
                      <a:pt x="943007" y="681672"/>
                      <a:pt x="974122" y="663893"/>
                      <a:pt x="989363" y="654368"/>
                    </a:cubicBezTo>
                    <a:cubicBezTo>
                      <a:pt x="1002697" y="646113"/>
                      <a:pt x="1014763" y="634047"/>
                      <a:pt x="1028732" y="627063"/>
                    </a:cubicBezTo>
                    <a:cubicBezTo>
                      <a:pt x="1031907" y="625158"/>
                      <a:pt x="1040163" y="624522"/>
                      <a:pt x="1039527" y="628333"/>
                    </a:cubicBezTo>
                    <a:cubicBezTo>
                      <a:pt x="1036352" y="639763"/>
                      <a:pt x="1028097" y="649288"/>
                      <a:pt x="1020477" y="658177"/>
                    </a:cubicBezTo>
                    <a:cubicBezTo>
                      <a:pt x="1019207" y="659447"/>
                      <a:pt x="1015397" y="656908"/>
                      <a:pt x="1014763" y="658177"/>
                    </a:cubicBezTo>
                    <a:cubicBezTo>
                      <a:pt x="1005238" y="676593"/>
                      <a:pt x="1000792" y="697547"/>
                      <a:pt x="990632" y="715963"/>
                    </a:cubicBezTo>
                    <a:cubicBezTo>
                      <a:pt x="989363" y="718502"/>
                      <a:pt x="984917" y="715963"/>
                      <a:pt x="983013" y="717868"/>
                    </a:cubicBezTo>
                    <a:cubicBezTo>
                      <a:pt x="975392" y="723583"/>
                      <a:pt x="967772" y="729933"/>
                      <a:pt x="963327" y="738188"/>
                    </a:cubicBezTo>
                    <a:cubicBezTo>
                      <a:pt x="956977" y="748983"/>
                      <a:pt x="962057" y="766127"/>
                      <a:pt x="952532" y="773747"/>
                    </a:cubicBezTo>
                    <a:cubicBezTo>
                      <a:pt x="941738" y="782002"/>
                      <a:pt x="924592" y="770572"/>
                      <a:pt x="912527" y="776288"/>
                    </a:cubicBezTo>
                    <a:cubicBezTo>
                      <a:pt x="906813" y="779463"/>
                      <a:pt x="913163" y="790893"/>
                      <a:pt x="908717" y="796608"/>
                    </a:cubicBezTo>
                    <a:cubicBezTo>
                      <a:pt x="901097" y="805497"/>
                      <a:pt x="887763" y="808037"/>
                      <a:pt x="878872" y="815658"/>
                    </a:cubicBezTo>
                    <a:cubicBezTo>
                      <a:pt x="876967" y="816928"/>
                      <a:pt x="880777" y="820737"/>
                      <a:pt x="878872" y="822643"/>
                    </a:cubicBezTo>
                    <a:cubicBezTo>
                      <a:pt x="868713" y="835978"/>
                      <a:pt x="859188" y="851218"/>
                      <a:pt x="845217" y="860743"/>
                    </a:cubicBezTo>
                    <a:cubicBezTo>
                      <a:pt x="835057" y="867728"/>
                      <a:pt x="798227" y="862012"/>
                      <a:pt x="808388" y="868997"/>
                    </a:cubicBezTo>
                    <a:cubicBezTo>
                      <a:pt x="826167" y="880428"/>
                      <a:pt x="849663" y="878522"/>
                      <a:pt x="871252" y="878522"/>
                    </a:cubicBezTo>
                    <a:cubicBezTo>
                      <a:pt x="879507" y="878522"/>
                      <a:pt x="885857" y="871537"/>
                      <a:pt x="893477" y="867728"/>
                    </a:cubicBezTo>
                    <a:cubicBezTo>
                      <a:pt x="908082" y="861378"/>
                      <a:pt x="932213" y="834708"/>
                      <a:pt x="936657" y="849312"/>
                    </a:cubicBezTo>
                    <a:cubicBezTo>
                      <a:pt x="961422" y="923608"/>
                      <a:pt x="903638" y="869633"/>
                      <a:pt x="893477" y="891222"/>
                    </a:cubicBezTo>
                    <a:cubicBezTo>
                      <a:pt x="891572" y="895033"/>
                      <a:pt x="894747" y="900747"/>
                      <a:pt x="891572" y="903922"/>
                    </a:cubicBezTo>
                    <a:cubicBezTo>
                      <a:pt x="877602" y="915987"/>
                      <a:pt x="857917" y="920433"/>
                      <a:pt x="845852" y="933768"/>
                    </a:cubicBezTo>
                    <a:cubicBezTo>
                      <a:pt x="842677" y="937578"/>
                      <a:pt x="860457" y="937578"/>
                      <a:pt x="858552" y="942022"/>
                    </a:cubicBezTo>
                    <a:cubicBezTo>
                      <a:pt x="854107" y="950912"/>
                      <a:pt x="840138" y="951547"/>
                      <a:pt x="833152" y="959168"/>
                    </a:cubicBezTo>
                    <a:cubicBezTo>
                      <a:pt x="812832" y="980122"/>
                      <a:pt x="812197" y="1007428"/>
                      <a:pt x="780447" y="1008062"/>
                    </a:cubicBezTo>
                    <a:cubicBezTo>
                      <a:pt x="777907" y="1008062"/>
                      <a:pt x="782988" y="999172"/>
                      <a:pt x="782352" y="1001078"/>
                    </a:cubicBezTo>
                    <a:cubicBezTo>
                      <a:pt x="775367" y="1013143"/>
                      <a:pt x="771557" y="1027112"/>
                      <a:pt x="762667" y="1038543"/>
                    </a:cubicBezTo>
                    <a:cubicBezTo>
                      <a:pt x="748063" y="1058228"/>
                      <a:pt x="727107" y="1072833"/>
                      <a:pt x="713138" y="1093153"/>
                    </a:cubicBezTo>
                    <a:cubicBezTo>
                      <a:pt x="709963" y="1097598"/>
                      <a:pt x="729647" y="1085533"/>
                      <a:pt x="728377" y="1090612"/>
                    </a:cubicBezTo>
                    <a:cubicBezTo>
                      <a:pt x="725202" y="1100773"/>
                      <a:pt x="708692" y="1103312"/>
                      <a:pt x="706788" y="1114108"/>
                    </a:cubicBezTo>
                    <a:cubicBezTo>
                      <a:pt x="704247" y="1129983"/>
                      <a:pt x="721392" y="1145858"/>
                      <a:pt x="717582" y="1161098"/>
                    </a:cubicBezTo>
                    <a:cubicBezTo>
                      <a:pt x="715042" y="1169353"/>
                      <a:pt x="678213" y="1142683"/>
                      <a:pt x="692182" y="1174433"/>
                    </a:cubicBezTo>
                    <a:cubicBezTo>
                      <a:pt x="694088" y="1178243"/>
                      <a:pt x="699802" y="1161098"/>
                      <a:pt x="697263" y="1164273"/>
                    </a:cubicBezTo>
                    <a:cubicBezTo>
                      <a:pt x="687102" y="1177608"/>
                      <a:pt x="673767" y="1190308"/>
                      <a:pt x="668688" y="1206183"/>
                    </a:cubicBezTo>
                    <a:cubicBezTo>
                      <a:pt x="650272" y="1261428"/>
                      <a:pt x="714407" y="1232853"/>
                      <a:pt x="633127" y="1284287"/>
                    </a:cubicBezTo>
                    <a:cubicBezTo>
                      <a:pt x="556292" y="1331912"/>
                      <a:pt x="614713" y="1281112"/>
                      <a:pt x="570263" y="1270953"/>
                    </a:cubicBezTo>
                    <a:cubicBezTo>
                      <a:pt x="562007" y="1269048"/>
                      <a:pt x="556292" y="1282383"/>
                      <a:pt x="548038" y="1284923"/>
                    </a:cubicBezTo>
                    <a:cubicBezTo>
                      <a:pt x="538513" y="1287462"/>
                      <a:pt x="527717" y="1291273"/>
                      <a:pt x="519463" y="1286828"/>
                    </a:cubicBezTo>
                    <a:cubicBezTo>
                      <a:pt x="493427" y="1273493"/>
                      <a:pt x="510572" y="1191578"/>
                      <a:pt x="497872" y="1171258"/>
                    </a:cubicBezTo>
                    <a:cubicBezTo>
                      <a:pt x="490888" y="1159828"/>
                      <a:pt x="474377" y="1192848"/>
                      <a:pt x="461042" y="1189037"/>
                    </a:cubicBezTo>
                    <a:cubicBezTo>
                      <a:pt x="445802" y="1185228"/>
                      <a:pt x="444532" y="1153478"/>
                      <a:pt x="428657" y="1154112"/>
                    </a:cubicBezTo>
                    <a:cubicBezTo>
                      <a:pt x="415957" y="1154112"/>
                      <a:pt x="424847" y="1181418"/>
                      <a:pt x="415322" y="1190308"/>
                    </a:cubicBezTo>
                    <a:cubicBezTo>
                      <a:pt x="402622" y="1201737"/>
                      <a:pt x="382302" y="1201103"/>
                      <a:pt x="368332" y="1209993"/>
                    </a:cubicBezTo>
                    <a:cubicBezTo>
                      <a:pt x="365792" y="1211898"/>
                      <a:pt x="373413" y="1215073"/>
                      <a:pt x="376588" y="1215708"/>
                    </a:cubicBezTo>
                    <a:cubicBezTo>
                      <a:pt x="405163" y="1220787"/>
                      <a:pt x="436913" y="1212533"/>
                      <a:pt x="461677" y="1226503"/>
                    </a:cubicBezTo>
                    <a:cubicBezTo>
                      <a:pt x="471202" y="1232218"/>
                      <a:pt x="458502" y="1248728"/>
                      <a:pt x="453422" y="1258887"/>
                    </a:cubicBezTo>
                    <a:cubicBezTo>
                      <a:pt x="449613" y="1266508"/>
                      <a:pt x="444532" y="1280478"/>
                      <a:pt x="436277" y="1278573"/>
                    </a:cubicBezTo>
                    <a:cubicBezTo>
                      <a:pt x="423577" y="1275398"/>
                      <a:pt x="422942" y="1241108"/>
                      <a:pt x="412147" y="1248093"/>
                    </a:cubicBezTo>
                    <a:cubicBezTo>
                      <a:pt x="398177" y="1257618"/>
                      <a:pt x="414052" y="1283653"/>
                      <a:pt x="406432" y="1298893"/>
                    </a:cubicBezTo>
                    <a:cubicBezTo>
                      <a:pt x="401988" y="1307148"/>
                      <a:pt x="387382" y="1303973"/>
                      <a:pt x="381032" y="1310958"/>
                    </a:cubicBezTo>
                    <a:cubicBezTo>
                      <a:pt x="369602" y="1323023"/>
                      <a:pt x="362617" y="1338898"/>
                      <a:pt x="354997" y="1353503"/>
                    </a:cubicBezTo>
                    <a:cubicBezTo>
                      <a:pt x="349282" y="1365568"/>
                      <a:pt x="343567" y="1378268"/>
                      <a:pt x="341027" y="1391603"/>
                    </a:cubicBezTo>
                    <a:cubicBezTo>
                      <a:pt x="335947" y="1417637"/>
                      <a:pt x="346107" y="1447483"/>
                      <a:pt x="333407" y="1470343"/>
                    </a:cubicBezTo>
                    <a:cubicBezTo>
                      <a:pt x="328327" y="1479233"/>
                      <a:pt x="316263" y="1457643"/>
                      <a:pt x="306102" y="1455103"/>
                    </a:cubicBezTo>
                    <a:cubicBezTo>
                      <a:pt x="290227" y="1451293"/>
                      <a:pt x="269272" y="1462087"/>
                      <a:pt x="257207" y="1450658"/>
                    </a:cubicBezTo>
                    <a:cubicBezTo>
                      <a:pt x="250857" y="1444943"/>
                      <a:pt x="281972" y="1398587"/>
                      <a:pt x="287688" y="1398587"/>
                    </a:cubicBezTo>
                    <a:cubicBezTo>
                      <a:pt x="302292" y="1397953"/>
                      <a:pt x="313088" y="1422718"/>
                      <a:pt x="327057" y="1418273"/>
                    </a:cubicBezTo>
                    <a:cubicBezTo>
                      <a:pt x="337217" y="1415098"/>
                      <a:pt x="318167" y="1397318"/>
                      <a:pt x="321977" y="1387793"/>
                    </a:cubicBezTo>
                    <a:cubicBezTo>
                      <a:pt x="326422" y="1376362"/>
                      <a:pt x="351822" y="1373823"/>
                      <a:pt x="348013" y="1362393"/>
                    </a:cubicBezTo>
                    <a:cubicBezTo>
                      <a:pt x="344202" y="1352233"/>
                      <a:pt x="327692" y="1378903"/>
                      <a:pt x="317532" y="1375093"/>
                    </a:cubicBezTo>
                    <a:cubicBezTo>
                      <a:pt x="309277" y="1371918"/>
                      <a:pt x="321342" y="1350962"/>
                      <a:pt x="312452" y="1348423"/>
                    </a:cubicBezTo>
                    <a:cubicBezTo>
                      <a:pt x="304197" y="1345883"/>
                      <a:pt x="304197" y="1367473"/>
                      <a:pt x="295307" y="1368743"/>
                    </a:cubicBezTo>
                    <a:cubicBezTo>
                      <a:pt x="278163" y="1370648"/>
                      <a:pt x="262288" y="1354773"/>
                      <a:pt x="245142" y="1357312"/>
                    </a:cubicBezTo>
                    <a:cubicBezTo>
                      <a:pt x="241332" y="1357948"/>
                      <a:pt x="203867" y="1404303"/>
                      <a:pt x="197517" y="1408748"/>
                    </a:cubicBezTo>
                    <a:cubicBezTo>
                      <a:pt x="194977" y="1410653"/>
                      <a:pt x="195613" y="1403033"/>
                      <a:pt x="194342" y="1400493"/>
                    </a:cubicBezTo>
                    <a:cubicBezTo>
                      <a:pt x="189897" y="1393508"/>
                      <a:pt x="187357" y="1383983"/>
                      <a:pt x="179738" y="1379537"/>
                    </a:cubicBezTo>
                    <a:cubicBezTo>
                      <a:pt x="176563" y="1377633"/>
                      <a:pt x="177832" y="1387158"/>
                      <a:pt x="175292" y="1389698"/>
                    </a:cubicBezTo>
                    <a:cubicBezTo>
                      <a:pt x="164497" y="1401762"/>
                      <a:pt x="149257" y="1437958"/>
                      <a:pt x="139732" y="1423987"/>
                    </a:cubicBezTo>
                    <a:cubicBezTo>
                      <a:pt x="130207" y="1410018"/>
                      <a:pt x="177197" y="1366837"/>
                      <a:pt x="166402" y="1380173"/>
                    </a:cubicBezTo>
                    <a:cubicBezTo>
                      <a:pt x="111792" y="1446848"/>
                      <a:pt x="164497" y="1387793"/>
                      <a:pt x="127667" y="1438593"/>
                    </a:cubicBezTo>
                    <a:cubicBezTo>
                      <a:pt x="119412" y="1449387"/>
                      <a:pt x="97822" y="1480503"/>
                      <a:pt x="99092" y="1467168"/>
                    </a:cubicBezTo>
                    <a:cubicBezTo>
                      <a:pt x="99727" y="1460818"/>
                      <a:pt x="157513" y="1386523"/>
                      <a:pt x="162592" y="1378903"/>
                    </a:cubicBezTo>
                    <a:cubicBezTo>
                      <a:pt x="163863" y="1376998"/>
                      <a:pt x="160052" y="1372553"/>
                      <a:pt x="158782" y="1374458"/>
                    </a:cubicBezTo>
                    <a:cubicBezTo>
                      <a:pt x="148622" y="1385887"/>
                      <a:pt x="142272" y="1399858"/>
                      <a:pt x="133382" y="1412558"/>
                    </a:cubicBezTo>
                    <a:cubicBezTo>
                      <a:pt x="130842" y="1417003"/>
                      <a:pt x="122587" y="1429703"/>
                      <a:pt x="125127" y="1425258"/>
                    </a:cubicBezTo>
                    <a:cubicBezTo>
                      <a:pt x="132747" y="1410653"/>
                      <a:pt x="141002" y="1396683"/>
                      <a:pt x="149257" y="1383348"/>
                    </a:cubicBezTo>
                    <a:cubicBezTo>
                      <a:pt x="150527" y="1381443"/>
                      <a:pt x="153702" y="1376362"/>
                      <a:pt x="152432" y="1378268"/>
                    </a:cubicBezTo>
                    <a:cubicBezTo>
                      <a:pt x="139097" y="1400493"/>
                      <a:pt x="126397" y="1422083"/>
                      <a:pt x="112427" y="1444308"/>
                    </a:cubicBezTo>
                    <a:cubicBezTo>
                      <a:pt x="108617" y="1450658"/>
                      <a:pt x="99727" y="1469708"/>
                      <a:pt x="100362" y="1462723"/>
                    </a:cubicBezTo>
                    <a:cubicBezTo>
                      <a:pt x="100997" y="1451293"/>
                      <a:pt x="109252" y="1441768"/>
                      <a:pt x="113062" y="1431608"/>
                    </a:cubicBezTo>
                    <a:cubicBezTo>
                      <a:pt x="115602" y="1425258"/>
                      <a:pt x="107982" y="1444308"/>
                      <a:pt x="105442" y="1450023"/>
                    </a:cubicBezTo>
                    <a:cubicBezTo>
                      <a:pt x="98457" y="1463993"/>
                      <a:pt x="91472" y="1478598"/>
                      <a:pt x="84487" y="1492568"/>
                    </a:cubicBezTo>
                    <a:cubicBezTo>
                      <a:pt x="78137" y="1504633"/>
                      <a:pt x="57182" y="1540828"/>
                      <a:pt x="64167" y="1528762"/>
                    </a:cubicBezTo>
                    <a:cubicBezTo>
                      <a:pt x="72422" y="1514158"/>
                      <a:pt x="83852" y="1500187"/>
                      <a:pt x="89567" y="1484312"/>
                    </a:cubicBezTo>
                    <a:cubicBezTo>
                      <a:pt x="91472" y="1479233"/>
                      <a:pt x="79407" y="1490028"/>
                      <a:pt x="76867" y="1495108"/>
                    </a:cubicBezTo>
                    <a:cubicBezTo>
                      <a:pt x="70517" y="1505903"/>
                      <a:pt x="68612" y="1519237"/>
                      <a:pt x="62262" y="1530033"/>
                    </a:cubicBezTo>
                    <a:cubicBezTo>
                      <a:pt x="59087" y="1535748"/>
                      <a:pt x="55912" y="1544003"/>
                      <a:pt x="49562" y="1544637"/>
                    </a:cubicBezTo>
                    <a:cubicBezTo>
                      <a:pt x="45117" y="1545273"/>
                      <a:pt x="47657" y="1528762"/>
                      <a:pt x="44482" y="1531937"/>
                    </a:cubicBezTo>
                    <a:cubicBezTo>
                      <a:pt x="31147" y="1544637"/>
                      <a:pt x="22892" y="1563053"/>
                      <a:pt x="12732" y="1578928"/>
                    </a:cubicBezTo>
                    <a:cubicBezTo>
                      <a:pt x="10827" y="1581468"/>
                      <a:pt x="10192" y="1584643"/>
                      <a:pt x="8287" y="1587818"/>
                    </a:cubicBezTo>
                    <a:cubicBezTo>
                      <a:pt x="3207" y="1585912"/>
                      <a:pt x="5112" y="1582737"/>
                      <a:pt x="5112" y="1582103"/>
                    </a:cubicBezTo>
                    <a:lnTo>
                      <a:pt x="5112" y="158210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1E604515-006A-46FD-AF40-3BC8FF921F5D}"/>
                  </a:ext>
                </a:extLst>
              </p:cNvPr>
              <p:cNvSpPr/>
              <p:nvPr/>
            </p:nvSpPr>
            <p:spPr>
              <a:xfrm>
                <a:off x="7440027" y="3797728"/>
                <a:ext cx="3765550" cy="2603500"/>
              </a:xfrm>
              <a:custGeom>
                <a:avLst/>
                <a:gdLst>
                  <a:gd name="connsiteX0" fmla="*/ 2756803 w 3765550"/>
                  <a:gd name="connsiteY0" fmla="*/ 242142 h 2603500"/>
                  <a:gd name="connsiteX1" fmla="*/ 2712988 w 3765550"/>
                  <a:gd name="connsiteY1" fmla="*/ 249127 h 2603500"/>
                  <a:gd name="connsiteX2" fmla="*/ 2678698 w 3765550"/>
                  <a:gd name="connsiteY2" fmla="*/ 281512 h 2603500"/>
                  <a:gd name="connsiteX3" fmla="*/ 2662188 w 3765550"/>
                  <a:gd name="connsiteY3" fmla="*/ 284687 h 2603500"/>
                  <a:gd name="connsiteX4" fmla="*/ 2622817 w 3765550"/>
                  <a:gd name="connsiteY4" fmla="*/ 322152 h 2603500"/>
                  <a:gd name="connsiteX5" fmla="*/ 2473592 w 3765550"/>
                  <a:gd name="connsiteY5" fmla="*/ 308182 h 2603500"/>
                  <a:gd name="connsiteX6" fmla="*/ 2448828 w 3765550"/>
                  <a:gd name="connsiteY6" fmla="*/ 306277 h 2603500"/>
                  <a:gd name="connsiteX7" fmla="*/ 2418348 w 3765550"/>
                  <a:gd name="connsiteY7" fmla="*/ 319612 h 2603500"/>
                  <a:gd name="connsiteX8" fmla="*/ 2343417 w 3765550"/>
                  <a:gd name="connsiteY8" fmla="*/ 296752 h 2603500"/>
                  <a:gd name="connsiteX9" fmla="*/ 2342783 w 3765550"/>
                  <a:gd name="connsiteY9" fmla="*/ 293577 h 2603500"/>
                  <a:gd name="connsiteX10" fmla="*/ 2306588 w 3765550"/>
                  <a:gd name="connsiteY10" fmla="*/ 296117 h 2603500"/>
                  <a:gd name="connsiteX11" fmla="*/ 2292617 w 3765550"/>
                  <a:gd name="connsiteY11" fmla="*/ 266907 h 2603500"/>
                  <a:gd name="connsiteX12" fmla="*/ 2239278 w 3765550"/>
                  <a:gd name="connsiteY12" fmla="*/ 253572 h 2603500"/>
                  <a:gd name="connsiteX13" fmla="*/ 2156092 w 3765550"/>
                  <a:gd name="connsiteY13" fmla="*/ 289132 h 2603500"/>
                  <a:gd name="connsiteX14" fmla="*/ 2098942 w 3765550"/>
                  <a:gd name="connsiteY14" fmla="*/ 442802 h 2603500"/>
                  <a:gd name="connsiteX15" fmla="*/ 2034173 w 3765550"/>
                  <a:gd name="connsiteY15" fmla="*/ 416767 h 2603500"/>
                  <a:gd name="connsiteX16" fmla="*/ 1986548 w 3765550"/>
                  <a:gd name="connsiteY16" fmla="*/ 401527 h 2603500"/>
                  <a:gd name="connsiteX17" fmla="*/ 1881138 w 3765550"/>
                  <a:gd name="connsiteY17" fmla="*/ 371682 h 2603500"/>
                  <a:gd name="connsiteX18" fmla="*/ 1861453 w 3765550"/>
                  <a:gd name="connsiteY18" fmla="*/ 324057 h 2603500"/>
                  <a:gd name="connsiteX19" fmla="*/ 1702703 w 3765550"/>
                  <a:gd name="connsiteY19" fmla="*/ 301197 h 2603500"/>
                  <a:gd name="connsiteX20" fmla="*/ 1613167 w 3765550"/>
                  <a:gd name="connsiteY20" fmla="*/ 245317 h 2603500"/>
                  <a:gd name="connsiteX21" fmla="*/ 1592213 w 3765550"/>
                  <a:gd name="connsiteY21" fmla="*/ 245317 h 2603500"/>
                  <a:gd name="connsiteX22" fmla="*/ 1636663 w 3765550"/>
                  <a:gd name="connsiteY22" fmla="*/ 144987 h 2603500"/>
                  <a:gd name="connsiteX23" fmla="*/ 1599198 w 3765550"/>
                  <a:gd name="connsiteY23" fmla="*/ 87202 h 2603500"/>
                  <a:gd name="connsiteX24" fmla="*/ 1568082 w 3765550"/>
                  <a:gd name="connsiteY24" fmla="*/ 6557 h 2603500"/>
                  <a:gd name="connsiteX25" fmla="*/ 1502678 w 3765550"/>
                  <a:gd name="connsiteY25" fmla="*/ 31322 h 2603500"/>
                  <a:gd name="connsiteX26" fmla="*/ 1457592 w 3765550"/>
                  <a:gd name="connsiteY26" fmla="*/ 30052 h 2603500"/>
                  <a:gd name="connsiteX27" fmla="*/ 1425842 w 3765550"/>
                  <a:gd name="connsiteY27" fmla="*/ 30052 h 2603500"/>
                  <a:gd name="connsiteX28" fmla="*/ 1389648 w 3765550"/>
                  <a:gd name="connsiteY28" fmla="*/ 17352 h 2603500"/>
                  <a:gd name="connsiteX29" fmla="*/ 1376948 w 3765550"/>
                  <a:gd name="connsiteY29" fmla="*/ 27512 h 2603500"/>
                  <a:gd name="connsiteX30" fmla="*/ 1328688 w 3765550"/>
                  <a:gd name="connsiteY30" fmla="*/ 43387 h 2603500"/>
                  <a:gd name="connsiteX31" fmla="*/ 1246773 w 3765550"/>
                  <a:gd name="connsiteY31" fmla="*/ 20527 h 2603500"/>
                  <a:gd name="connsiteX32" fmla="*/ 1066432 w 3765550"/>
                  <a:gd name="connsiteY32" fmla="*/ 46562 h 2603500"/>
                  <a:gd name="connsiteX33" fmla="*/ 1045478 w 3765550"/>
                  <a:gd name="connsiteY33" fmla="*/ 68152 h 2603500"/>
                  <a:gd name="connsiteX34" fmla="*/ 1002932 w 3765550"/>
                  <a:gd name="connsiteY34" fmla="*/ 66882 h 2603500"/>
                  <a:gd name="connsiteX35" fmla="*/ 948323 w 3765550"/>
                  <a:gd name="connsiteY35" fmla="*/ 101807 h 2603500"/>
                  <a:gd name="connsiteX36" fmla="*/ 890538 w 3765550"/>
                  <a:gd name="connsiteY36" fmla="*/ 71327 h 2603500"/>
                  <a:gd name="connsiteX37" fmla="*/ 869582 w 3765550"/>
                  <a:gd name="connsiteY37" fmla="*/ 84027 h 2603500"/>
                  <a:gd name="connsiteX38" fmla="*/ 800367 w 3765550"/>
                  <a:gd name="connsiteY38" fmla="*/ 69422 h 2603500"/>
                  <a:gd name="connsiteX39" fmla="*/ 776238 w 3765550"/>
                  <a:gd name="connsiteY39" fmla="*/ 40847 h 2603500"/>
                  <a:gd name="connsiteX40" fmla="*/ 745123 w 3765550"/>
                  <a:gd name="connsiteY40" fmla="*/ 21162 h 2603500"/>
                  <a:gd name="connsiteX41" fmla="*/ 675273 w 3765550"/>
                  <a:gd name="connsiteY41" fmla="*/ 127842 h 2603500"/>
                  <a:gd name="connsiteX42" fmla="*/ 589548 w 3765550"/>
                  <a:gd name="connsiteY42" fmla="*/ 151337 h 2603500"/>
                  <a:gd name="connsiteX43" fmla="*/ 567323 w 3765550"/>
                  <a:gd name="connsiteY43" fmla="*/ 171657 h 2603500"/>
                  <a:gd name="connsiteX44" fmla="*/ 543828 w 3765550"/>
                  <a:gd name="connsiteY44" fmla="*/ 186262 h 2603500"/>
                  <a:gd name="connsiteX45" fmla="*/ 540017 w 3765550"/>
                  <a:gd name="connsiteY45" fmla="*/ 209122 h 2603500"/>
                  <a:gd name="connsiteX46" fmla="*/ 513982 w 3765550"/>
                  <a:gd name="connsiteY46" fmla="*/ 238332 h 2603500"/>
                  <a:gd name="connsiteX47" fmla="*/ 472707 w 3765550"/>
                  <a:gd name="connsiteY47" fmla="*/ 363427 h 2603500"/>
                  <a:gd name="connsiteX48" fmla="*/ 359678 w 3765550"/>
                  <a:gd name="connsiteY48" fmla="*/ 421212 h 2603500"/>
                  <a:gd name="connsiteX49" fmla="*/ 301257 w 3765550"/>
                  <a:gd name="connsiteY49" fmla="*/ 428832 h 2603500"/>
                  <a:gd name="connsiteX50" fmla="*/ 278398 w 3765550"/>
                  <a:gd name="connsiteY50" fmla="*/ 469472 h 2603500"/>
                  <a:gd name="connsiteX51" fmla="*/ 222517 w 3765550"/>
                  <a:gd name="connsiteY51" fmla="*/ 496142 h 2603500"/>
                  <a:gd name="connsiteX52" fmla="*/ 197753 w 3765550"/>
                  <a:gd name="connsiteY52" fmla="*/ 539957 h 2603500"/>
                  <a:gd name="connsiteX53" fmla="*/ 188863 w 3765550"/>
                  <a:gd name="connsiteY53" fmla="*/ 575517 h 2603500"/>
                  <a:gd name="connsiteX54" fmla="*/ 148223 w 3765550"/>
                  <a:gd name="connsiteY54" fmla="*/ 600917 h 2603500"/>
                  <a:gd name="connsiteX55" fmla="*/ 126632 w 3765550"/>
                  <a:gd name="connsiteY55" fmla="*/ 613617 h 2603500"/>
                  <a:gd name="connsiteX56" fmla="*/ 139332 w 3765550"/>
                  <a:gd name="connsiteY56" fmla="*/ 606632 h 2603500"/>
                  <a:gd name="connsiteX57" fmla="*/ 111392 w 3765550"/>
                  <a:gd name="connsiteY57" fmla="*/ 651717 h 2603500"/>
                  <a:gd name="connsiteX58" fmla="*/ 103773 w 3765550"/>
                  <a:gd name="connsiteY58" fmla="*/ 658702 h 2603500"/>
                  <a:gd name="connsiteX59" fmla="*/ 93613 w 3765550"/>
                  <a:gd name="connsiteY59" fmla="*/ 680292 h 2603500"/>
                  <a:gd name="connsiteX60" fmla="*/ 70117 w 3765550"/>
                  <a:gd name="connsiteY60" fmla="*/ 693627 h 2603500"/>
                  <a:gd name="connsiteX61" fmla="*/ 66942 w 3765550"/>
                  <a:gd name="connsiteY61" fmla="*/ 705057 h 2603500"/>
                  <a:gd name="connsiteX62" fmla="*/ 55513 w 3765550"/>
                  <a:gd name="connsiteY62" fmla="*/ 756492 h 2603500"/>
                  <a:gd name="connsiteX63" fmla="*/ 72657 w 3765550"/>
                  <a:gd name="connsiteY63" fmla="*/ 768557 h 2603500"/>
                  <a:gd name="connsiteX64" fmla="*/ 92978 w 3765550"/>
                  <a:gd name="connsiteY64" fmla="*/ 803482 h 2603500"/>
                  <a:gd name="connsiteX65" fmla="*/ 72023 w 3765550"/>
                  <a:gd name="connsiteY65" fmla="*/ 842217 h 2603500"/>
                  <a:gd name="connsiteX66" fmla="*/ 88532 w 3765550"/>
                  <a:gd name="connsiteY66" fmla="*/ 940642 h 2603500"/>
                  <a:gd name="connsiteX67" fmla="*/ 63132 w 3765550"/>
                  <a:gd name="connsiteY67" fmla="*/ 990807 h 2603500"/>
                  <a:gd name="connsiteX68" fmla="*/ 38367 w 3765550"/>
                  <a:gd name="connsiteY68" fmla="*/ 1054307 h 2603500"/>
                  <a:gd name="connsiteX69" fmla="*/ 5348 w 3765550"/>
                  <a:gd name="connsiteY69" fmla="*/ 1064467 h 2603500"/>
                  <a:gd name="connsiteX70" fmla="*/ 21857 w 3765550"/>
                  <a:gd name="connsiteY70" fmla="*/ 1077167 h 2603500"/>
                  <a:gd name="connsiteX71" fmla="*/ 60592 w 3765550"/>
                  <a:gd name="connsiteY71" fmla="*/ 1118442 h 2603500"/>
                  <a:gd name="connsiteX72" fmla="*/ 54242 w 3765550"/>
                  <a:gd name="connsiteY72" fmla="*/ 1126697 h 2603500"/>
                  <a:gd name="connsiteX73" fmla="*/ 49798 w 3765550"/>
                  <a:gd name="connsiteY73" fmla="*/ 1143207 h 2603500"/>
                  <a:gd name="connsiteX74" fmla="*/ 57417 w 3765550"/>
                  <a:gd name="connsiteY74" fmla="*/ 1159082 h 2603500"/>
                  <a:gd name="connsiteX75" fmla="*/ 68848 w 3765550"/>
                  <a:gd name="connsiteY75" fmla="*/ 1167337 h 2603500"/>
                  <a:gd name="connsiteX76" fmla="*/ 41542 w 3765550"/>
                  <a:gd name="connsiteY76" fmla="*/ 1146382 h 2603500"/>
                  <a:gd name="connsiteX77" fmla="*/ 40273 w 3765550"/>
                  <a:gd name="connsiteY77" fmla="*/ 1166702 h 2603500"/>
                  <a:gd name="connsiteX78" fmla="*/ 94882 w 3765550"/>
                  <a:gd name="connsiteY78" fmla="*/ 1214327 h 2603500"/>
                  <a:gd name="connsiteX79" fmla="*/ 75832 w 3765550"/>
                  <a:gd name="connsiteY79" fmla="*/ 1201627 h 2603500"/>
                  <a:gd name="connsiteX80" fmla="*/ 40907 w 3765550"/>
                  <a:gd name="connsiteY80" fmla="*/ 1202262 h 2603500"/>
                  <a:gd name="connsiteX81" fmla="*/ 69482 w 3765550"/>
                  <a:gd name="connsiteY81" fmla="*/ 1235282 h 2603500"/>
                  <a:gd name="connsiteX82" fmla="*/ 91073 w 3765550"/>
                  <a:gd name="connsiteY82" fmla="*/ 1237822 h 2603500"/>
                  <a:gd name="connsiteX83" fmla="*/ 77738 w 3765550"/>
                  <a:gd name="connsiteY83" fmla="*/ 1246077 h 2603500"/>
                  <a:gd name="connsiteX84" fmla="*/ 125998 w 3765550"/>
                  <a:gd name="connsiteY84" fmla="*/ 1254332 h 2603500"/>
                  <a:gd name="connsiteX85" fmla="*/ 101232 w 3765550"/>
                  <a:gd name="connsiteY85" fmla="*/ 1272747 h 2603500"/>
                  <a:gd name="connsiteX86" fmla="*/ 124728 w 3765550"/>
                  <a:gd name="connsiteY86" fmla="*/ 1302592 h 2603500"/>
                  <a:gd name="connsiteX87" fmla="*/ 142507 w 3765550"/>
                  <a:gd name="connsiteY87" fmla="*/ 1331802 h 2603500"/>
                  <a:gd name="connsiteX88" fmla="*/ 176798 w 3765550"/>
                  <a:gd name="connsiteY88" fmla="*/ 1358472 h 2603500"/>
                  <a:gd name="connsiteX89" fmla="*/ 213628 w 3765550"/>
                  <a:gd name="connsiteY89" fmla="*/ 1411812 h 2603500"/>
                  <a:gd name="connsiteX90" fmla="*/ 213628 w 3765550"/>
                  <a:gd name="connsiteY90" fmla="*/ 1426417 h 2603500"/>
                  <a:gd name="connsiteX91" fmla="*/ 236488 w 3765550"/>
                  <a:gd name="connsiteY91" fmla="*/ 1476582 h 2603500"/>
                  <a:gd name="connsiteX92" fmla="*/ 232678 w 3765550"/>
                  <a:gd name="connsiteY92" fmla="*/ 1484202 h 2603500"/>
                  <a:gd name="connsiteX93" fmla="*/ 273953 w 3765550"/>
                  <a:gd name="connsiteY93" fmla="*/ 1512142 h 2603500"/>
                  <a:gd name="connsiteX94" fmla="*/ 258078 w 3765550"/>
                  <a:gd name="connsiteY94" fmla="*/ 1515952 h 2603500"/>
                  <a:gd name="connsiteX95" fmla="*/ 293638 w 3765550"/>
                  <a:gd name="connsiteY95" fmla="*/ 1538812 h 2603500"/>
                  <a:gd name="connsiteX96" fmla="*/ 319038 w 3765550"/>
                  <a:gd name="connsiteY96" fmla="*/ 1566752 h 2603500"/>
                  <a:gd name="connsiteX97" fmla="*/ 375553 w 3765550"/>
                  <a:gd name="connsiteY97" fmla="*/ 1609932 h 2603500"/>
                  <a:gd name="connsiteX98" fmla="*/ 509538 w 3765550"/>
                  <a:gd name="connsiteY98" fmla="*/ 1718517 h 2603500"/>
                  <a:gd name="connsiteX99" fmla="*/ 795923 w 3765550"/>
                  <a:gd name="connsiteY99" fmla="*/ 1760427 h 2603500"/>
                  <a:gd name="connsiteX100" fmla="*/ 781317 w 3765550"/>
                  <a:gd name="connsiteY100" fmla="*/ 1761062 h 2603500"/>
                  <a:gd name="connsiteX101" fmla="*/ 887998 w 3765550"/>
                  <a:gd name="connsiteY101" fmla="*/ 1781382 h 2603500"/>
                  <a:gd name="connsiteX102" fmla="*/ 939432 w 3765550"/>
                  <a:gd name="connsiteY102" fmla="*/ 1773127 h 2603500"/>
                  <a:gd name="connsiteX103" fmla="*/ 1205498 w 3765550"/>
                  <a:gd name="connsiteY103" fmla="*/ 1768047 h 2603500"/>
                  <a:gd name="connsiteX104" fmla="*/ 1264553 w 3765550"/>
                  <a:gd name="connsiteY104" fmla="*/ 1802337 h 2603500"/>
                  <a:gd name="connsiteX105" fmla="*/ 1278523 w 3765550"/>
                  <a:gd name="connsiteY105" fmla="*/ 1797257 h 2603500"/>
                  <a:gd name="connsiteX106" fmla="*/ 1329323 w 3765550"/>
                  <a:gd name="connsiteY106" fmla="*/ 1870282 h 2603500"/>
                  <a:gd name="connsiteX107" fmla="*/ 1366153 w 3765550"/>
                  <a:gd name="connsiteY107" fmla="*/ 1848692 h 2603500"/>
                  <a:gd name="connsiteX108" fmla="*/ 1423938 w 3765550"/>
                  <a:gd name="connsiteY108" fmla="*/ 1865837 h 2603500"/>
                  <a:gd name="connsiteX109" fmla="*/ 1462673 w 3765550"/>
                  <a:gd name="connsiteY109" fmla="*/ 1865202 h 2603500"/>
                  <a:gd name="connsiteX110" fmla="*/ 1455053 w 3765550"/>
                  <a:gd name="connsiteY110" fmla="*/ 1846787 h 2603500"/>
                  <a:gd name="connsiteX111" fmla="*/ 1512203 w 3765550"/>
                  <a:gd name="connsiteY111" fmla="*/ 1889332 h 2603500"/>
                  <a:gd name="connsiteX112" fmla="*/ 1550938 w 3765550"/>
                  <a:gd name="connsiteY112" fmla="*/ 1885522 h 2603500"/>
                  <a:gd name="connsiteX113" fmla="*/ 1555382 w 3765550"/>
                  <a:gd name="connsiteY113" fmla="*/ 1957277 h 2603500"/>
                  <a:gd name="connsiteX114" fmla="*/ 1554748 w 3765550"/>
                  <a:gd name="connsiteY114" fmla="*/ 2009347 h 2603500"/>
                  <a:gd name="connsiteX115" fmla="*/ 1489978 w 3765550"/>
                  <a:gd name="connsiteY115" fmla="*/ 2067767 h 2603500"/>
                  <a:gd name="connsiteX116" fmla="*/ 1506488 w 3765550"/>
                  <a:gd name="connsiteY116" fmla="*/ 2089357 h 2603500"/>
                  <a:gd name="connsiteX117" fmla="*/ 1522998 w 3765550"/>
                  <a:gd name="connsiteY117" fmla="*/ 2110947 h 2603500"/>
                  <a:gd name="connsiteX118" fmla="*/ 1540142 w 3765550"/>
                  <a:gd name="connsiteY118" fmla="*/ 2118567 h 2603500"/>
                  <a:gd name="connsiteX119" fmla="*/ 1524267 w 3765550"/>
                  <a:gd name="connsiteY119" fmla="*/ 2111582 h 2603500"/>
                  <a:gd name="connsiteX120" fmla="*/ 1576338 w 3765550"/>
                  <a:gd name="connsiteY120" fmla="*/ 2134442 h 2603500"/>
                  <a:gd name="connsiteX121" fmla="*/ 1550303 w 3765550"/>
                  <a:gd name="connsiteY121" fmla="*/ 2131902 h 2603500"/>
                  <a:gd name="connsiteX122" fmla="*/ 1672857 w 3765550"/>
                  <a:gd name="connsiteY122" fmla="*/ 2199847 h 2603500"/>
                  <a:gd name="connsiteX123" fmla="*/ 1700798 w 3765550"/>
                  <a:gd name="connsiteY123" fmla="*/ 2246202 h 2603500"/>
                  <a:gd name="connsiteX124" fmla="*/ 1764298 w 3765550"/>
                  <a:gd name="connsiteY124" fmla="*/ 2317322 h 2603500"/>
                  <a:gd name="connsiteX125" fmla="*/ 1740803 w 3765550"/>
                  <a:gd name="connsiteY125" fmla="*/ 2327482 h 2603500"/>
                  <a:gd name="connsiteX126" fmla="*/ 1783982 w 3765550"/>
                  <a:gd name="connsiteY126" fmla="*/ 2390982 h 2603500"/>
                  <a:gd name="connsiteX127" fmla="*/ 1734453 w 3765550"/>
                  <a:gd name="connsiteY127" fmla="*/ 2418922 h 2603500"/>
                  <a:gd name="connsiteX128" fmla="*/ 1710957 w 3765550"/>
                  <a:gd name="connsiteY128" fmla="*/ 2428447 h 2603500"/>
                  <a:gd name="connsiteX129" fmla="*/ 1690003 w 3765550"/>
                  <a:gd name="connsiteY129" fmla="*/ 2462737 h 2603500"/>
                  <a:gd name="connsiteX130" fmla="*/ 1667142 w 3765550"/>
                  <a:gd name="connsiteY130" fmla="*/ 2475437 h 2603500"/>
                  <a:gd name="connsiteX131" fmla="*/ 1668413 w 3765550"/>
                  <a:gd name="connsiteY131" fmla="*/ 2498932 h 2603500"/>
                  <a:gd name="connsiteX132" fmla="*/ 1669682 w 3765550"/>
                  <a:gd name="connsiteY132" fmla="*/ 2511632 h 2603500"/>
                  <a:gd name="connsiteX133" fmla="*/ 1709053 w 3765550"/>
                  <a:gd name="connsiteY133" fmla="*/ 2525602 h 2603500"/>
                  <a:gd name="connsiteX134" fmla="*/ 1796682 w 3765550"/>
                  <a:gd name="connsiteY134" fmla="*/ 2561162 h 2603500"/>
                  <a:gd name="connsiteX135" fmla="*/ 1803032 w 3765550"/>
                  <a:gd name="connsiteY135" fmla="*/ 2564972 h 2603500"/>
                  <a:gd name="connsiteX136" fmla="*/ 1797953 w 3765550"/>
                  <a:gd name="connsiteY136" fmla="*/ 2569417 h 2603500"/>
                  <a:gd name="connsiteX137" fmla="*/ 1942098 w 3765550"/>
                  <a:gd name="connsiteY137" fmla="*/ 2600532 h 2603500"/>
                  <a:gd name="connsiteX138" fmla="*/ 1931938 w 3765550"/>
                  <a:gd name="connsiteY138" fmla="*/ 2599897 h 2603500"/>
                  <a:gd name="connsiteX139" fmla="*/ 2081798 w 3765550"/>
                  <a:gd name="connsiteY139" fmla="*/ 2581482 h 2603500"/>
                  <a:gd name="connsiteX140" fmla="*/ 2474228 w 3765550"/>
                  <a:gd name="connsiteY140" fmla="*/ 2485597 h 2603500"/>
                  <a:gd name="connsiteX141" fmla="*/ 2479308 w 3765550"/>
                  <a:gd name="connsiteY141" fmla="*/ 2485597 h 2603500"/>
                  <a:gd name="connsiteX142" fmla="*/ 2697113 w 3765550"/>
                  <a:gd name="connsiteY142" fmla="*/ 2396697 h 2603500"/>
                  <a:gd name="connsiteX143" fmla="*/ 2761248 w 3765550"/>
                  <a:gd name="connsiteY143" fmla="*/ 2367487 h 2603500"/>
                  <a:gd name="connsiteX144" fmla="*/ 2783473 w 3765550"/>
                  <a:gd name="connsiteY144" fmla="*/ 2323672 h 2603500"/>
                  <a:gd name="connsiteX145" fmla="*/ 2812683 w 3765550"/>
                  <a:gd name="connsiteY145" fmla="*/ 2311607 h 2603500"/>
                  <a:gd name="connsiteX146" fmla="*/ 2906028 w 3765550"/>
                  <a:gd name="connsiteY146" fmla="*/ 2253822 h 2603500"/>
                  <a:gd name="connsiteX147" fmla="*/ 3114942 w 3765550"/>
                  <a:gd name="connsiteY147" fmla="*/ 2110947 h 2603500"/>
                  <a:gd name="connsiteX148" fmla="*/ 3139708 w 3765550"/>
                  <a:gd name="connsiteY148" fmla="*/ 2069672 h 2603500"/>
                  <a:gd name="connsiteX149" fmla="*/ 3145423 w 3765550"/>
                  <a:gd name="connsiteY149" fmla="*/ 2041097 h 2603500"/>
                  <a:gd name="connsiteX150" fmla="*/ 3166378 w 3765550"/>
                  <a:gd name="connsiteY150" fmla="*/ 2018237 h 2603500"/>
                  <a:gd name="connsiteX151" fmla="*/ 3159392 w 3765550"/>
                  <a:gd name="connsiteY151" fmla="*/ 2018237 h 2603500"/>
                  <a:gd name="connsiteX152" fmla="*/ 3136533 w 3765550"/>
                  <a:gd name="connsiteY152" fmla="*/ 1971882 h 2603500"/>
                  <a:gd name="connsiteX153" fmla="*/ 3158758 w 3765550"/>
                  <a:gd name="connsiteY153" fmla="*/ 1941402 h 2603500"/>
                  <a:gd name="connsiteX154" fmla="*/ 3132723 w 3765550"/>
                  <a:gd name="connsiteY154" fmla="*/ 1929972 h 2603500"/>
                  <a:gd name="connsiteX155" fmla="*/ 3194317 w 3765550"/>
                  <a:gd name="connsiteY155" fmla="*/ 1846152 h 2603500"/>
                  <a:gd name="connsiteX156" fmla="*/ 3210192 w 3765550"/>
                  <a:gd name="connsiteY156" fmla="*/ 1818212 h 2603500"/>
                  <a:gd name="connsiteX157" fmla="*/ 3219083 w 3765550"/>
                  <a:gd name="connsiteY157" fmla="*/ 1811862 h 2603500"/>
                  <a:gd name="connsiteX158" fmla="*/ 3227338 w 3765550"/>
                  <a:gd name="connsiteY158" fmla="*/ 1790907 h 2603500"/>
                  <a:gd name="connsiteX159" fmla="*/ 3265438 w 3765550"/>
                  <a:gd name="connsiteY159" fmla="*/ 1760427 h 2603500"/>
                  <a:gd name="connsiteX160" fmla="*/ 3264167 w 3765550"/>
                  <a:gd name="connsiteY160" fmla="*/ 1750902 h 2603500"/>
                  <a:gd name="connsiteX161" fmla="*/ 3284488 w 3765550"/>
                  <a:gd name="connsiteY161" fmla="*/ 1740742 h 2603500"/>
                  <a:gd name="connsiteX162" fmla="*/ 3321317 w 3765550"/>
                  <a:gd name="connsiteY162" fmla="*/ 1688037 h 2603500"/>
                  <a:gd name="connsiteX163" fmla="*/ 3443873 w 3765550"/>
                  <a:gd name="connsiteY163" fmla="*/ 1544527 h 2603500"/>
                  <a:gd name="connsiteX164" fmla="*/ 3521342 w 3765550"/>
                  <a:gd name="connsiteY164" fmla="*/ 1461977 h 2603500"/>
                  <a:gd name="connsiteX165" fmla="*/ 3612148 w 3765550"/>
                  <a:gd name="connsiteY165" fmla="*/ 1329897 h 2603500"/>
                  <a:gd name="connsiteX166" fmla="*/ 3662948 w 3765550"/>
                  <a:gd name="connsiteY166" fmla="*/ 1230837 h 2603500"/>
                  <a:gd name="connsiteX167" fmla="*/ 3699142 w 3765550"/>
                  <a:gd name="connsiteY167" fmla="*/ 1133047 h 2603500"/>
                  <a:gd name="connsiteX168" fmla="*/ 3739783 w 3765550"/>
                  <a:gd name="connsiteY168" fmla="*/ 1040337 h 2603500"/>
                  <a:gd name="connsiteX169" fmla="*/ 3742958 w 3765550"/>
                  <a:gd name="connsiteY169" fmla="*/ 997792 h 2603500"/>
                  <a:gd name="connsiteX170" fmla="*/ 3762008 w 3765550"/>
                  <a:gd name="connsiteY170" fmla="*/ 977472 h 2603500"/>
                  <a:gd name="connsiteX171" fmla="*/ 3747403 w 3765550"/>
                  <a:gd name="connsiteY171" fmla="*/ 988902 h 2603500"/>
                  <a:gd name="connsiteX172" fmla="*/ 3749942 w 3765550"/>
                  <a:gd name="connsiteY172" fmla="*/ 945722 h 2603500"/>
                  <a:gd name="connsiteX173" fmla="*/ 3756928 w 3765550"/>
                  <a:gd name="connsiteY173" fmla="*/ 917147 h 2603500"/>
                  <a:gd name="connsiteX174" fmla="*/ 3737878 w 3765550"/>
                  <a:gd name="connsiteY174" fmla="*/ 922862 h 2603500"/>
                  <a:gd name="connsiteX175" fmla="*/ 3711842 w 3765550"/>
                  <a:gd name="connsiteY175" fmla="*/ 964137 h 2603500"/>
                  <a:gd name="connsiteX176" fmla="*/ 3678823 w 3765550"/>
                  <a:gd name="connsiteY176" fmla="*/ 997157 h 2603500"/>
                  <a:gd name="connsiteX177" fmla="*/ 3650248 w 3765550"/>
                  <a:gd name="connsiteY177" fmla="*/ 1015572 h 2603500"/>
                  <a:gd name="connsiteX178" fmla="*/ 3635008 w 3765550"/>
                  <a:gd name="connsiteY178" fmla="*/ 1033987 h 2603500"/>
                  <a:gd name="connsiteX179" fmla="*/ 3605163 w 3765550"/>
                  <a:gd name="connsiteY179" fmla="*/ 1050497 h 2603500"/>
                  <a:gd name="connsiteX180" fmla="*/ 3565792 w 3765550"/>
                  <a:gd name="connsiteY180" fmla="*/ 1098122 h 2603500"/>
                  <a:gd name="connsiteX181" fmla="*/ 3537217 w 3765550"/>
                  <a:gd name="connsiteY181" fmla="*/ 1106377 h 2603500"/>
                  <a:gd name="connsiteX182" fmla="*/ 3427998 w 3765550"/>
                  <a:gd name="connsiteY182" fmla="*/ 1138762 h 2603500"/>
                  <a:gd name="connsiteX183" fmla="*/ 3394342 w 3765550"/>
                  <a:gd name="connsiteY183" fmla="*/ 1154637 h 2603500"/>
                  <a:gd name="connsiteX184" fmla="*/ 3433713 w 3765550"/>
                  <a:gd name="connsiteY184" fmla="*/ 1110187 h 2603500"/>
                  <a:gd name="connsiteX185" fmla="*/ 3327033 w 3765550"/>
                  <a:gd name="connsiteY185" fmla="*/ 1034622 h 2603500"/>
                  <a:gd name="connsiteX186" fmla="*/ 3279408 w 3765550"/>
                  <a:gd name="connsiteY186" fmla="*/ 1039702 h 2603500"/>
                  <a:gd name="connsiteX187" fmla="*/ 3264167 w 3765550"/>
                  <a:gd name="connsiteY187" fmla="*/ 1018747 h 2603500"/>
                  <a:gd name="connsiteX188" fmla="*/ 3257183 w 3765550"/>
                  <a:gd name="connsiteY188" fmla="*/ 1043512 h 2603500"/>
                  <a:gd name="connsiteX189" fmla="*/ 3192413 w 3765550"/>
                  <a:gd name="connsiteY189" fmla="*/ 914607 h 2603500"/>
                  <a:gd name="connsiteX190" fmla="*/ 3148598 w 3765550"/>
                  <a:gd name="connsiteY190" fmla="*/ 894922 h 2603500"/>
                  <a:gd name="connsiteX191" fmla="*/ 3131453 w 3765550"/>
                  <a:gd name="connsiteY191" fmla="*/ 893017 h 2603500"/>
                  <a:gd name="connsiteX192" fmla="*/ 3118753 w 3765550"/>
                  <a:gd name="connsiteY192" fmla="*/ 842852 h 2603500"/>
                  <a:gd name="connsiteX193" fmla="*/ 3100973 w 3765550"/>
                  <a:gd name="connsiteY193" fmla="*/ 780622 h 2603500"/>
                  <a:gd name="connsiteX194" fmla="*/ 3110498 w 3765550"/>
                  <a:gd name="connsiteY194" fmla="*/ 774907 h 2603500"/>
                  <a:gd name="connsiteX195" fmla="*/ 3088908 w 3765550"/>
                  <a:gd name="connsiteY195" fmla="*/ 750777 h 2603500"/>
                  <a:gd name="connsiteX196" fmla="*/ 3086367 w 3765550"/>
                  <a:gd name="connsiteY196" fmla="*/ 727282 h 2603500"/>
                  <a:gd name="connsiteX197" fmla="*/ 3048903 w 3765550"/>
                  <a:gd name="connsiteY197" fmla="*/ 705692 h 2603500"/>
                  <a:gd name="connsiteX198" fmla="*/ 3014613 w 3765550"/>
                  <a:gd name="connsiteY198" fmla="*/ 687912 h 2603500"/>
                  <a:gd name="connsiteX199" fmla="*/ 3019058 w 3765550"/>
                  <a:gd name="connsiteY199" fmla="*/ 639652 h 2603500"/>
                  <a:gd name="connsiteX200" fmla="*/ 2980323 w 3765550"/>
                  <a:gd name="connsiteY200" fmla="*/ 616792 h 2603500"/>
                  <a:gd name="connsiteX201" fmla="*/ 2940953 w 3765550"/>
                  <a:gd name="connsiteY201" fmla="*/ 555832 h 2603500"/>
                  <a:gd name="connsiteX202" fmla="*/ 2902217 w 3765550"/>
                  <a:gd name="connsiteY202" fmla="*/ 510747 h 2603500"/>
                  <a:gd name="connsiteX203" fmla="*/ 2903488 w 3765550"/>
                  <a:gd name="connsiteY203" fmla="*/ 494872 h 2603500"/>
                  <a:gd name="connsiteX204" fmla="*/ 2867928 w 3765550"/>
                  <a:gd name="connsiteY204" fmla="*/ 447247 h 2603500"/>
                  <a:gd name="connsiteX205" fmla="*/ 2873642 w 3765550"/>
                  <a:gd name="connsiteY205" fmla="*/ 444707 h 2603500"/>
                  <a:gd name="connsiteX206" fmla="*/ 2794267 w 3765550"/>
                  <a:gd name="connsiteY206" fmla="*/ 356442 h 2603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</a:cxnLst>
                <a:rect l="l" t="t" r="r" b="b"/>
                <a:pathLst>
                  <a:path w="3765550" h="2603500">
                    <a:moveTo>
                      <a:pt x="2756803" y="242142"/>
                    </a:moveTo>
                    <a:cubicBezTo>
                      <a:pt x="2742198" y="244682"/>
                      <a:pt x="2726323" y="242777"/>
                      <a:pt x="2712988" y="249127"/>
                    </a:cubicBezTo>
                    <a:cubicBezTo>
                      <a:pt x="2699017" y="256112"/>
                      <a:pt x="2692033" y="272622"/>
                      <a:pt x="2678698" y="281512"/>
                    </a:cubicBezTo>
                    <a:cubicBezTo>
                      <a:pt x="2674253" y="284687"/>
                      <a:pt x="2666633" y="280877"/>
                      <a:pt x="2662188" y="284687"/>
                    </a:cubicBezTo>
                    <a:cubicBezTo>
                      <a:pt x="2659013" y="287227"/>
                      <a:pt x="2635517" y="322152"/>
                      <a:pt x="2622817" y="322152"/>
                    </a:cubicBezTo>
                    <a:cubicBezTo>
                      <a:pt x="2572653" y="321517"/>
                      <a:pt x="2523758" y="312627"/>
                      <a:pt x="2473592" y="308182"/>
                    </a:cubicBezTo>
                    <a:cubicBezTo>
                      <a:pt x="2465338" y="307547"/>
                      <a:pt x="2457083" y="305007"/>
                      <a:pt x="2448828" y="306277"/>
                    </a:cubicBezTo>
                    <a:cubicBezTo>
                      <a:pt x="2438033" y="308817"/>
                      <a:pt x="2429142" y="320247"/>
                      <a:pt x="2418348" y="319612"/>
                    </a:cubicBezTo>
                    <a:cubicBezTo>
                      <a:pt x="2392313" y="317072"/>
                      <a:pt x="2368183" y="305007"/>
                      <a:pt x="2343417" y="296752"/>
                    </a:cubicBezTo>
                    <a:cubicBezTo>
                      <a:pt x="2342148" y="296117"/>
                      <a:pt x="2344053" y="294212"/>
                      <a:pt x="2342783" y="293577"/>
                    </a:cubicBezTo>
                    <a:cubicBezTo>
                      <a:pt x="2331353" y="289132"/>
                      <a:pt x="2316748" y="302467"/>
                      <a:pt x="2306588" y="296117"/>
                    </a:cubicBezTo>
                    <a:cubicBezTo>
                      <a:pt x="2297698" y="289767"/>
                      <a:pt x="2302142" y="272622"/>
                      <a:pt x="2292617" y="266907"/>
                    </a:cubicBezTo>
                    <a:cubicBezTo>
                      <a:pt x="2276742" y="257382"/>
                      <a:pt x="2257058" y="256112"/>
                      <a:pt x="2239278" y="253572"/>
                    </a:cubicBezTo>
                    <a:cubicBezTo>
                      <a:pt x="2224673" y="251667"/>
                      <a:pt x="2160538" y="277067"/>
                      <a:pt x="2156092" y="289132"/>
                    </a:cubicBezTo>
                    <a:cubicBezTo>
                      <a:pt x="2123073" y="384382"/>
                      <a:pt x="2171333" y="384382"/>
                      <a:pt x="2098942" y="442802"/>
                    </a:cubicBezTo>
                    <a:cubicBezTo>
                      <a:pt x="2077353" y="459947"/>
                      <a:pt x="2042428" y="421212"/>
                      <a:pt x="2034173" y="416767"/>
                    </a:cubicBezTo>
                    <a:cubicBezTo>
                      <a:pt x="2018932" y="409782"/>
                      <a:pt x="2003057" y="404702"/>
                      <a:pt x="1986548" y="401527"/>
                    </a:cubicBezTo>
                    <a:cubicBezTo>
                      <a:pt x="1954163" y="395812"/>
                      <a:pt x="1903363" y="407242"/>
                      <a:pt x="1881138" y="371682"/>
                    </a:cubicBezTo>
                    <a:cubicBezTo>
                      <a:pt x="1871613" y="357077"/>
                      <a:pt x="1876692" y="332947"/>
                      <a:pt x="1861453" y="324057"/>
                    </a:cubicBezTo>
                    <a:cubicBezTo>
                      <a:pt x="1712863" y="233887"/>
                      <a:pt x="1803032" y="316437"/>
                      <a:pt x="1702703" y="301197"/>
                    </a:cubicBezTo>
                    <a:cubicBezTo>
                      <a:pt x="1662063" y="294847"/>
                      <a:pt x="1647457" y="263097"/>
                      <a:pt x="1613167" y="245317"/>
                    </a:cubicBezTo>
                    <a:cubicBezTo>
                      <a:pt x="1606817" y="242142"/>
                      <a:pt x="1597928" y="249762"/>
                      <a:pt x="1592213" y="245317"/>
                    </a:cubicBezTo>
                    <a:cubicBezTo>
                      <a:pt x="1533157" y="198327"/>
                      <a:pt x="1638567" y="193882"/>
                      <a:pt x="1636663" y="144987"/>
                    </a:cubicBezTo>
                    <a:cubicBezTo>
                      <a:pt x="1636028" y="133557"/>
                      <a:pt x="1596657" y="94187"/>
                      <a:pt x="1599198" y="87202"/>
                    </a:cubicBezTo>
                    <a:cubicBezTo>
                      <a:pt x="1619517" y="25607"/>
                      <a:pt x="1688732" y="37037"/>
                      <a:pt x="1568082" y="6557"/>
                    </a:cubicBezTo>
                    <a:cubicBezTo>
                      <a:pt x="1531888" y="-2333"/>
                      <a:pt x="1533157" y="24337"/>
                      <a:pt x="1502678" y="31322"/>
                    </a:cubicBezTo>
                    <a:cubicBezTo>
                      <a:pt x="1488073" y="34497"/>
                      <a:pt x="1472832" y="30052"/>
                      <a:pt x="1457592" y="30052"/>
                    </a:cubicBezTo>
                    <a:cubicBezTo>
                      <a:pt x="1446798" y="29417"/>
                      <a:pt x="1436003" y="31957"/>
                      <a:pt x="1425842" y="30052"/>
                    </a:cubicBezTo>
                    <a:cubicBezTo>
                      <a:pt x="1413142" y="27512"/>
                      <a:pt x="1402348" y="17987"/>
                      <a:pt x="1389648" y="17352"/>
                    </a:cubicBezTo>
                    <a:cubicBezTo>
                      <a:pt x="1384567" y="17352"/>
                      <a:pt x="1382028" y="25607"/>
                      <a:pt x="1376948" y="27512"/>
                    </a:cubicBezTo>
                    <a:cubicBezTo>
                      <a:pt x="1361073" y="33862"/>
                      <a:pt x="1345198" y="44022"/>
                      <a:pt x="1328688" y="43387"/>
                    </a:cubicBezTo>
                    <a:cubicBezTo>
                      <a:pt x="1300113" y="42117"/>
                      <a:pt x="1274713" y="25607"/>
                      <a:pt x="1246773" y="20527"/>
                    </a:cubicBezTo>
                    <a:cubicBezTo>
                      <a:pt x="1208673" y="14177"/>
                      <a:pt x="1097548" y="26877"/>
                      <a:pt x="1066432" y="46562"/>
                    </a:cubicBezTo>
                    <a:cubicBezTo>
                      <a:pt x="1058178" y="52277"/>
                      <a:pt x="1055003" y="64977"/>
                      <a:pt x="1045478" y="68152"/>
                    </a:cubicBezTo>
                    <a:cubicBezTo>
                      <a:pt x="1032142" y="72597"/>
                      <a:pt x="1016267" y="61802"/>
                      <a:pt x="1002932" y="66882"/>
                    </a:cubicBezTo>
                    <a:cubicBezTo>
                      <a:pt x="982613" y="73867"/>
                      <a:pt x="968007" y="92917"/>
                      <a:pt x="948323" y="101807"/>
                    </a:cubicBezTo>
                    <a:cubicBezTo>
                      <a:pt x="922288" y="113237"/>
                      <a:pt x="907682" y="76407"/>
                      <a:pt x="890538" y="71327"/>
                    </a:cubicBezTo>
                    <a:cubicBezTo>
                      <a:pt x="882917" y="68787"/>
                      <a:pt x="877838" y="83392"/>
                      <a:pt x="869582" y="84027"/>
                    </a:cubicBezTo>
                    <a:cubicBezTo>
                      <a:pt x="867042" y="84027"/>
                      <a:pt x="813703" y="80852"/>
                      <a:pt x="800367" y="69422"/>
                    </a:cubicBezTo>
                    <a:cubicBezTo>
                      <a:pt x="790842" y="61167"/>
                      <a:pt x="782588" y="51642"/>
                      <a:pt x="776238" y="40847"/>
                    </a:cubicBezTo>
                    <a:cubicBezTo>
                      <a:pt x="771792" y="32592"/>
                      <a:pt x="776238" y="-9953"/>
                      <a:pt x="745123" y="21162"/>
                    </a:cubicBezTo>
                    <a:cubicBezTo>
                      <a:pt x="725438" y="40212"/>
                      <a:pt x="705753" y="117682"/>
                      <a:pt x="675273" y="127842"/>
                    </a:cubicBezTo>
                    <a:cubicBezTo>
                      <a:pt x="647332" y="137367"/>
                      <a:pt x="613042" y="133557"/>
                      <a:pt x="589548" y="151337"/>
                    </a:cubicBezTo>
                    <a:cubicBezTo>
                      <a:pt x="581292" y="157687"/>
                      <a:pt x="574942" y="165942"/>
                      <a:pt x="567323" y="171657"/>
                    </a:cubicBezTo>
                    <a:cubicBezTo>
                      <a:pt x="560338" y="177372"/>
                      <a:pt x="549542" y="179277"/>
                      <a:pt x="543828" y="186262"/>
                    </a:cubicBezTo>
                    <a:cubicBezTo>
                      <a:pt x="539382" y="192612"/>
                      <a:pt x="543828" y="202772"/>
                      <a:pt x="540017" y="209122"/>
                    </a:cubicBezTo>
                    <a:cubicBezTo>
                      <a:pt x="533667" y="220552"/>
                      <a:pt x="518428" y="225632"/>
                      <a:pt x="513982" y="238332"/>
                    </a:cubicBezTo>
                    <a:cubicBezTo>
                      <a:pt x="484773" y="326597"/>
                      <a:pt x="531128" y="305007"/>
                      <a:pt x="472707" y="363427"/>
                    </a:cubicBezTo>
                    <a:cubicBezTo>
                      <a:pt x="450482" y="385652"/>
                      <a:pt x="387617" y="416132"/>
                      <a:pt x="359678" y="421212"/>
                    </a:cubicBezTo>
                    <a:cubicBezTo>
                      <a:pt x="324753" y="428197"/>
                      <a:pt x="321578" y="400892"/>
                      <a:pt x="301257" y="428832"/>
                    </a:cubicBezTo>
                    <a:cubicBezTo>
                      <a:pt x="291732" y="441532"/>
                      <a:pt x="290463" y="459312"/>
                      <a:pt x="278398" y="469472"/>
                    </a:cubicBezTo>
                    <a:cubicBezTo>
                      <a:pt x="262523" y="482807"/>
                      <a:pt x="233313" y="478362"/>
                      <a:pt x="222517" y="496142"/>
                    </a:cubicBezTo>
                    <a:cubicBezTo>
                      <a:pt x="214263" y="510747"/>
                      <a:pt x="204103" y="524082"/>
                      <a:pt x="197753" y="539957"/>
                    </a:cubicBezTo>
                    <a:cubicBezTo>
                      <a:pt x="193307" y="551387"/>
                      <a:pt x="196482" y="565992"/>
                      <a:pt x="188863" y="575517"/>
                    </a:cubicBezTo>
                    <a:cubicBezTo>
                      <a:pt x="178703" y="587582"/>
                      <a:pt x="162192" y="593297"/>
                      <a:pt x="148223" y="600917"/>
                    </a:cubicBezTo>
                    <a:cubicBezTo>
                      <a:pt x="141238" y="604727"/>
                      <a:pt x="113932" y="605362"/>
                      <a:pt x="126632" y="613617"/>
                    </a:cubicBezTo>
                    <a:cubicBezTo>
                      <a:pt x="130442" y="616157"/>
                      <a:pt x="141238" y="602187"/>
                      <a:pt x="139332" y="606632"/>
                    </a:cubicBezTo>
                    <a:cubicBezTo>
                      <a:pt x="132982" y="623142"/>
                      <a:pt x="120917" y="637112"/>
                      <a:pt x="111392" y="651717"/>
                    </a:cubicBezTo>
                    <a:cubicBezTo>
                      <a:pt x="109488" y="654892"/>
                      <a:pt x="105678" y="655527"/>
                      <a:pt x="103773" y="658702"/>
                    </a:cubicBezTo>
                    <a:cubicBezTo>
                      <a:pt x="99328" y="665687"/>
                      <a:pt x="98692" y="674577"/>
                      <a:pt x="93613" y="680292"/>
                    </a:cubicBezTo>
                    <a:cubicBezTo>
                      <a:pt x="87263" y="686642"/>
                      <a:pt x="76467" y="687277"/>
                      <a:pt x="70117" y="693627"/>
                    </a:cubicBezTo>
                    <a:cubicBezTo>
                      <a:pt x="67578" y="696167"/>
                      <a:pt x="67578" y="701247"/>
                      <a:pt x="66942" y="705057"/>
                    </a:cubicBezTo>
                    <a:cubicBezTo>
                      <a:pt x="63132" y="722202"/>
                      <a:pt x="54242" y="739347"/>
                      <a:pt x="55513" y="756492"/>
                    </a:cubicBezTo>
                    <a:cubicBezTo>
                      <a:pt x="56148" y="763477"/>
                      <a:pt x="68213" y="762842"/>
                      <a:pt x="72657" y="768557"/>
                    </a:cubicBezTo>
                    <a:cubicBezTo>
                      <a:pt x="80913" y="779352"/>
                      <a:pt x="92978" y="790147"/>
                      <a:pt x="92978" y="803482"/>
                    </a:cubicBezTo>
                    <a:cubicBezTo>
                      <a:pt x="92978" y="818087"/>
                      <a:pt x="72657" y="827612"/>
                      <a:pt x="72023" y="842217"/>
                    </a:cubicBezTo>
                    <a:cubicBezTo>
                      <a:pt x="71388" y="875237"/>
                      <a:pt x="100598" y="909527"/>
                      <a:pt x="88532" y="940642"/>
                    </a:cubicBezTo>
                    <a:cubicBezTo>
                      <a:pt x="81548" y="957787"/>
                      <a:pt x="69482" y="973027"/>
                      <a:pt x="63132" y="990807"/>
                    </a:cubicBezTo>
                    <a:cubicBezTo>
                      <a:pt x="51703" y="1021287"/>
                      <a:pt x="70753" y="1027002"/>
                      <a:pt x="38367" y="1054307"/>
                    </a:cubicBezTo>
                    <a:cubicBezTo>
                      <a:pt x="29478" y="1061927"/>
                      <a:pt x="12332" y="1054942"/>
                      <a:pt x="5348" y="1064467"/>
                    </a:cubicBezTo>
                    <a:cubicBezTo>
                      <a:pt x="1538" y="1070182"/>
                      <a:pt x="17413" y="1072087"/>
                      <a:pt x="21857" y="1077167"/>
                    </a:cubicBezTo>
                    <a:cubicBezTo>
                      <a:pt x="35192" y="1090502"/>
                      <a:pt x="50432" y="1102567"/>
                      <a:pt x="60592" y="1118442"/>
                    </a:cubicBezTo>
                    <a:cubicBezTo>
                      <a:pt x="62498" y="1120982"/>
                      <a:pt x="56148" y="1123522"/>
                      <a:pt x="54242" y="1126697"/>
                    </a:cubicBezTo>
                    <a:cubicBezTo>
                      <a:pt x="51703" y="1131777"/>
                      <a:pt x="49163" y="1137492"/>
                      <a:pt x="49798" y="1143207"/>
                    </a:cubicBezTo>
                    <a:cubicBezTo>
                      <a:pt x="50432" y="1148922"/>
                      <a:pt x="53607" y="1154637"/>
                      <a:pt x="57417" y="1159082"/>
                    </a:cubicBezTo>
                    <a:cubicBezTo>
                      <a:pt x="60592" y="1162892"/>
                      <a:pt x="69482" y="1162892"/>
                      <a:pt x="68848" y="1167337"/>
                    </a:cubicBezTo>
                    <a:cubicBezTo>
                      <a:pt x="64403" y="1194642"/>
                      <a:pt x="51703" y="1145747"/>
                      <a:pt x="41542" y="1146382"/>
                    </a:cubicBezTo>
                    <a:cubicBezTo>
                      <a:pt x="34557" y="1147017"/>
                      <a:pt x="35828" y="1160987"/>
                      <a:pt x="40273" y="1166702"/>
                    </a:cubicBezTo>
                    <a:cubicBezTo>
                      <a:pt x="54878" y="1185752"/>
                      <a:pt x="77738" y="1197182"/>
                      <a:pt x="94882" y="1214327"/>
                    </a:cubicBezTo>
                    <a:cubicBezTo>
                      <a:pt x="100598" y="1219407"/>
                      <a:pt x="82817" y="1205437"/>
                      <a:pt x="75832" y="1201627"/>
                    </a:cubicBezTo>
                    <a:cubicBezTo>
                      <a:pt x="72657" y="1199722"/>
                      <a:pt x="28207" y="1174957"/>
                      <a:pt x="40907" y="1202262"/>
                    </a:cubicBezTo>
                    <a:cubicBezTo>
                      <a:pt x="47257" y="1215597"/>
                      <a:pt x="57417" y="1227027"/>
                      <a:pt x="69482" y="1235282"/>
                    </a:cubicBezTo>
                    <a:cubicBezTo>
                      <a:pt x="75198" y="1239727"/>
                      <a:pt x="86628" y="1232107"/>
                      <a:pt x="91073" y="1237822"/>
                    </a:cubicBezTo>
                    <a:cubicBezTo>
                      <a:pt x="94248" y="1242267"/>
                      <a:pt x="73292" y="1243537"/>
                      <a:pt x="77738" y="1246077"/>
                    </a:cubicBezTo>
                    <a:cubicBezTo>
                      <a:pt x="92342" y="1253062"/>
                      <a:pt x="115203" y="1242267"/>
                      <a:pt x="125998" y="1254332"/>
                    </a:cubicBezTo>
                    <a:cubicBezTo>
                      <a:pt x="132982" y="1261952"/>
                      <a:pt x="101867" y="1262587"/>
                      <a:pt x="101232" y="1272747"/>
                    </a:cubicBezTo>
                    <a:cubicBezTo>
                      <a:pt x="100598" y="1285447"/>
                      <a:pt x="117107" y="1292432"/>
                      <a:pt x="124728" y="1302592"/>
                    </a:cubicBezTo>
                    <a:cubicBezTo>
                      <a:pt x="131078" y="1312117"/>
                      <a:pt x="134888" y="1323547"/>
                      <a:pt x="142507" y="1331802"/>
                    </a:cubicBezTo>
                    <a:cubicBezTo>
                      <a:pt x="152032" y="1342597"/>
                      <a:pt x="167273" y="1347677"/>
                      <a:pt x="176798" y="1358472"/>
                    </a:cubicBezTo>
                    <a:cubicBezTo>
                      <a:pt x="191403" y="1374347"/>
                      <a:pt x="202832" y="1392762"/>
                      <a:pt x="213628" y="1411812"/>
                    </a:cubicBezTo>
                    <a:cubicBezTo>
                      <a:pt x="216167" y="1416257"/>
                      <a:pt x="212357" y="1421972"/>
                      <a:pt x="213628" y="1426417"/>
                    </a:cubicBezTo>
                    <a:cubicBezTo>
                      <a:pt x="219978" y="1443562"/>
                      <a:pt x="230773" y="1459437"/>
                      <a:pt x="236488" y="1476582"/>
                    </a:cubicBezTo>
                    <a:cubicBezTo>
                      <a:pt x="237123" y="1479122"/>
                      <a:pt x="230138" y="1482297"/>
                      <a:pt x="232678" y="1484202"/>
                    </a:cubicBezTo>
                    <a:cubicBezTo>
                      <a:pt x="244107" y="1495632"/>
                      <a:pt x="274588" y="1501347"/>
                      <a:pt x="273953" y="1512142"/>
                    </a:cubicBezTo>
                    <a:cubicBezTo>
                      <a:pt x="273953" y="1517857"/>
                      <a:pt x="254267" y="1511507"/>
                      <a:pt x="258078" y="1515952"/>
                    </a:cubicBezTo>
                    <a:cubicBezTo>
                      <a:pt x="266332" y="1527382"/>
                      <a:pt x="282207" y="1530557"/>
                      <a:pt x="293638" y="1538812"/>
                    </a:cubicBezTo>
                    <a:cubicBezTo>
                      <a:pt x="350788" y="1580087"/>
                      <a:pt x="290463" y="1536907"/>
                      <a:pt x="319038" y="1566752"/>
                    </a:cubicBezTo>
                    <a:cubicBezTo>
                      <a:pt x="416192" y="1667717"/>
                      <a:pt x="303798" y="1548972"/>
                      <a:pt x="375553" y="1609932"/>
                    </a:cubicBezTo>
                    <a:cubicBezTo>
                      <a:pt x="408573" y="1637872"/>
                      <a:pt x="463817" y="1712167"/>
                      <a:pt x="509538" y="1718517"/>
                    </a:cubicBezTo>
                    <a:cubicBezTo>
                      <a:pt x="602882" y="1730582"/>
                      <a:pt x="705117" y="1728677"/>
                      <a:pt x="795923" y="1760427"/>
                    </a:cubicBezTo>
                    <a:cubicBezTo>
                      <a:pt x="800367" y="1762332"/>
                      <a:pt x="776873" y="1759792"/>
                      <a:pt x="781317" y="1761062"/>
                    </a:cubicBezTo>
                    <a:cubicBezTo>
                      <a:pt x="816878" y="1769317"/>
                      <a:pt x="851803" y="1778842"/>
                      <a:pt x="887998" y="1781382"/>
                    </a:cubicBezTo>
                    <a:cubicBezTo>
                      <a:pt x="905142" y="1782652"/>
                      <a:pt x="922288" y="1773762"/>
                      <a:pt x="939432" y="1773127"/>
                    </a:cubicBezTo>
                    <a:cubicBezTo>
                      <a:pt x="1028332" y="1769317"/>
                      <a:pt x="1116598" y="1768047"/>
                      <a:pt x="1205498" y="1768047"/>
                    </a:cubicBezTo>
                    <a:cubicBezTo>
                      <a:pt x="1235978" y="1768047"/>
                      <a:pt x="1232803" y="1787732"/>
                      <a:pt x="1264553" y="1802337"/>
                    </a:cubicBezTo>
                    <a:cubicBezTo>
                      <a:pt x="1268998" y="1804242"/>
                      <a:pt x="1275982" y="1792812"/>
                      <a:pt x="1278523" y="1797257"/>
                    </a:cubicBezTo>
                    <a:cubicBezTo>
                      <a:pt x="1297573" y="1826467"/>
                      <a:pt x="1274713" y="1865837"/>
                      <a:pt x="1329323" y="1870282"/>
                    </a:cubicBezTo>
                    <a:cubicBezTo>
                      <a:pt x="1343292" y="1871552"/>
                      <a:pt x="1352182" y="1849327"/>
                      <a:pt x="1366153" y="1848692"/>
                    </a:cubicBezTo>
                    <a:cubicBezTo>
                      <a:pt x="1386473" y="1848057"/>
                      <a:pt x="1404253" y="1862662"/>
                      <a:pt x="1423938" y="1865837"/>
                    </a:cubicBezTo>
                    <a:cubicBezTo>
                      <a:pt x="1436638" y="1868377"/>
                      <a:pt x="1451242" y="1872187"/>
                      <a:pt x="1462673" y="1865202"/>
                    </a:cubicBezTo>
                    <a:cubicBezTo>
                      <a:pt x="1468388" y="1861392"/>
                      <a:pt x="1449338" y="1849962"/>
                      <a:pt x="1455053" y="1846787"/>
                    </a:cubicBezTo>
                    <a:cubicBezTo>
                      <a:pt x="1477278" y="1834087"/>
                      <a:pt x="1486803" y="1878537"/>
                      <a:pt x="1512203" y="1889332"/>
                    </a:cubicBezTo>
                    <a:cubicBezTo>
                      <a:pt x="1524267" y="1894412"/>
                      <a:pt x="1540142" y="1877902"/>
                      <a:pt x="1550938" y="1885522"/>
                    </a:cubicBezTo>
                    <a:cubicBezTo>
                      <a:pt x="1582688" y="1909652"/>
                      <a:pt x="1557923" y="1933147"/>
                      <a:pt x="1555382" y="1957277"/>
                    </a:cubicBezTo>
                    <a:cubicBezTo>
                      <a:pt x="1553478" y="1974422"/>
                      <a:pt x="1560463" y="1992837"/>
                      <a:pt x="1554748" y="2009347"/>
                    </a:cubicBezTo>
                    <a:cubicBezTo>
                      <a:pt x="1468388" y="2248107"/>
                      <a:pt x="1587767" y="1812497"/>
                      <a:pt x="1489978" y="2067767"/>
                    </a:cubicBezTo>
                    <a:cubicBezTo>
                      <a:pt x="1486803" y="2076022"/>
                      <a:pt x="1500773" y="2082372"/>
                      <a:pt x="1506488" y="2089357"/>
                    </a:cubicBezTo>
                    <a:cubicBezTo>
                      <a:pt x="1512203" y="2096342"/>
                      <a:pt x="1516013" y="2105232"/>
                      <a:pt x="1522998" y="2110947"/>
                    </a:cubicBezTo>
                    <a:cubicBezTo>
                      <a:pt x="1527442" y="2114757"/>
                      <a:pt x="1534428" y="2115392"/>
                      <a:pt x="1540142" y="2118567"/>
                    </a:cubicBezTo>
                    <a:cubicBezTo>
                      <a:pt x="1545223" y="2121742"/>
                      <a:pt x="1518553" y="2109042"/>
                      <a:pt x="1524267" y="2111582"/>
                    </a:cubicBezTo>
                    <a:cubicBezTo>
                      <a:pt x="1541413" y="2119202"/>
                      <a:pt x="1561098" y="2123012"/>
                      <a:pt x="1576338" y="2134442"/>
                    </a:cubicBezTo>
                    <a:cubicBezTo>
                      <a:pt x="1583323" y="2139522"/>
                      <a:pt x="1543953" y="2126187"/>
                      <a:pt x="1550303" y="2131902"/>
                    </a:cubicBezTo>
                    <a:cubicBezTo>
                      <a:pt x="1573163" y="2152222"/>
                      <a:pt x="1643013" y="2180162"/>
                      <a:pt x="1672857" y="2199847"/>
                    </a:cubicBezTo>
                    <a:cubicBezTo>
                      <a:pt x="1703338" y="2220167"/>
                      <a:pt x="1671588" y="2214452"/>
                      <a:pt x="1700798" y="2246202"/>
                    </a:cubicBezTo>
                    <a:cubicBezTo>
                      <a:pt x="1710957" y="2257632"/>
                      <a:pt x="1761757" y="2300812"/>
                      <a:pt x="1764298" y="2317322"/>
                    </a:cubicBezTo>
                    <a:cubicBezTo>
                      <a:pt x="1765567" y="2325577"/>
                      <a:pt x="1739532" y="2318592"/>
                      <a:pt x="1740803" y="2327482"/>
                    </a:cubicBezTo>
                    <a:cubicBezTo>
                      <a:pt x="1743342" y="2342087"/>
                      <a:pt x="1804938" y="2368122"/>
                      <a:pt x="1783982" y="2390982"/>
                    </a:cubicBezTo>
                    <a:cubicBezTo>
                      <a:pt x="1771282" y="2404952"/>
                      <a:pt x="1751598" y="2410032"/>
                      <a:pt x="1734453" y="2418922"/>
                    </a:cubicBezTo>
                    <a:cubicBezTo>
                      <a:pt x="1726832" y="2422732"/>
                      <a:pt x="1717307" y="2422732"/>
                      <a:pt x="1710957" y="2428447"/>
                    </a:cubicBezTo>
                    <a:cubicBezTo>
                      <a:pt x="1701432" y="2437972"/>
                      <a:pt x="1698892" y="2452577"/>
                      <a:pt x="1690003" y="2462737"/>
                    </a:cubicBezTo>
                    <a:cubicBezTo>
                      <a:pt x="1684288" y="2469087"/>
                      <a:pt x="1671588" y="2467817"/>
                      <a:pt x="1667142" y="2475437"/>
                    </a:cubicBezTo>
                    <a:cubicBezTo>
                      <a:pt x="1663332" y="2482422"/>
                      <a:pt x="1667778" y="2491312"/>
                      <a:pt x="1668413" y="2498932"/>
                    </a:cubicBezTo>
                    <a:cubicBezTo>
                      <a:pt x="1668413" y="2503377"/>
                      <a:pt x="1665873" y="2509727"/>
                      <a:pt x="1669682" y="2511632"/>
                    </a:cubicBezTo>
                    <a:cubicBezTo>
                      <a:pt x="1681113" y="2519252"/>
                      <a:pt x="1695717" y="2520522"/>
                      <a:pt x="1709053" y="2525602"/>
                    </a:cubicBezTo>
                    <a:cubicBezTo>
                      <a:pt x="1738263" y="2537032"/>
                      <a:pt x="1767473" y="2549097"/>
                      <a:pt x="1796682" y="2561162"/>
                    </a:cubicBezTo>
                    <a:cubicBezTo>
                      <a:pt x="1799223" y="2562432"/>
                      <a:pt x="1803032" y="2562432"/>
                      <a:pt x="1803032" y="2564972"/>
                    </a:cubicBezTo>
                    <a:cubicBezTo>
                      <a:pt x="1803667" y="2567512"/>
                      <a:pt x="1796048" y="2568782"/>
                      <a:pt x="1797953" y="2569417"/>
                    </a:cubicBezTo>
                    <a:cubicBezTo>
                      <a:pt x="1845578" y="2581482"/>
                      <a:pt x="1893838" y="2589737"/>
                      <a:pt x="1942098" y="2600532"/>
                    </a:cubicBezTo>
                    <a:lnTo>
                      <a:pt x="1931938" y="2599897"/>
                    </a:lnTo>
                    <a:cubicBezTo>
                      <a:pt x="1982103" y="2595452"/>
                      <a:pt x="2032267" y="2589737"/>
                      <a:pt x="2081798" y="2581482"/>
                    </a:cubicBezTo>
                    <a:cubicBezTo>
                      <a:pt x="2215148" y="2558622"/>
                      <a:pt x="2345958" y="2526872"/>
                      <a:pt x="2474228" y="2485597"/>
                    </a:cubicBezTo>
                    <a:lnTo>
                      <a:pt x="2479308" y="2485597"/>
                    </a:lnTo>
                    <a:cubicBezTo>
                      <a:pt x="2554238" y="2460197"/>
                      <a:pt x="2624088" y="2426542"/>
                      <a:pt x="2697113" y="2396697"/>
                    </a:cubicBezTo>
                    <a:cubicBezTo>
                      <a:pt x="2709178" y="2391617"/>
                      <a:pt x="2752358" y="2377012"/>
                      <a:pt x="2761248" y="2367487"/>
                    </a:cubicBezTo>
                    <a:cubicBezTo>
                      <a:pt x="2771408" y="2355422"/>
                      <a:pt x="2772042" y="2335737"/>
                      <a:pt x="2783473" y="2323672"/>
                    </a:cubicBezTo>
                    <a:cubicBezTo>
                      <a:pt x="2790458" y="2316052"/>
                      <a:pt x="2803158" y="2316687"/>
                      <a:pt x="2812683" y="2311607"/>
                    </a:cubicBezTo>
                    <a:cubicBezTo>
                      <a:pt x="2854592" y="2290652"/>
                      <a:pt x="2870467" y="2276682"/>
                      <a:pt x="2906028" y="2253822"/>
                    </a:cubicBezTo>
                    <a:cubicBezTo>
                      <a:pt x="2970798" y="2211912"/>
                      <a:pt x="3071763" y="2178892"/>
                      <a:pt x="3114942" y="2110947"/>
                    </a:cubicBezTo>
                    <a:cubicBezTo>
                      <a:pt x="3123198" y="2097612"/>
                      <a:pt x="3133358" y="2084277"/>
                      <a:pt x="3139708" y="2069672"/>
                    </a:cubicBezTo>
                    <a:cubicBezTo>
                      <a:pt x="3143517" y="2060782"/>
                      <a:pt x="3140978" y="2049987"/>
                      <a:pt x="3145423" y="2041097"/>
                    </a:cubicBezTo>
                    <a:cubicBezTo>
                      <a:pt x="3149867" y="2032207"/>
                      <a:pt x="3160663" y="2027127"/>
                      <a:pt x="3166378" y="2018237"/>
                    </a:cubicBezTo>
                    <a:cubicBezTo>
                      <a:pt x="3167648" y="2016332"/>
                      <a:pt x="3160663" y="2020142"/>
                      <a:pt x="3159392" y="2018237"/>
                    </a:cubicBezTo>
                    <a:cubicBezTo>
                      <a:pt x="3149867" y="2003632"/>
                      <a:pt x="3136533" y="1989027"/>
                      <a:pt x="3136533" y="1971882"/>
                    </a:cubicBezTo>
                    <a:cubicBezTo>
                      <a:pt x="3136533" y="1959182"/>
                      <a:pt x="3160028" y="1954102"/>
                      <a:pt x="3158758" y="1941402"/>
                    </a:cubicBezTo>
                    <a:cubicBezTo>
                      <a:pt x="3158123" y="1931877"/>
                      <a:pt x="3132088" y="1939497"/>
                      <a:pt x="3132723" y="1929972"/>
                    </a:cubicBezTo>
                    <a:cubicBezTo>
                      <a:pt x="3135898" y="1900762"/>
                      <a:pt x="3177808" y="1868377"/>
                      <a:pt x="3194317" y="1846152"/>
                    </a:cubicBezTo>
                    <a:cubicBezTo>
                      <a:pt x="3200667" y="1837262"/>
                      <a:pt x="3203842" y="1827102"/>
                      <a:pt x="3210192" y="1818212"/>
                    </a:cubicBezTo>
                    <a:cubicBezTo>
                      <a:pt x="3212098" y="1815037"/>
                      <a:pt x="3217178" y="1815037"/>
                      <a:pt x="3219083" y="1811862"/>
                    </a:cubicBezTo>
                    <a:cubicBezTo>
                      <a:pt x="3222892" y="1805512"/>
                      <a:pt x="3222258" y="1796622"/>
                      <a:pt x="3227338" y="1790907"/>
                    </a:cubicBezTo>
                    <a:cubicBezTo>
                      <a:pt x="3238133" y="1778842"/>
                      <a:pt x="3254642" y="1772492"/>
                      <a:pt x="3265438" y="1760427"/>
                    </a:cubicBezTo>
                    <a:cubicBezTo>
                      <a:pt x="3267342" y="1757887"/>
                      <a:pt x="3262263" y="1753442"/>
                      <a:pt x="3264167" y="1750902"/>
                    </a:cubicBezTo>
                    <a:cubicBezTo>
                      <a:pt x="3269248" y="1745187"/>
                      <a:pt x="3278773" y="1745187"/>
                      <a:pt x="3284488" y="1740742"/>
                    </a:cubicBezTo>
                    <a:cubicBezTo>
                      <a:pt x="3300998" y="1727407"/>
                      <a:pt x="3308617" y="1705182"/>
                      <a:pt x="3321317" y="1688037"/>
                    </a:cubicBezTo>
                    <a:cubicBezTo>
                      <a:pt x="3358783" y="1639142"/>
                      <a:pt x="3403233" y="1592152"/>
                      <a:pt x="3443873" y="1544527"/>
                    </a:cubicBezTo>
                    <a:cubicBezTo>
                      <a:pt x="3468638" y="1515952"/>
                      <a:pt x="3497213" y="1491187"/>
                      <a:pt x="3521342" y="1461977"/>
                    </a:cubicBezTo>
                    <a:cubicBezTo>
                      <a:pt x="3554998" y="1422607"/>
                      <a:pt x="3586113" y="1375617"/>
                      <a:pt x="3612148" y="1329897"/>
                    </a:cubicBezTo>
                    <a:cubicBezTo>
                      <a:pt x="3629928" y="1298147"/>
                      <a:pt x="3648978" y="1263857"/>
                      <a:pt x="3662948" y="1230837"/>
                    </a:cubicBezTo>
                    <a:cubicBezTo>
                      <a:pt x="3676283" y="1199087"/>
                      <a:pt x="3684538" y="1164797"/>
                      <a:pt x="3699142" y="1133047"/>
                    </a:cubicBezTo>
                    <a:cubicBezTo>
                      <a:pt x="3712478" y="1103837"/>
                      <a:pt x="3732798" y="1072087"/>
                      <a:pt x="3739783" y="1040337"/>
                    </a:cubicBezTo>
                    <a:cubicBezTo>
                      <a:pt x="3742958" y="1026367"/>
                      <a:pt x="3738513" y="1011127"/>
                      <a:pt x="3742958" y="997792"/>
                    </a:cubicBezTo>
                    <a:cubicBezTo>
                      <a:pt x="3746133" y="988902"/>
                      <a:pt x="3758198" y="985727"/>
                      <a:pt x="3762008" y="977472"/>
                    </a:cubicBezTo>
                    <a:cubicBezTo>
                      <a:pt x="3765183" y="971757"/>
                      <a:pt x="3749308" y="995252"/>
                      <a:pt x="3747403" y="988902"/>
                    </a:cubicBezTo>
                    <a:cubicBezTo>
                      <a:pt x="3742323" y="975567"/>
                      <a:pt x="3748038" y="960327"/>
                      <a:pt x="3749942" y="945722"/>
                    </a:cubicBezTo>
                    <a:cubicBezTo>
                      <a:pt x="3751213" y="936197"/>
                      <a:pt x="3761373" y="926037"/>
                      <a:pt x="3756928" y="917147"/>
                    </a:cubicBezTo>
                    <a:cubicBezTo>
                      <a:pt x="3753753" y="911432"/>
                      <a:pt x="3742958" y="918417"/>
                      <a:pt x="3737878" y="922862"/>
                    </a:cubicBezTo>
                    <a:cubicBezTo>
                      <a:pt x="3726448" y="934292"/>
                      <a:pt x="3722003" y="951437"/>
                      <a:pt x="3711842" y="964137"/>
                    </a:cubicBezTo>
                    <a:cubicBezTo>
                      <a:pt x="3702317" y="976202"/>
                      <a:pt x="3690253" y="986362"/>
                      <a:pt x="3678823" y="997157"/>
                    </a:cubicBezTo>
                    <a:cubicBezTo>
                      <a:pt x="3640723" y="1034622"/>
                      <a:pt x="3709303" y="967312"/>
                      <a:pt x="3650248" y="1015572"/>
                    </a:cubicBezTo>
                    <a:cubicBezTo>
                      <a:pt x="3643898" y="1020652"/>
                      <a:pt x="3641358" y="1029542"/>
                      <a:pt x="3635008" y="1033987"/>
                    </a:cubicBezTo>
                    <a:cubicBezTo>
                      <a:pt x="3626117" y="1040972"/>
                      <a:pt x="3613417" y="1042877"/>
                      <a:pt x="3605163" y="1050497"/>
                    </a:cubicBezTo>
                    <a:cubicBezTo>
                      <a:pt x="3589923" y="1064467"/>
                      <a:pt x="3581667" y="1084787"/>
                      <a:pt x="3565792" y="1098122"/>
                    </a:cubicBezTo>
                    <a:cubicBezTo>
                      <a:pt x="3558173" y="1104472"/>
                      <a:pt x="3546742" y="1103202"/>
                      <a:pt x="3537217" y="1106377"/>
                    </a:cubicBezTo>
                    <a:cubicBezTo>
                      <a:pt x="3501023" y="1117172"/>
                      <a:pt x="3463558" y="1126062"/>
                      <a:pt x="3427998" y="1138762"/>
                    </a:cubicBezTo>
                    <a:cubicBezTo>
                      <a:pt x="3415933" y="1142572"/>
                      <a:pt x="3391803" y="1167337"/>
                      <a:pt x="3394342" y="1154637"/>
                    </a:cubicBezTo>
                    <a:cubicBezTo>
                      <a:pt x="3398153" y="1134952"/>
                      <a:pt x="3426728" y="1128602"/>
                      <a:pt x="3433713" y="1110187"/>
                    </a:cubicBezTo>
                    <a:cubicBezTo>
                      <a:pt x="3441967" y="1088597"/>
                      <a:pt x="3336558" y="1036527"/>
                      <a:pt x="3327033" y="1034622"/>
                    </a:cubicBezTo>
                    <a:cubicBezTo>
                      <a:pt x="3311158" y="1030812"/>
                      <a:pt x="3294648" y="1043512"/>
                      <a:pt x="3279408" y="1039702"/>
                    </a:cubicBezTo>
                    <a:cubicBezTo>
                      <a:pt x="3271153" y="1037797"/>
                      <a:pt x="3273058" y="1017477"/>
                      <a:pt x="3264167" y="1018747"/>
                    </a:cubicBezTo>
                    <a:cubicBezTo>
                      <a:pt x="3255913" y="1020017"/>
                      <a:pt x="3265438" y="1046687"/>
                      <a:pt x="3257183" y="1043512"/>
                    </a:cubicBezTo>
                    <a:cubicBezTo>
                      <a:pt x="3226703" y="1032082"/>
                      <a:pt x="3223528" y="941912"/>
                      <a:pt x="3192413" y="914607"/>
                    </a:cubicBezTo>
                    <a:cubicBezTo>
                      <a:pt x="3180348" y="903812"/>
                      <a:pt x="3163838" y="900002"/>
                      <a:pt x="3148598" y="894922"/>
                    </a:cubicBezTo>
                    <a:cubicBezTo>
                      <a:pt x="3143517" y="893017"/>
                      <a:pt x="3134628" y="898097"/>
                      <a:pt x="3131453" y="893017"/>
                    </a:cubicBezTo>
                    <a:cubicBezTo>
                      <a:pt x="3123198" y="877777"/>
                      <a:pt x="3123198" y="859362"/>
                      <a:pt x="3118753" y="842852"/>
                    </a:cubicBezTo>
                    <a:cubicBezTo>
                      <a:pt x="3113038" y="821897"/>
                      <a:pt x="3103513" y="802212"/>
                      <a:pt x="3100973" y="780622"/>
                    </a:cubicBezTo>
                    <a:cubicBezTo>
                      <a:pt x="3100338" y="776812"/>
                      <a:pt x="3111767" y="778717"/>
                      <a:pt x="3110498" y="774907"/>
                    </a:cubicBezTo>
                    <a:cubicBezTo>
                      <a:pt x="3106688" y="764747"/>
                      <a:pt x="3093988" y="760302"/>
                      <a:pt x="3088908" y="750777"/>
                    </a:cubicBezTo>
                    <a:cubicBezTo>
                      <a:pt x="3085098" y="743792"/>
                      <a:pt x="3091448" y="733632"/>
                      <a:pt x="3086367" y="727282"/>
                    </a:cubicBezTo>
                    <a:cubicBezTo>
                      <a:pt x="3076842" y="716487"/>
                      <a:pt x="3061603" y="712677"/>
                      <a:pt x="3048903" y="705692"/>
                    </a:cubicBezTo>
                    <a:cubicBezTo>
                      <a:pt x="3037473" y="699342"/>
                      <a:pt x="3020328" y="699977"/>
                      <a:pt x="3014613" y="687912"/>
                    </a:cubicBezTo>
                    <a:cubicBezTo>
                      <a:pt x="3007628" y="673307"/>
                      <a:pt x="3026042" y="654257"/>
                      <a:pt x="3019058" y="639652"/>
                    </a:cubicBezTo>
                    <a:cubicBezTo>
                      <a:pt x="3012708" y="626317"/>
                      <a:pt x="2991117" y="626952"/>
                      <a:pt x="2980323" y="616792"/>
                    </a:cubicBezTo>
                    <a:cubicBezTo>
                      <a:pt x="2942223" y="579327"/>
                      <a:pt x="2962542" y="583772"/>
                      <a:pt x="2940953" y="555832"/>
                    </a:cubicBezTo>
                    <a:cubicBezTo>
                      <a:pt x="2921903" y="531702"/>
                      <a:pt x="2922538" y="550752"/>
                      <a:pt x="2902217" y="510747"/>
                    </a:cubicBezTo>
                    <a:cubicBezTo>
                      <a:pt x="2899678" y="505667"/>
                      <a:pt x="2906028" y="499317"/>
                      <a:pt x="2903488" y="494872"/>
                    </a:cubicBezTo>
                    <a:cubicBezTo>
                      <a:pt x="2893963" y="477727"/>
                      <a:pt x="2878088" y="464392"/>
                      <a:pt x="2867928" y="447247"/>
                    </a:cubicBezTo>
                    <a:cubicBezTo>
                      <a:pt x="2866658" y="445342"/>
                      <a:pt x="2874913" y="445977"/>
                      <a:pt x="2873642" y="444707"/>
                    </a:cubicBezTo>
                    <a:cubicBezTo>
                      <a:pt x="2839988" y="407877"/>
                      <a:pt x="2811413" y="414862"/>
                      <a:pt x="2794267" y="35644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E91F8A42-908E-4A45-BE55-23C4D0E8DAA9}"/>
                  </a:ext>
                </a:extLst>
              </p:cNvPr>
              <p:cNvSpPr/>
              <p:nvPr/>
            </p:nvSpPr>
            <p:spPr>
              <a:xfrm>
                <a:off x="8040537" y="839152"/>
                <a:ext cx="3790950" cy="4038600"/>
              </a:xfrm>
              <a:custGeom>
                <a:avLst/>
                <a:gdLst>
                  <a:gd name="connsiteX0" fmla="*/ 2197568 w 3790950"/>
                  <a:gd name="connsiteY0" fmla="*/ 3313748 h 4038600"/>
                  <a:gd name="connsiteX1" fmla="*/ 2217253 w 3790950"/>
                  <a:gd name="connsiteY1" fmla="*/ 3309303 h 4038600"/>
                  <a:gd name="connsiteX2" fmla="*/ 2308058 w 3790950"/>
                  <a:gd name="connsiteY2" fmla="*/ 3396298 h 4038600"/>
                  <a:gd name="connsiteX3" fmla="*/ 2330918 w 3790950"/>
                  <a:gd name="connsiteY3" fmla="*/ 3341688 h 4038600"/>
                  <a:gd name="connsiteX4" fmla="*/ 2323933 w 3790950"/>
                  <a:gd name="connsiteY4" fmla="*/ 3372168 h 4038600"/>
                  <a:gd name="connsiteX5" fmla="*/ 2356318 w 3790950"/>
                  <a:gd name="connsiteY5" fmla="*/ 3363913 h 4038600"/>
                  <a:gd name="connsiteX6" fmla="*/ 2410293 w 3790950"/>
                  <a:gd name="connsiteY6" fmla="*/ 3427413 h 4038600"/>
                  <a:gd name="connsiteX7" fmla="*/ 2434423 w 3790950"/>
                  <a:gd name="connsiteY7" fmla="*/ 3455988 h 4038600"/>
                  <a:gd name="connsiteX8" fmla="*/ 2445218 w 3790950"/>
                  <a:gd name="connsiteY8" fmla="*/ 3457258 h 4038600"/>
                  <a:gd name="connsiteX9" fmla="*/ 2448393 w 3790950"/>
                  <a:gd name="connsiteY9" fmla="*/ 3473768 h 4038600"/>
                  <a:gd name="connsiteX10" fmla="*/ 2478238 w 3790950"/>
                  <a:gd name="connsiteY10" fmla="*/ 3497898 h 4038600"/>
                  <a:gd name="connsiteX11" fmla="*/ 2523323 w 3790950"/>
                  <a:gd name="connsiteY11" fmla="*/ 3541713 h 4038600"/>
                  <a:gd name="connsiteX12" fmla="*/ 2551898 w 3790950"/>
                  <a:gd name="connsiteY12" fmla="*/ 3556953 h 4038600"/>
                  <a:gd name="connsiteX13" fmla="*/ 2596348 w 3790950"/>
                  <a:gd name="connsiteY13" fmla="*/ 3621723 h 4038600"/>
                  <a:gd name="connsiteX14" fmla="*/ 2590633 w 3790950"/>
                  <a:gd name="connsiteY14" fmla="*/ 3652838 h 4038600"/>
                  <a:gd name="connsiteX15" fmla="*/ 2607143 w 3790950"/>
                  <a:gd name="connsiteY15" fmla="*/ 3693478 h 4038600"/>
                  <a:gd name="connsiteX16" fmla="*/ 2689693 w 3790950"/>
                  <a:gd name="connsiteY16" fmla="*/ 3734118 h 4038600"/>
                  <a:gd name="connsiteX17" fmla="*/ 2748113 w 3790950"/>
                  <a:gd name="connsiteY17" fmla="*/ 3814763 h 4038600"/>
                  <a:gd name="connsiteX18" fmla="*/ 2773513 w 3790950"/>
                  <a:gd name="connsiteY18" fmla="*/ 3823653 h 4038600"/>
                  <a:gd name="connsiteX19" fmla="*/ 2796373 w 3790950"/>
                  <a:gd name="connsiteY19" fmla="*/ 3929698 h 4038600"/>
                  <a:gd name="connsiteX20" fmla="*/ 2811613 w 3790950"/>
                  <a:gd name="connsiteY20" fmla="*/ 3936683 h 4038600"/>
                  <a:gd name="connsiteX21" fmla="*/ 2830028 w 3790950"/>
                  <a:gd name="connsiteY21" fmla="*/ 3990023 h 4038600"/>
                  <a:gd name="connsiteX22" fmla="*/ 2842728 w 3790950"/>
                  <a:gd name="connsiteY22" fmla="*/ 4034473 h 4038600"/>
                  <a:gd name="connsiteX23" fmla="*/ 2934168 w 3790950"/>
                  <a:gd name="connsiteY23" fmla="*/ 3951923 h 4038600"/>
                  <a:gd name="connsiteX24" fmla="*/ 2977348 w 3790950"/>
                  <a:gd name="connsiteY24" fmla="*/ 3921443 h 4038600"/>
                  <a:gd name="connsiteX25" fmla="*/ 3030053 w 3790950"/>
                  <a:gd name="connsiteY25" fmla="*/ 3857943 h 4038600"/>
                  <a:gd name="connsiteX26" fmla="*/ 3057993 w 3790950"/>
                  <a:gd name="connsiteY26" fmla="*/ 3840798 h 4038600"/>
                  <a:gd name="connsiteX27" fmla="*/ 3082758 w 3790950"/>
                  <a:gd name="connsiteY27" fmla="*/ 3794443 h 4038600"/>
                  <a:gd name="connsiteX28" fmla="*/ 3126573 w 3790950"/>
                  <a:gd name="connsiteY28" fmla="*/ 3743008 h 4038600"/>
                  <a:gd name="connsiteX29" fmla="*/ 3186263 w 3790950"/>
                  <a:gd name="connsiteY29" fmla="*/ 3670618 h 4038600"/>
                  <a:gd name="connsiteX30" fmla="*/ 3186263 w 3790950"/>
                  <a:gd name="connsiteY30" fmla="*/ 3636328 h 4038600"/>
                  <a:gd name="connsiteX31" fmla="*/ 3245318 w 3790950"/>
                  <a:gd name="connsiteY31" fmla="*/ 3550603 h 4038600"/>
                  <a:gd name="connsiteX32" fmla="*/ 3277703 w 3790950"/>
                  <a:gd name="connsiteY32" fmla="*/ 3523933 h 4038600"/>
                  <a:gd name="connsiteX33" fmla="*/ 3285323 w 3790950"/>
                  <a:gd name="connsiteY33" fmla="*/ 3473768 h 4038600"/>
                  <a:gd name="connsiteX34" fmla="*/ 3313898 w 3790950"/>
                  <a:gd name="connsiteY34" fmla="*/ 3443288 h 4038600"/>
                  <a:gd name="connsiteX35" fmla="*/ 3323423 w 3790950"/>
                  <a:gd name="connsiteY35" fmla="*/ 3389948 h 4038600"/>
                  <a:gd name="connsiteX36" fmla="*/ 3380573 w 3790950"/>
                  <a:gd name="connsiteY36" fmla="*/ 3134043 h 4038600"/>
                  <a:gd name="connsiteX37" fmla="*/ 3285323 w 3790950"/>
                  <a:gd name="connsiteY37" fmla="*/ 3117533 h 4038600"/>
                  <a:gd name="connsiteX38" fmla="*/ 3235793 w 3790950"/>
                  <a:gd name="connsiteY38" fmla="*/ 3050223 h 4038600"/>
                  <a:gd name="connsiteX39" fmla="*/ 3214203 w 3790950"/>
                  <a:gd name="connsiteY39" fmla="*/ 3073083 h 4038600"/>
                  <a:gd name="connsiteX40" fmla="*/ 3212298 w 3790950"/>
                  <a:gd name="connsiteY40" fmla="*/ 3099118 h 4038600"/>
                  <a:gd name="connsiteX41" fmla="*/ 3193883 w 3790950"/>
                  <a:gd name="connsiteY41" fmla="*/ 3170873 h 4038600"/>
                  <a:gd name="connsiteX42" fmla="*/ 3104983 w 3790950"/>
                  <a:gd name="connsiteY42" fmla="*/ 3246438 h 4038600"/>
                  <a:gd name="connsiteX43" fmla="*/ 3089108 w 3790950"/>
                  <a:gd name="connsiteY43" fmla="*/ 3201988 h 4038600"/>
                  <a:gd name="connsiteX44" fmla="*/ 3052278 w 3790950"/>
                  <a:gd name="connsiteY44" fmla="*/ 3197543 h 4038600"/>
                  <a:gd name="connsiteX45" fmla="*/ 3064343 w 3790950"/>
                  <a:gd name="connsiteY45" fmla="*/ 3235008 h 4038600"/>
                  <a:gd name="connsiteX46" fmla="*/ 3016083 w 3790950"/>
                  <a:gd name="connsiteY46" fmla="*/ 3147378 h 4038600"/>
                  <a:gd name="connsiteX47" fmla="*/ 2970363 w 3790950"/>
                  <a:gd name="connsiteY47" fmla="*/ 3119438 h 4038600"/>
                  <a:gd name="connsiteX48" fmla="*/ 2953853 w 3790950"/>
                  <a:gd name="connsiteY48" fmla="*/ 3123883 h 4038600"/>
                  <a:gd name="connsiteX49" fmla="*/ 2925278 w 3790950"/>
                  <a:gd name="connsiteY49" fmla="*/ 3080703 h 4038600"/>
                  <a:gd name="connsiteX50" fmla="*/ 2885273 w 3790950"/>
                  <a:gd name="connsiteY50" fmla="*/ 3049588 h 4038600"/>
                  <a:gd name="connsiteX51" fmla="*/ 2901148 w 3790950"/>
                  <a:gd name="connsiteY51" fmla="*/ 3029903 h 4038600"/>
                  <a:gd name="connsiteX52" fmla="*/ 2885908 w 3790950"/>
                  <a:gd name="connsiteY52" fmla="*/ 3008313 h 4038600"/>
                  <a:gd name="connsiteX53" fmla="*/ 2908768 w 3790950"/>
                  <a:gd name="connsiteY53" fmla="*/ 2998788 h 4038600"/>
                  <a:gd name="connsiteX54" fmla="*/ 2963378 w 3790950"/>
                  <a:gd name="connsiteY54" fmla="*/ 2954338 h 4038600"/>
                  <a:gd name="connsiteX55" fmla="*/ 3019258 w 3790950"/>
                  <a:gd name="connsiteY55" fmla="*/ 3012123 h 4038600"/>
                  <a:gd name="connsiteX56" fmla="*/ 3038308 w 3790950"/>
                  <a:gd name="connsiteY56" fmla="*/ 3042603 h 4038600"/>
                  <a:gd name="connsiteX57" fmla="*/ 3085933 w 3790950"/>
                  <a:gd name="connsiteY57" fmla="*/ 3039428 h 4038600"/>
                  <a:gd name="connsiteX58" fmla="*/ 3172928 w 3790950"/>
                  <a:gd name="connsiteY58" fmla="*/ 3047683 h 4038600"/>
                  <a:gd name="connsiteX59" fmla="*/ 3231983 w 3790950"/>
                  <a:gd name="connsiteY59" fmla="*/ 2959418 h 4038600"/>
                  <a:gd name="connsiteX60" fmla="*/ 3266273 w 3790950"/>
                  <a:gd name="connsiteY60" fmla="*/ 3017838 h 4038600"/>
                  <a:gd name="connsiteX61" fmla="*/ 3321518 w 3790950"/>
                  <a:gd name="connsiteY61" fmla="*/ 2992438 h 4038600"/>
                  <a:gd name="connsiteX62" fmla="*/ 3362158 w 3790950"/>
                  <a:gd name="connsiteY62" fmla="*/ 2951163 h 4038600"/>
                  <a:gd name="connsiteX63" fmla="*/ 3393273 w 3790950"/>
                  <a:gd name="connsiteY63" fmla="*/ 2934653 h 4038600"/>
                  <a:gd name="connsiteX64" fmla="*/ 3466933 w 3790950"/>
                  <a:gd name="connsiteY64" fmla="*/ 2852738 h 4038600"/>
                  <a:gd name="connsiteX65" fmla="*/ 3466933 w 3790950"/>
                  <a:gd name="connsiteY65" fmla="*/ 2843213 h 4038600"/>
                  <a:gd name="connsiteX66" fmla="*/ 3489158 w 3790950"/>
                  <a:gd name="connsiteY66" fmla="*/ 2807653 h 4038600"/>
                  <a:gd name="connsiteX67" fmla="*/ 3497413 w 3790950"/>
                  <a:gd name="connsiteY67" fmla="*/ 2783523 h 4038600"/>
                  <a:gd name="connsiteX68" fmla="*/ 3511383 w 3790950"/>
                  <a:gd name="connsiteY68" fmla="*/ 2798763 h 4038600"/>
                  <a:gd name="connsiteX69" fmla="*/ 3558373 w 3790950"/>
                  <a:gd name="connsiteY69" fmla="*/ 2822258 h 4038600"/>
                  <a:gd name="connsiteX70" fmla="*/ 3588218 w 3790950"/>
                  <a:gd name="connsiteY70" fmla="*/ 2838133 h 4038600"/>
                  <a:gd name="connsiteX71" fmla="*/ 3607268 w 3790950"/>
                  <a:gd name="connsiteY71" fmla="*/ 2788603 h 4038600"/>
                  <a:gd name="connsiteX72" fmla="*/ 3607903 w 3790950"/>
                  <a:gd name="connsiteY72" fmla="*/ 2824163 h 4038600"/>
                  <a:gd name="connsiteX73" fmla="*/ 3594568 w 3790950"/>
                  <a:gd name="connsiteY73" fmla="*/ 2864803 h 4038600"/>
                  <a:gd name="connsiteX74" fmla="*/ 3588853 w 3790950"/>
                  <a:gd name="connsiteY74" fmla="*/ 2871153 h 4038600"/>
                  <a:gd name="connsiteX75" fmla="*/ 3652988 w 3790950"/>
                  <a:gd name="connsiteY75" fmla="*/ 2756853 h 4038600"/>
                  <a:gd name="connsiteX76" fmla="*/ 3657433 w 3790950"/>
                  <a:gd name="connsiteY76" fmla="*/ 2807653 h 4038600"/>
                  <a:gd name="connsiteX77" fmla="*/ 3682198 w 3790950"/>
                  <a:gd name="connsiteY77" fmla="*/ 2913063 h 4038600"/>
                  <a:gd name="connsiteX78" fmla="*/ 3683468 w 3790950"/>
                  <a:gd name="connsiteY78" fmla="*/ 2897188 h 4038600"/>
                  <a:gd name="connsiteX79" fmla="*/ 3698073 w 3790950"/>
                  <a:gd name="connsiteY79" fmla="*/ 2961323 h 4038600"/>
                  <a:gd name="connsiteX80" fmla="*/ 3705693 w 3790950"/>
                  <a:gd name="connsiteY80" fmla="*/ 3005773 h 4038600"/>
                  <a:gd name="connsiteX81" fmla="*/ 3735538 w 3790950"/>
                  <a:gd name="connsiteY81" fmla="*/ 3086418 h 4038600"/>
                  <a:gd name="connsiteX82" fmla="*/ 3757128 w 3790950"/>
                  <a:gd name="connsiteY82" fmla="*/ 3226118 h 4038600"/>
                  <a:gd name="connsiteX83" fmla="*/ 3760303 w 3790950"/>
                  <a:gd name="connsiteY83" fmla="*/ 3233738 h 4038600"/>
                  <a:gd name="connsiteX84" fmla="*/ 3771098 w 3790950"/>
                  <a:gd name="connsiteY84" fmla="*/ 2408873 h 4038600"/>
                  <a:gd name="connsiteX85" fmla="*/ 3764113 w 3790950"/>
                  <a:gd name="connsiteY85" fmla="*/ 2382838 h 4038600"/>
                  <a:gd name="connsiteX86" fmla="*/ 3756493 w 3790950"/>
                  <a:gd name="connsiteY86" fmla="*/ 2265363 h 4038600"/>
                  <a:gd name="connsiteX87" fmla="*/ 3759668 w 3790950"/>
                  <a:gd name="connsiteY87" fmla="*/ 2229803 h 4038600"/>
                  <a:gd name="connsiteX88" fmla="*/ 3753318 w 3790950"/>
                  <a:gd name="connsiteY88" fmla="*/ 2200593 h 4038600"/>
                  <a:gd name="connsiteX89" fmla="*/ 3586313 w 3790950"/>
                  <a:gd name="connsiteY89" fmla="*/ 1680528 h 4038600"/>
                  <a:gd name="connsiteX90" fmla="*/ 3031958 w 3790950"/>
                  <a:gd name="connsiteY90" fmla="*/ 851218 h 4038600"/>
                  <a:gd name="connsiteX91" fmla="*/ 1617813 w 3790950"/>
                  <a:gd name="connsiteY91" fmla="*/ 65088 h 4038600"/>
                  <a:gd name="connsiteX92" fmla="*/ 1144103 w 3790950"/>
                  <a:gd name="connsiteY92" fmla="*/ 8573 h 4038600"/>
                  <a:gd name="connsiteX93" fmla="*/ 1145373 w 3790950"/>
                  <a:gd name="connsiteY93" fmla="*/ 4763 h 4038600"/>
                  <a:gd name="connsiteX94" fmla="*/ 1550503 w 3790950"/>
                  <a:gd name="connsiteY94" fmla="*/ 68263 h 4038600"/>
                  <a:gd name="connsiteX95" fmla="*/ 1650198 w 3790950"/>
                  <a:gd name="connsiteY95" fmla="*/ 95568 h 4038600"/>
                  <a:gd name="connsiteX96" fmla="*/ 1677503 w 3790950"/>
                  <a:gd name="connsiteY96" fmla="*/ 120968 h 4038600"/>
                  <a:gd name="connsiteX97" fmla="*/ 1779738 w 3790950"/>
                  <a:gd name="connsiteY97" fmla="*/ 159703 h 4038600"/>
                  <a:gd name="connsiteX98" fmla="*/ 1789263 w 3790950"/>
                  <a:gd name="connsiteY98" fmla="*/ 157163 h 4038600"/>
                  <a:gd name="connsiteX99" fmla="*/ 1829268 w 3790950"/>
                  <a:gd name="connsiteY99" fmla="*/ 180023 h 4038600"/>
                  <a:gd name="connsiteX100" fmla="*/ 1848953 w 3790950"/>
                  <a:gd name="connsiteY100" fmla="*/ 197168 h 4038600"/>
                  <a:gd name="connsiteX101" fmla="*/ 1916263 w 3790950"/>
                  <a:gd name="connsiteY101" fmla="*/ 214313 h 4038600"/>
                  <a:gd name="connsiteX102" fmla="*/ 1895308 w 3790950"/>
                  <a:gd name="connsiteY102" fmla="*/ 258763 h 4038600"/>
                  <a:gd name="connsiteX103" fmla="*/ 1904833 w 3790950"/>
                  <a:gd name="connsiteY103" fmla="*/ 279083 h 4038600"/>
                  <a:gd name="connsiteX104" fmla="*/ 1887053 w 3790950"/>
                  <a:gd name="connsiteY104" fmla="*/ 274638 h 4038600"/>
                  <a:gd name="connsiteX105" fmla="*/ 1937218 w 3790950"/>
                  <a:gd name="connsiteY105" fmla="*/ 312738 h 4038600"/>
                  <a:gd name="connsiteX106" fmla="*/ 1899753 w 3790950"/>
                  <a:gd name="connsiteY106" fmla="*/ 307023 h 4038600"/>
                  <a:gd name="connsiteX107" fmla="*/ 1908008 w 3790950"/>
                  <a:gd name="connsiteY107" fmla="*/ 319088 h 4038600"/>
                  <a:gd name="connsiteX108" fmla="*/ 1931503 w 3790950"/>
                  <a:gd name="connsiteY108" fmla="*/ 331153 h 4038600"/>
                  <a:gd name="connsiteX109" fmla="*/ 1960078 w 3790950"/>
                  <a:gd name="connsiteY109" fmla="*/ 360998 h 4038600"/>
                  <a:gd name="connsiteX110" fmla="*/ 1984208 w 3790950"/>
                  <a:gd name="connsiteY110" fmla="*/ 375603 h 4038600"/>
                  <a:gd name="connsiteX111" fmla="*/ 1819108 w 3790950"/>
                  <a:gd name="connsiteY111" fmla="*/ 289243 h 4038600"/>
                  <a:gd name="connsiteX112" fmla="*/ 1720683 w 3790950"/>
                  <a:gd name="connsiteY112" fmla="*/ 321628 h 4038600"/>
                  <a:gd name="connsiteX113" fmla="*/ 1864828 w 3790950"/>
                  <a:gd name="connsiteY113" fmla="*/ 374968 h 4038600"/>
                  <a:gd name="connsiteX114" fmla="*/ 1844508 w 3790950"/>
                  <a:gd name="connsiteY114" fmla="*/ 376238 h 4038600"/>
                  <a:gd name="connsiteX115" fmla="*/ 1805138 w 3790950"/>
                  <a:gd name="connsiteY115" fmla="*/ 367983 h 4038600"/>
                  <a:gd name="connsiteX116" fmla="*/ 1823553 w 3790950"/>
                  <a:gd name="connsiteY116" fmla="*/ 401638 h 4038600"/>
                  <a:gd name="connsiteX117" fmla="*/ 1840063 w 3790950"/>
                  <a:gd name="connsiteY117" fmla="*/ 438468 h 4038600"/>
                  <a:gd name="connsiteX118" fmla="*/ 1883878 w 3790950"/>
                  <a:gd name="connsiteY118" fmla="*/ 470853 h 4038600"/>
                  <a:gd name="connsiteX119" fmla="*/ 1874353 w 3790950"/>
                  <a:gd name="connsiteY119" fmla="*/ 475933 h 4038600"/>
                  <a:gd name="connsiteX120" fmla="*/ 1970873 w 3790950"/>
                  <a:gd name="connsiteY120" fmla="*/ 506413 h 4038600"/>
                  <a:gd name="connsiteX121" fmla="*/ 1941663 w 3790950"/>
                  <a:gd name="connsiteY121" fmla="*/ 503238 h 4038600"/>
                  <a:gd name="connsiteX122" fmla="*/ 1921343 w 3790950"/>
                  <a:gd name="connsiteY122" fmla="*/ 486728 h 4038600"/>
                  <a:gd name="connsiteX123" fmla="*/ 1916263 w 3790950"/>
                  <a:gd name="connsiteY123" fmla="*/ 538163 h 4038600"/>
                  <a:gd name="connsiteX124" fmla="*/ 1949283 w 3790950"/>
                  <a:gd name="connsiteY124" fmla="*/ 550863 h 4038600"/>
                  <a:gd name="connsiteX125" fmla="*/ 2033103 w 3790950"/>
                  <a:gd name="connsiteY125" fmla="*/ 562293 h 4038600"/>
                  <a:gd name="connsiteX126" fmla="*/ 2057233 w 3790950"/>
                  <a:gd name="connsiteY126" fmla="*/ 578803 h 4038600"/>
                  <a:gd name="connsiteX127" fmla="*/ 2111843 w 3790950"/>
                  <a:gd name="connsiteY127" fmla="*/ 604838 h 4038600"/>
                  <a:gd name="connsiteX128" fmla="*/ 2081998 w 3790950"/>
                  <a:gd name="connsiteY128" fmla="*/ 601663 h 4038600"/>
                  <a:gd name="connsiteX129" fmla="*/ 1967698 w 3790950"/>
                  <a:gd name="connsiteY129" fmla="*/ 581978 h 4038600"/>
                  <a:gd name="connsiteX130" fmla="*/ 2046438 w 3790950"/>
                  <a:gd name="connsiteY130" fmla="*/ 623253 h 4038600"/>
                  <a:gd name="connsiteX131" fmla="*/ 2005798 w 3790950"/>
                  <a:gd name="connsiteY131" fmla="*/ 635318 h 4038600"/>
                  <a:gd name="connsiteX132" fmla="*/ 1943568 w 3790950"/>
                  <a:gd name="connsiteY132" fmla="*/ 598488 h 4038600"/>
                  <a:gd name="connsiteX133" fmla="*/ 1921978 w 3790950"/>
                  <a:gd name="connsiteY133" fmla="*/ 594678 h 4038600"/>
                  <a:gd name="connsiteX134" fmla="*/ 1961348 w 3790950"/>
                  <a:gd name="connsiteY134" fmla="*/ 616268 h 4038600"/>
                  <a:gd name="connsiteX135" fmla="*/ 1982938 w 3790950"/>
                  <a:gd name="connsiteY135" fmla="*/ 651193 h 4038600"/>
                  <a:gd name="connsiteX136" fmla="*/ 2029293 w 3790950"/>
                  <a:gd name="connsiteY136" fmla="*/ 662623 h 4038600"/>
                  <a:gd name="connsiteX137" fmla="*/ 2041358 w 3790950"/>
                  <a:gd name="connsiteY137" fmla="*/ 671513 h 4038600"/>
                  <a:gd name="connsiteX138" fmla="*/ 2102953 w 3790950"/>
                  <a:gd name="connsiteY138" fmla="*/ 713423 h 4038600"/>
                  <a:gd name="connsiteX139" fmla="*/ 2142323 w 3790950"/>
                  <a:gd name="connsiteY139" fmla="*/ 686753 h 4038600"/>
                  <a:gd name="connsiteX140" fmla="*/ 2198838 w 3790950"/>
                  <a:gd name="connsiteY140" fmla="*/ 722313 h 4038600"/>
                  <a:gd name="connsiteX141" fmla="*/ 2219158 w 3790950"/>
                  <a:gd name="connsiteY141" fmla="*/ 713423 h 4038600"/>
                  <a:gd name="connsiteX142" fmla="*/ 2195028 w 3790950"/>
                  <a:gd name="connsiteY142" fmla="*/ 725488 h 4038600"/>
                  <a:gd name="connsiteX143" fmla="*/ 2130893 w 3790950"/>
                  <a:gd name="connsiteY143" fmla="*/ 694373 h 4038600"/>
                  <a:gd name="connsiteX144" fmla="*/ 2128988 w 3790950"/>
                  <a:gd name="connsiteY144" fmla="*/ 721043 h 4038600"/>
                  <a:gd name="connsiteX145" fmla="*/ 2182328 w 3790950"/>
                  <a:gd name="connsiteY145" fmla="*/ 751523 h 4038600"/>
                  <a:gd name="connsiteX146" fmla="*/ 2215983 w 3790950"/>
                  <a:gd name="connsiteY146" fmla="*/ 808673 h 4038600"/>
                  <a:gd name="connsiteX147" fmla="*/ 2229318 w 3790950"/>
                  <a:gd name="connsiteY147" fmla="*/ 820102 h 4038600"/>
                  <a:gd name="connsiteX148" fmla="*/ 2171533 w 3790950"/>
                  <a:gd name="connsiteY148" fmla="*/ 835977 h 4038600"/>
                  <a:gd name="connsiteX149" fmla="*/ 2188043 w 3790950"/>
                  <a:gd name="connsiteY149" fmla="*/ 808673 h 4038600"/>
                  <a:gd name="connsiteX150" fmla="*/ 2133433 w 3790950"/>
                  <a:gd name="connsiteY150" fmla="*/ 736918 h 4038600"/>
                  <a:gd name="connsiteX151" fmla="*/ 2099778 w 3790950"/>
                  <a:gd name="connsiteY151" fmla="*/ 730568 h 4038600"/>
                  <a:gd name="connsiteX152" fmla="*/ 2035008 w 3790950"/>
                  <a:gd name="connsiteY152" fmla="*/ 691833 h 4038600"/>
                  <a:gd name="connsiteX153" fmla="*/ 2008338 w 3790950"/>
                  <a:gd name="connsiteY153" fmla="*/ 670243 h 4038600"/>
                  <a:gd name="connsiteX154" fmla="*/ 1970238 w 3790950"/>
                  <a:gd name="connsiteY154" fmla="*/ 660083 h 4038600"/>
                  <a:gd name="connsiteX155" fmla="*/ 1916263 w 3790950"/>
                  <a:gd name="connsiteY155" fmla="*/ 616903 h 4038600"/>
                  <a:gd name="connsiteX156" fmla="*/ 1931503 w 3790950"/>
                  <a:gd name="connsiteY156" fmla="*/ 679768 h 4038600"/>
                  <a:gd name="connsiteX157" fmla="*/ 1945473 w 3790950"/>
                  <a:gd name="connsiteY157" fmla="*/ 712153 h 4038600"/>
                  <a:gd name="connsiteX158" fmla="*/ 1967063 w 3790950"/>
                  <a:gd name="connsiteY158" fmla="*/ 716598 h 4038600"/>
                  <a:gd name="connsiteX159" fmla="*/ 2062948 w 3790950"/>
                  <a:gd name="connsiteY159" fmla="*/ 766128 h 4038600"/>
                  <a:gd name="connsiteX160" fmla="*/ 2071838 w 3790950"/>
                  <a:gd name="connsiteY160" fmla="*/ 761048 h 4038600"/>
                  <a:gd name="connsiteX161" fmla="*/ 2013418 w 3790950"/>
                  <a:gd name="connsiteY161" fmla="*/ 785178 h 4038600"/>
                  <a:gd name="connsiteX162" fmla="*/ 1937218 w 3790950"/>
                  <a:gd name="connsiteY162" fmla="*/ 796608 h 4038600"/>
                  <a:gd name="connsiteX163" fmla="*/ 1963253 w 3790950"/>
                  <a:gd name="connsiteY163" fmla="*/ 822643 h 4038600"/>
                  <a:gd name="connsiteX164" fmla="*/ 1976588 w 3790950"/>
                  <a:gd name="connsiteY164" fmla="*/ 848677 h 4038600"/>
                  <a:gd name="connsiteX165" fmla="*/ 1989923 w 3790950"/>
                  <a:gd name="connsiteY165" fmla="*/ 863283 h 4038600"/>
                  <a:gd name="connsiteX166" fmla="*/ 1948013 w 3790950"/>
                  <a:gd name="connsiteY166" fmla="*/ 873443 h 4038600"/>
                  <a:gd name="connsiteX167" fmla="*/ 1902293 w 3790950"/>
                  <a:gd name="connsiteY167" fmla="*/ 915352 h 4038600"/>
                  <a:gd name="connsiteX168" fmla="*/ 1905468 w 3790950"/>
                  <a:gd name="connsiteY168" fmla="*/ 903923 h 4038600"/>
                  <a:gd name="connsiteX169" fmla="*/ 1890228 w 3790950"/>
                  <a:gd name="connsiteY169" fmla="*/ 875348 h 4038600"/>
                  <a:gd name="connsiteX170" fmla="*/ 1875623 w 3790950"/>
                  <a:gd name="connsiteY170" fmla="*/ 890588 h 4038600"/>
                  <a:gd name="connsiteX171" fmla="*/ 1871178 w 3790950"/>
                  <a:gd name="connsiteY171" fmla="*/ 909002 h 4038600"/>
                  <a:gd name="connsiteX172" fmla="*/ 1835618 w 3790950"/>
                  <a:gd name="connsiteY172" fmla="*/ 981393 h 4038600"/>
                  <a:gd name="connsiteX173" fmla="*/ 1827363 w 3790950"/>
                  <a:gd name="connsiteY173" fmla="*/ 1026477 h 4038600"/>
                  <a:gd name="connsiteX174" fmla="*/ 1789898 w 3790950"/>
                  <a:gd name="connsiteY174" fmla="*/ 1011238 h 4038600"/>
                  <a:gd name="connsiteX175" fmla="*/ 1807043 w 3790950"/>
                  <a:gd name="connsiteY175" fmla="*/ 978852 h 4038600"/>
                  <a:gd name="connsiteX176" fmla="*/ 1754973 w 3790950"/>
                  <a:gd name="connsiteY176" fmla="*/ 989648 h 4038600"/>
                  <a:gd name="connsiteX177" fmla="*/ 1805773 w 3790950"/>
                  <a:gd name="connsiteY177" fmla="*/ 1044258 h 4038600"/>
                  <a:gd name="connsiteX178" fmla="*/ 1763228 w 3790950"/>
                  <a:gd name="connsiteY178" fmla="*/ 1065848 h 4038600"/>
                  <a:gd name="connsiteX179" fmla="*/ 1763228 w 3790950"/>
                  <a:gd name="connsiteY179" fmla="*/ 1086803 h 4038600"/>
                  <a:gd name="connsiteX180" fmla="*/ 1741003 w 3790950"/>
                  <a:gd name="connsiteY180" fmla="*/ 1124268 h 4038600"/>
                  <a:gd name="connsiteX181" fmla="*/ 1781008 w 3790950"/>
                  <a:gd name="connsiteY181" fmla="*/ 1161098 h 4038600"/>
                  <a:gd name="connsiteX182" fmla="*/ 1728303 w 3790950"/>
                  <a:gd name="connsiteY182" fmla="*/ 1183323 h 4038600"/>
                  <a:gd name="connsiteX183" fmla="*/ 1730208 w 3790950"/>
                  <a:gd name="connsiteY183" fmla="*/ 1169353 h 4038600"/>
                  <a:gd name="connsiteX184" fmla="*/ 1685758 w 3790950"/>
                  <a:gd name="connsiteY184" fmla="*/ 1163003 h 4038600"/>
                  <a:gd name="connsiteX185" fmla="*/ 1690203 w 3790950"/>
                  <a:gd name="connsiteY185" fmla="*/ 1185863 h 4038600"/>
                  <a:gd name="connsiteX186" fmla="*/ 1736558 w 3790950"/>
                  <a:gd name="connsiteY186" fmla="*/ 1199198 h 4038600"/>
                  <a:gd name="connsiteX187" fmla="*/ 1738463 w 3790950"/>
                  <a:gd name="connsiteY187" fmla="*/ 1226503 h 4038600"/>
                  <a:gd name="connsiteX188" fmla="*/ 1674328 w 3790950"/>
                  <a:gd name="connsiteY188" fmla="*/ 1213168 h 4038600"/>
                  <a:gd name="connsiteX189" fmla="*/ 1652103 w 3790950"/>
                  <a:gd name="connsiteY189" fmla="*/ 1206183 h 4038600"/>
                  <a:gd name="connsiteX190" fmla="*/ 1620988 w 3790950"/>
                  <a:gd name="connsiteY190" fmla="*/ 1166813 h 4038600"/>
                  <a:gd name="connsiteX191" fmla="*/ 1627973 w 3790950"/>
                  <a:gd name="connsiteY191" fmla="*/ 1147128 h 4038600"/>
                  <a:gd name="connsiteX192" fmla="*/ 1597493 w 3790950"/>
                  <a:gd name="connsiteY192" fmla="*/ 1127443 h 4038600"/>
                  <a:gd name="connsiteX193" fmla="*/ 1662898 w 3790950"/>
                  <a:gd name="connsiteY193" fmla="*/ 1109028 h 4038600"/>
                  <a:gd name="connsiteX194" fmla="*/ 1676233 w 3790950"/>
                  <a:gd name="connsiteY194" fmla="*/ 1112203 h 4038600"/>
                  <a:gd name="connsiteX195" fmla="*/ 1685758 w 3790950"/>
                  <a:gd name="connsiteY195" fmla="*/ 1112203 h 4038600"/>
                  <a:gd name="connsiteX196" fmla="*/ 1701633 w 3790950"/>
                  <a:gd name="connsiteY196" fmla="*/ 1018223 h 4038600"/>
                  <a:gd name="connsiteX197" fmla="*/ 1669248 w 3790950"/>
                  <a:gd name="connsiteY197" fmla="*/ 1009968 h 4038600"/>
                  <a:gd name="connsiteX198" fmla="*/ 1561298 w 3790950"/>
                  <a:gd name="connsiteY198" fmla="*/ 977583 h 4038600"/>
                  <a:gd name="connsiteX199" fmla="*/ 1516848 w 3790950"/>
                  <a:gd name="connsiteY199" fmla="*/ 978852 h 4038600"/>
                  <a:gd name="connsiteX200" fmla="*/ 1509863 w 3790950"/>
                  <a:gd name="connsiteY200" fmla="*/ 989648 h 4038600"/>
                  <a:gd name="connsiteX201" fmla="*/ 1465413 w 3790950"/>
                  <a:gd name="connsiteY201" fmla="*/ 971233 h 4038600"/>
                  <a:gd name="connsiteX202" fmla="*/ 1443188 w 3790950"/>
                  <a:gd name="connsiteY202" fmla="*/ 970598 h 4038600"/>
                  <a:gd name="connsiteX203" fmla="*/ 1410168 w 3790950"/>
                  <a:gd name="connsiteY203" fmla="*/ 930593 h 4038600"/>
                  <a:gd name="connsiteX204" fmla="*/ 1387943 w 3790950"/>
                  <a:gd name="connsiteY204" fmla="*/ 927418 h 4038600"/>
                  <a:gd name="connsiteX205" fmla="*/ 1355558 w 3790950"/>
                  <a:gd name="connsiteY205" fmla="*/ 920433 h 4038600"/>
                  <a:gd name="connsiteX206" fmla="*/ 1287613 w 3790950"/>
                  <a:gd name="connsiteY206" fmla="*/ 985838 h 4038600"/>
                  <a:gd name="connsiteX207" fmla="*/ 1239988 w 3790950"/>
                  <a:gd name="connsiteY207" fmla="*/ 977583 h 4038600"/>
                  <a:gd name="connsiteX208" fmla="*/ 1264118 w 3790950"/>
                  <a:gd name="connsiteY208" fmla="*/ 997902 h 4038600"/>
                  <a:gd name="connsiteX209" fmla="*/ 1236813 w 3790950"/>
                  <a:gd name="connsiteY209" fmla="*/ 991552 h 4038600"/>
                  <a:gd name="connsiteX210" fmla="*/ 1213318 w 3790950"/>
                  <a:gd name="connsiteY210" fmla="*/ 999173 h 4038600"/>
                  <a:gd name="connsiteX211" fmla="*/ 1172678 w 3790950"/>
                  <a:gd name="connsiteY211" fmla="*/ 1082358 h 4038600"/>
                  <a:gd name="connsiteX212" fmla="*/ 1145373 w 3790950"/>
                  <a:gd name="connsiteY212" fmla="*/ 1082358 h 4038600"/>
                  <a:gd name="connsiteX213" fmla="*/ 1152993 w 3790950"/>
                  <a:gd name="connsiteY213" fmla="*/ 1093788 h 4038600"/>
                  <a:gd name="connsiteX214" fmla="*/ 1106638 w 3790950"/>
                  <a:gd name="connsiteY214" fmla="*/ 1136968 h 4038600"/>
                  <a:gd name="connsiteX215" fmla="*/ 1099018 w 3790950"/>
                  <a:gd name="connsiteY215" fmla="*/ 1156018 h 4038600"/>
                  <a:gd name="connsiteX216" fmla="*/ 1079333 w 3790950"/>
                  <a:gd name="connsiteY216" fmla="*/ 1162368 h 4038600"/>
                  <a:gd name="connsiteX217" fmla="*/ 1091398 w 3790950"/>
                  <a:gd name="connsiteY217" fmla="*/ 1184593 h 4038600"/>
                  <a:gd name="connsiteX218" fmla="*/ 1076158 w 3790950"/>
                  <a:gd name="connsiteY218" fmla="*/ 1233488 h 4038600"/>
                  <a:gd name="connsiteX219" fmla="*/ 1035518 w 3790950"/>
                  <a:gd name="connsiteY219" fmla="*/ 1265873 h 4038600"/>
                  <a:gd name="connsiteX220" fmla="*/ 1042503 w 3790950"/>
                  <a:gd name="connsiteY220" fmla="*/ 1278573 h 4038600"/>
                  <a:gd name="connsiteX221" fmla="*/ 1010753 w 3790950"/>
                  <a:gd name="connsiteY221" fmla="*/ 1280478 h 4038600"/>
                  <a:gd name="connsiteX222" fmla="*/ 983448 w 3790950"/>
                  <a:gd name="connsiteY222" fmla="*/ 1316038 h 4038600"/>
                  <a:gd name="connsiteX223" fmla="*/ 1032978 w 3790950"/>
                  <a:gd name="connsiteY223" fmla="*/ 1297623 h 4038600"/>
                  <a:gd name="connsiteX224" fmla="*/ 1037423 w 3790950"/>
                  <a:gd name="connsiteY224" fmla="*/ 1315403 h 4038600"/>
                  <a:gd name="connsiteX225" fmla="*/ 988528 w 3790950"/>
                  <a:gd name="connsiteY225" fmla="*/ 1323658 h 4038600"/>
                  <a:gd name="connsiteX226" fmla="*/ 965033 w 3790950"/>
                  <a:gd name="connsiteY226" fmla="*/ 1347153 h 4038600"/>
                  <a:gd name="connsiteX227" fmla="*/ 942808 w 3790950"/>
                  <a:gd name="connsiteY227" fmla="*/ 1350963 h 4038600"/>
                  <a:gd name="connsiteX228" fmla="*/ 937093 w 3790950"/>
                  <a:gd name="connsiteY228" fmla="*/ 1359218 h 4038600"/>
                  <a:gd name="connsiteX229" fmla="*/ 904708 w 3790950"/>
                  <a:gd name="connsiteY229" fmla="*/ 1361123 h 4038600"/>
                  <a:gd name="connsiteX230" fmla="*/ 885023 w 3790950"/>
                  <a:gd name="connsiteY230" fmla="*/ 1408113 h 4038600"/>
                  <a:gd name="connsiteX231" fmla="*/ 848193 w 3790950"/>
                  <a:gd name="connsiteY231" fmla="*/ 1398588 h 4038600"/>
                  <a:gd name="connsiteX232" fmla="*/ 848193 w 3790950"/>
                  <a:gd name="connsiteY232" fmla="*/ 1414463 h 4038600"/>
                  <a:gd name="connsiteX233" fmla="*/ 898358 w 3790950"/>
                  <a:gd name="connsiteY233" fmla="*/ 1418908 h 4038600"/>
                  <a:gd name="connsiteX234" fmla="*/ 838033 w 3790950"/>
                  <a:gd name="connsiteY234" fmla="*/ 1450658 h 4038600"/>
                  <a:gd name="connsiteX235" fmla="*/ 845018 w 3790950"/>
                  <a:gd name="connsiteY235" fmla="*/ 1459548 h 4038600"/>
                  <a:gd name="connsiteX236" fmla="*/ 910423 w 3790950"/>
                  <a:gd name="connsiteY236" fmla="*/ 1451928 h 4038600"/>
                  <a:gd name="connsiteX237" fmla="*/ 922488 w 3790950"/>
                  <a:gd name="connsiteY237" fmla="*/ 1455103 h 4038600"/>
                  <a:gd name="connsiteX238" fmla="*/ 838033 w 3790950"/>
                  <a:gd name="connsiteY238" fmla="*/ 1474153 h 4038600"/>
                  <a:gd name="connsiteX239" fmla="*/ 853273 w 3790950"/>
                  <a:gd name="connsiteY239" fmla="*/ 1472883 h 4038600"/>
                  <a:gd name="connsiteX240" fmla="*/ 834223 w 3790950"/>
                  <a:gd name="connsiteY240" fmla="*/ 1475423 h 4038600"/>
                  <a:gd name="connsiteX241" fmla="*/ 871688 w 3790950"/>
                  <a:gd name="connsiteY241" fmla="*/ 1496378 h 4038600"/>
                  <a:gd name="connsiteX242" fmla="*/ 900898 w 3790950"/>
                  <a:gd name="connsiteY242" fmla="*/ 1495743 h 4038600"/>
                  <a:gd name="connsiteX243" fmla="*/ 838668 w 3790950"/>
                  <a:gd name="connsiteY243" fmla="*/ 1594168 h 4038600"/>
                  <a:gd name="connsiteX244" fmla="*/ 922488 w 3790950"/>
                  <a:gd name="connsiteY244" fmla="*/ 1629093 h 4038600"/>
                  <a:gd name="connsiteX245" fmla="*/ 928838 w 3790950"/>
                  <a:gd name="connsiteY245" fmla="*/ 1635443 h 4038600"/>
                  <a:gd name="connsiteX246" fmla="*/ 966938 w 3790950"/>
                  <a:gd name="connsiteY246" fmla="*/ 1592263 h 4038600"/>
                  <a:gd name="connsiteX247" fmla="*/ 975193 w 3790950"/>
                  <a:gd name="connsiteY247" fmla="*/ 1577658 h 4038600"/>
                  <a:gd name="connsiteX248" fmla="*/ 1005673 w 3790950"/>
                  <a:gd name="connsiteY248" fmla="*/ 1554798 h 4038600"/>
                  <a:gd name="connsiteX249" fmla="*/ 1009483 w 3790950"/>
                  <a:gd name="connsiteY249" fmla="*/ 1533843 h 4038600"/>
                  <a:gd name="connsiteX250" fmla="*/ 1014563 w 3790950"/>
                  <a:gd name="connsiteY250" fmla="*/ 1572578 h 4038600"/>
                  <a:gd name="connsiteX251" fmla="*/ 1053298 w 3790950"/>
                  <a:gd name="connsiteY251" fmla="*/ 1624013 h 4038600"/>
                  <a:gd name="connsiteX252" fmla="*/ 1047583 w 3790950"/>
                  <a:gd name="connsiteY252" fmla="*/ 1661478 h 4038600"/>
                  <a:gd name="connsiteX253" fmla="*/ 1090763 w 3790950"/>
                  <a:gd name="connsiteY253" fmla="*/ 1724343 h 4038600"/>
                  <a:gd name="connsiteX254" fmla="*/ 1088858 w 3790950"/>
                  <a:gd name="connsiteY254" fmla="*/ 1748473 h 4038600"/>
                  <a:gd name="connsiteX255" fmla="*/ 1075523 w 3790950"/>
                  <a:gd name="connsiteY255" fmla="*/ 1744663 h 4038600"/>
                  <a:gd name="connsiteX256" fmla="*/ 1091398 w 3790950"/>
                  <a:gd name="connsiteY256" fmla="*/ 1799908 h 4038600"/>
                  <a:gd name="connsiteX257" fmla="*/ 1141563 w 3790950"/>
                  <a:gd name="connsiteY257" fmla="*/ 1798638 h 4038600"/>
                  <a:gd name="connsiteX258" fmla="*/ 1156803 w 3790950"/>
                  <a:gd name="connsiteY258" fmla="*/ 1750378 h 4038600"/>
                  <a:gd name="connsiteX259" fmla="*/ 1217763 w 3790950"/>
                  <a:gd name="connsiteY259" fmla="*/ 1711643 h 4038600"/>
                  <a:gd name="connsiteX260" fmla="*/ 1214588 w 3790950"/>
                  <a:gd name="connsiteY260" fmla="*/ 1681163 h 4038600"/>
                  <a:gd name="connsiteX261" fmla="*/ 1221573 w 3790950"/>
                  <a:gd name="connsiteY261" fmla="*/ 1669733 h 4038600"/>
                  <a:gd name="connsiteX262" fmla="*/ 1209508 w 3790950"/>
                  <a:gd name="connsiteY262" fmla="*/ 1644968 h 4038600"/>
                  <a:gd name="connsiteX263" fmla="*/ 1221573 w 3790950"/>
                  <a:gd name="connsiteY263" fmla="*/ 1645603 h 4038600"/>
                  <a:gd name="connsiteX264" fmla="*/ 1220303 w 3790950"/>
                  <a:gd name="connsiteY264" fmla="*/ 1620203 h 4038600"/>
                  <a:gd name="connsiteX265" fmla="*/ 1198078 w 3790950"/>
                  <a:gd name="connsiteY265" fmla="*/ 1602423 h 4038600"/>
                  <a:gd name="connsiteX266" fmla="*/ 1236813 w 3790950"/>
                  <a:gd name="connsiteY266" fmla="*/ 1593533 h 4038600"/>
                  <a:gd name="connsiteX267" fmla="*/ 1268563 w 3790950"/>
                  <a:gd name="connsiteY267" fmla="*/ 1568768 h 4038600"/>
                  <a:gd name="connsiteX268" fmla="*/ 1250148 w 3790950"/>
                  <a:gd name="connsiteY268" fmla="*/ 1564958 h 4038600"/>
                  <a:gd name="connsiteX269" fmla="*/ 1237448 w 3790950"/>
                  <a:gd name="connsiteY269" fmla="*/ 1531938 h 4038600"/>
                  <a:gd name="connsiteX270" fmla="*/ 1247608 w 3790950"/>
                  <a:gd name="connsiteY270" fmla="*/ 1556703 h 4038600"/>
                  <a:gd name="connsiteX271" fmla="*/ 1285708 w 3790950"/>
                  <a:gd name="connsiteY271" fmla="*/ 1532573 h 4038600"/>
                  <a:gd name="connsiteX272" fmla="*/ 1243163 w 3790950"/>
                  <a:gd name="connsiteY272" fmla="*/ 1485583 h 4038600"/>
                  <a:gd name="connsiteX273" fmla="*/ 1210778 w 3790950"/>
                  <a:gd name="connsiteY273" fmla="*/ 1381443 h 4038600"/>
                  <a:gd name="connsiteX274" fmla="*/ 1235543 w 3790950"/>
                  <a:gd name="connsiteY274" fmla="*/ 1361123 h 4038600"/>
                  <a:gd name="connsiteX275" fmla="*/ 1262848 w 3790950"/>
                  <a:gd name="connsiteY275" fmla="*/ 1317943 h 4038600"/>
                  <a:gd name="connsiteX276" fmla="*/ 1295233 w 3790950"/>
                  <a:gd name="connsiteY276" fmla="*/ 1302703 h 4038600"/>
                  <a:gd name="connsiteX277" fmla="*/ 1293963 w 3790950"/>
                  <a:gd name="connsiteY277" fmla="*/ 1246823 h 4038600"/>
                  <a:gd name="connsiteX278" fmla="*/ 1306028 w 3790950"/>
                  <a:gd name="connsiteY278" fmla="*/ 1229043 h 4038600"/>
                  <a:gd name="connsiteX279" fmla="*/ 1295233 w 3790950"/>
                  <a:gd name="connsiteY279" fmla="*/ 1220153 h 4038600"/>
                  <a:gd name="connsiteX280" fmla="*/ 1363178 w 3790950"/>
                  <a:gd name="connsiteY280" fmla="*/ 1187133 h 4038600"/>
                  <a:gd name="connsiteX281" fmla="*/ 1408898 w 3790950"/>
                  <a:gd name="connsiteY281" fmla="*/ 1227773 h 4038600"/>
                  <a:gd name="connsiteX282" fmla="*/ 1387943 w 3790950"/>
                  <a:gd name="connsiteY282" fmla="*/ 1238568 h 4038600"/>
                  <a:gd name="connsiteX283" fmla="*/ 1373973 w 3790950"/>
                  <a:gd name="connsiteY283" fmla="*/ 1282383 h 4038600"/>
                  <a:gd name="connsiteX284" fmla="*/ 1356193 w 3790950"/>
                  <a:gd name="connsiteY284" fmla="*/ 1305243 h 4038600"/>
                  <a:gd name="connsiteX285" fmla="*/ 1343493 w 3790950"/>
                  <a:gd name="connsiteY285" fmla="*/ 1312863 h 4038600"/>
                  <a:gd name="connsiteX286" fmla="*/ 1347938 w 3790950"/>
                  <a:gd name="connsiteY286" fmla="*/ 1326198 h 4038600"/>
                  <a:gd name="connsiteX287" fmla="*/ 1318728 w 3790950"/>
                  <a:gd name="connsiteY287" fmla="*/ 1356678 h 4038600"/>
                  <a:gd name="connsiteX288" fmla="*/ 1343493 w 3790950"/>
                  <a:gd name="connsiteY288" fmla="*/ 1450658 h 4038600"/>
                  <a:gd name="connsiteX289" fmla="*/ 1351748 w 3790950"/>
                  <a:gd name="connsiteY289" fmla="*/ 1476693 h 4038600"/>
                  <a:gd name="connsiteX290" fmla="*/ 1417153 w 3790950"/>
                  <a:gd name="connsiteY290" fmla="*/ 1502093 h 4038600"/>
                  <a:gd name="connsiteX291" fmla="*/ 1406358 w 3790950"/>
                  <a:gd name="connsiteY291" fmla="*/ 1516063 h 4038600"/>
                  <a:gd name="connsiteX292" fmla="*/ 1453348 w 3790950"/>
                  <a:gd name="connsiteY292" fmla="*/ 1490028 h 4038600"/>
                  <a:gd name="connsiteX293" fmla="*/ 1469223 w 3790950"/>
                  <a:gd name="connsiteY293" fmla="*/ 1488123 h 4038600"/>
                  <a:gd name="connsiteX294" fmla="*/ 1507958 w 3790950"/>
                  <a:gd name="connsiteY294" fmla="*/ 1456373 h 4038600"/>
                  <a:gd name="connsiteX295" fmla="*/ 1514943 w 3790950"/>
                  <a:gd name="connsiteY295" fmla="*/ 1465898 h 4038600"/>
                  <a:gd name="connsiteX296" fmla="*/ 1546693 w 3790950"/>
                  <a:gd name="connsiteY296" fmla="*/ 1452563 h 4038600"/>
                  <a:gd name="connsiteX297" fmla="*/ 1629243 w 3790950"/>
                  <a:gd name="connsiteY297" fmla="*/ 1472883 h 4038600"/>
                  <a:gd name="connsiteX298" fmla="*/ 1593683 w 3790950"/>
                  <a:gd name="connsiteY298" fmla="*/ 1479233 h 4038600"/>
                  <a:gd name="connsiteX299" fmla="*/ 1567648 w 3790950"/>
                  <a:gd name="connsiteY299" fmla="*/ 1493203 h 4038600"/>
                  <a:gd name="connsiteX300" fmla="*/ 1456523 w 3790950"/>
                  <a:gd name="connsiteY300" fmla="*/ 1531303 h 4038600"/>
                  <a:gd name="connsiteX301" fmla="*/ 1451443 w 3790950"/>
                  <a:gd name="connsiteY301" fmla="*/ 1541463 h 4038600"/>
                  <a:gd name="connsiteX302" fmla="*/ 1432393 w 3790950"/>
                  <a:gd name="connsiteY302" fmla="*/ 1546543 h 4038600"/>
                  <a:gd name="connsiteX303" fmla="*/ 1452078 w 3790950"/>
                  <a:gd name="connsiteY303" fmla="*/ 1596073 h 4038600"/>
                  <a:gd name="connsiteX304" fmla="*/ 1479383 w 3790950"/>
                  <a:gd name="connsiteY304" fmla="*/ 1593533 h 4038600"/>
                  <a:gd name="connsiteX305" fmla="*/ 1476843 w 3790950"/>
                  <a:gd name="connsiteY305" fmla="*/ 1624013 h 4038600"/>
                  <a:gd name="connsiteX306" fmla="*/ 1488908 w 3790950"/>
                  <a:gd name="connsiteY306" fmla="*/ 1657668 h 4038600"/>
                  <a:gd name="connsiteX307" fmla="*/ 1394293 w 3790950"/>
                  <a:gd name="connsiteY307" fmla="*/ 1648778 h 4038600"/>
                  <a:gd name="connsiteX308" fmla="*/ 1387943 w 3790950"/>
                  <a:gd name="connsiteY308" fmla="*/ 1671638 h 4038600"/>
                  <a:gd name="connsiteX309" fmla="*/ 1380958 w 3790950"/>
                  <a:gd name="connsiteY309" fmla="*/ 1722438 h 4038600"/>
                  <a:gd name="connsiteX310" fmla="*/ 1400643 w 3790950"/>
                  <a:gd name="connsiteY310" fmla="*/ 1791653 h 4038600"/>
                  <a:gd name="connsiteX311" fmla="*/ 1405723 w 3790950"/>
                  <a:gd name="connsiteY311" fmla="*/ 1806258 h 4038600"/>
                  <a:gd name="connsiteX312" fmla="*/ 1358733 w 3790950"/>
                  <a:gd name="connsiteY312" fmla="*/ 1810703 h 4038600"/>
                  <a:gd name="connsiteX313" fmla="*/ 1349208 w 3790950"/>
                  <a:gd name="connsiteY313" fmla="*/ 1841183 h 4038600"/>
                  <a:gd name="connsiteX314" fmla="*/ 1299043 w 3790950"/>
                  <a:gd name="connsiteY314" fmla="*/ 1822768 h 4038600"/>
                  <a:gd name="connsiteX315" fmla="*/ 1247608 w 3790950"/>
                  <a:gd name="connsiteY315" fmla="*/ 1840548 h 4038600"/>
                  <a:gd name="connsiteX316" fmla="*/ 1234273 w 3790950"/>
                  <a:gd name="connsiteY316" fmla="*/ 1844358 h 4038600"/>
                  <a:gd name="connsiteX317" fmla="*/ 1221573 w 3790950"/>
                  <a:gd name="connsiteY317" fmla="*/ 1862773 h 4038600"/>
                  <a:gd name="connsiteX318" fmla="*/ 1189823 w 3790950"/>
                  <a:gd name="connsiteY318" fmla="*/ 1871663 h 4038600"/>
                  <a:gd name="connsiteX319" fmla="*/ 1149183 w 3790950"/>
                  <a:gd name="connsiteY319" fmla="*/ 1890713 h 4038600"/>
                  <a:gd name="connsiteX320" fmla="*/ 1151723 w 3790950"/>
                  <a:gd name="connsiteY320" fmla="*/ 1898968 h 4038600"/>
                  <a:gd name="connsiteX321" fmla="*/ 1083778 w 3790950"/>
                  <a:gd name="connsiteY321" fmla="*/ 1854518 h 4038600"/>
                  <a:gd name="connsiteX322" fmla="*/ 1068538 w 3790950"/>
                  <a:gd name="connsiteY322" fmla="*/ 1878013 h 4038600"/>
                  <a:gd name="connsiteX323" fmla="*/ 982813 w 3790950"/>
                  <a:gd name="connsiteY323" fmla="*/ 1856423 h 4038600"/>
                  <a:gd name="connsiteX324" fmla="*/ 986623 w 3790950"/>
                  <a:gd name="connsiteY324" fmla="*/ 1836738 h 4038600"/>
                  <a:gd name="connsiteX325" fmla="*/ 966938 w 3790950"/>
                  <a:gd name="connsiteY325" fmla="*/ 1833563 h 4038600"/>
                  <a:gd name="connsiteX326" fmla="*/ 972018 w 3790950"/>
                  <a:gd name="connsiteY326" fmla="*/ 1779588 h 4038600"/>
                  <a:gd name="connsiteX327" fmla="*/ 989163 w 3790950"/>
                  <a:gd name="connsiteY327" fmla="*/ 1779588 h 4038600"/>
                  <a:gd name="connsiteX328" fmla="*/ 1001228 w 3790950"/>
                  <a:gd name="connsiteY328" fmla="*/ 1746568 h 4038600"/>
                  <a:gd name="connsiteX329" fmla="*/ 1014563 w 3790950"/>
                  <a:gd name="connsiteY329" fmla="*/ 1753553 h 4038600"/>
                  <a:gd name="connsiteX330" fmla="*/ 1009483 w 3790950"/>
                  <a:gd name="connsiteY330" fmla="*/ 1657668 h 4038600"/>
                  <a:gd name="connsiteX331" fmla="*/ 988528 w 3790950"/>
                  <a:gd name="connsiteY331" fmla="*/ 1667193 h 4038600"/>
                  <a:gd name="connsiteX332" fmla="*/ 968843 w 3790950"/>
                  <a:gd name="connsiteY332" fmla="*/ 1691958 h 4038600"/>
                  <a:gd name="connsiteX333" fmla="*/ 987893 w 3790950"/>
                  <a:gd name="connsiteY333" fmla="*/ 1698308 h 4038600"/>
                  <a:gd name="connsiteX334" fmla="*/ 955508 w 3790950"/>
                  <a:gd name="connsiteY334" fmla="*/ 1712913 h 4038600"/>
                  <a:gd name="connsiteX335" fmla="*/ 917408 w 3790950"/>
                  <a:gd name="connsiteY335" fmla="*/ 1787208 h 4038600"/>
                  <a:gd name="connsiteX336" fmla="*/ 947253 w 3790950"/>
                  <a:gd name="connsiteY336" fmla="*/ 1863408 h 4038600"/>
                  <a:gd name="connsiteX337" fmla="*/ 944078 w 3790950"/>
                  <a:gd name="connsiteY337" fmla="*/ 1886268 h 4038600"/>
                  <a:gd name="connsiteX338" fmla="*/ 979638 w 3790950"/>
                  <a:gd name="connsiteY338" fmla="*/ 1912303 h 4038600"/>
                  <a:gd name="connsiteX339" fmla="*/ 935188 w 3790950"/>
                  <a:gd name="connsiteY339" fmla="*/ 1888808 h 4038600"/>
                  <a:gd name="connsiteX340" fmla="*/ 927568 w 3790950"/>
                  <a:gd name="connsiteY340" fmla="*/ 1923098 h 4038600"/>
                  <a:gd name="connsiteX341" fmla="*/ 907883 w 3790950"/>
                  <a:gd name="connsiteY341" fmla="*/ 1899603 h 4038600"/>
                  <a:gd name="connsiteX342" fmla="*/ 876768 w 3790950"/>
                  <a:gd name="connsiteY342" fmla="*/ 1928813 h 4038600"/>
                  <a:gd name="connsiteX343" fmla="*/ 830413 w 3790950"/>
                  <a:gd name="connsiteY343" fmla="*/ 1916748 h 4038600"/>
                  <a:gd name="connsiteX344" fmla="*/ 793583 w 3790950"/>
                  <a:gd name="connsiteY344" fmla="*/ 1941513 h 4038600"/>
                  <a:gd name="connsiteX345" fmla="*/ 778978 w 3790950"/>
                  <a:gd name="connsiteY345" fmla="*/ 1940878 h 4038600"/>
                  <a:gd name="connsiteX346" fmla="*/ 762468 w 3790950"/>
                  <a:gd name="connsiteY346" fmla="*/ 1985963 h 4038600"/>
                  <a:gd name="connsiteX347" fmla="*/ 745958 w 3790950"/>
                  <a:gd name="connsiteY347" fmla="*/ 2010093 h 4038600"/>
                  <a:gd name="connsiteX348" fmla="*/ 751673 w 3790950"/>
                  <a:gd name="connsiteY348" fmla="*/ 2032318 h 4038600"/>
                  <a:gd name="connsiteX349" fmla="*/ 718018 w 3790950"/>
                  <a:gd name="connsiteY349" fmla="*/ 2026603 h 4038600"/>
                  <a:gd name="connsiteX350" fmla="*/ 678648 w 3790950"/>
                  <a:gd name="connsiteY350" fmla="*/ 2052003 h 4038600"/>
                  <a:gd name="connsiteX351" fmla="*/ 638008 w 3790950"/>
                  <a:gd name="connsiteY351" fmla="*/ 2062163 h 4038600"/>
                  <a:gd name="connsiteX352" fmla="*/ 635468 w 3790950"/>
                  <a:gd name="connsiteY352" fmla="*/ 2105343 h 4038600"/>
                  <a:gd name="connsiteX353" fmla="*/ 589748 w 3790950"/>
                  <a:gd name="connsiteY353" fmla="*/ 2121218 h 4038600"/>
                  <a:gd name="connsiteX354" fmla="*/ 563713 w 3790950"/>
                  <a:gd name="connsiteY354" fmla="*/ 2140903 h 4038600"/>
                  <a:gd name="connsiteX355" fmla="*/ 557998 w 3790950"/>
                  <a:gd name="connsiteY355" fmla="*/ 2152333 h 4038600"/>
                  <a:gd name="connsiteX356" fmla="*/ 511008 w 3790950"/>
                  <a:gd name="connsiteY356" fmla="*/ 2146618 h 4038600"/>
                  <a:gd name="connsiteX357" fmla="*/ 510373 w 3790950"/>
                  <a:gd name="connsiteY357" fmla="*/ 2123123 h 4038600"/>
                  <a:gd name="connsiteX358" fmla="*/ 483068 w 3790950"/>
                  <a:gd name="connsiteY358" fmla="*/ 2117408 h 4038600"/>
                  <a:gd name="connsiteX359" fmla="*/ 471003 w 3790950"/>
                  <a:gd name="connsiteY359" fmla="*/ 2182813 h 4038600"/>
                  <a:gd name="connsiteX360" fmla="*/ 437348 w 3790950"/>
                  <a:gd name="connsiteY360" fmla="*/ 2191068 h 4038600"/>
                  <a:gd name="connsiteX361" fmla="*/ 419568 w 3790950"/>
                  <a:gd name="connsiteY361" fmla="*/ 2164398 h 4038600"/>
                  <a:gd name="connsiteX362" fmla="*/ 350353 w 3790950"/>
                  <a:gd name="connsiteY362" fmla="*/ 2175828 h 4038600"/>
                  <a:gd name="connsiteX363" fmla="*/ 405598 w 3790950"/>
                  <a:gd name="connsiteY363" fmla="*/ 2253298 h 4038600"/>
                  <a:gd name="connsiteX364" fmla="*/ 438618 w 3790950"/>
                  <a:gd name="connsiteY364" fmla="*/ 2255838 h 4038600"/>
                  <a:gd name="connsiteX365" fmla="*/ 429093 w 3790950"/>
                  <a:gd name="connsiteY365" fmla="*/ 2267903 h 4038600"/>
                  <a:gd name="connsiteX366" fmla="*/ 462113 w 3790950"/>
                  <a:gd name="connsiteY366" fmla="*/ 2278063 h 4038600"/>
                  <a:gd name="connsiteX367" fmla="*/ 440523 w 3790950"/>
                  <a:gd name="connsiteY367" fmla="*/ 2300288 h 4038600"/>
                  <a:gd name="connsiteX368" fmla="*/ 450683 w 3790950"/>
                  <a:gd name="connsiteY368" fmla="*/ 2324418 h 4038600"/>
                  <a:gd name="connsiteX369" fmla="*/ 472273 w 3790950"/>
                  <a:gd name="connsiteY369" fmla="*/ 2388553 h 4038600"/>
                  <a:gd name="connsiteX370" fmla="*/ 450048 w 3790950"/>
                  <a:gd name="connsiteY370" fmla="*/ 2470468 h 4038600"/>
                  <a:gd name="connsiteX371" fmla="*/ 432903 w 3790950"/>
                  <a:gd name="connsiteY371" fmla="*/ 2516823 h 4038600"/>
                  <a:gd name="connsiteX372" fmla="*/ 375118 w 3790950"/>
                  <a:gd name="connsiteY372" fmla="*/ 2513013 h 4038600"/>
                  <a:gd name="connsiteX373" fmla="*/ 361783 w 3790950"/>
                  <a:gd name="connsiteY373" fmla="*/ 2519998 h 4038600"/>
                  <a:gd name="connsiteX374" fmla="*/ 338288 w 3790950"/>
                  <a:gd name="connsiteY374" fmla="*/ 2502853 h 4038600"/>
                  <a:gd name="connsiteX375" fmla="*/ 295743 w 3790950"/>
                  <a:gd name="connsiteY375" fmla="*/ 2504758 h 4038600"/>
                  <a:gd name="connsiteX376" fmla="*/ 185253 w 3790950"/>
                  <a:gd name="connsiteY376" fmla="*/ 2473008 h 4038600"/>
                  <a:gd name="connsiteX377" fmla="*/ 182713 w 3790950"/>
                  <a:gd name="connsiteY377" fmla="*/ 2476818 h 4038600"/>
                  <a:gd name="connsiteX378" fmla="*/ 149693 w 3790950"/>
                  <a:gd name="connsiteY378" fmla="*/ 2450783 h 4038600"/>
                  <a:gd name="connsiteX379" fmla="*/ 96988 w 3790950"/>
                  <a:gd name="connsiteY379" fmla="*/ 2534603 h 4038600"/>
                  <a:gd name="connsiteX380" fmla="*/ 73493 w 3790950"/>
                  <a:gd name="connsiteY380" fmla="*/ 2630488 h 4038600"/>
                  <a:gd name="connsiteX381" fmla="*/ 76033 w 3790950"/>
                  <a:gd name="connsiteY381" fmla="*/ 2636838 h 4038600"/>
                  <a:gd name="connsiteX382" fmla="*/ 28408 w 3790950"/>
                  <a:gd name="connsiteY382" fmla="*/ 2714943 h 4038600"/>
                  <a:gd name="connsiteX383" fmla="*/ 17613 w 3790950"/>
                  <a:gd name="connsiteY383" fmla="*/ 2715578 h 4038600"/>
                  <a:gd name="connsiteX384" fmla="*/ 4913 w 3790950"/>
                  <a:gd name="connsiteY384" fmla="*/ 2756218 h 4038600"/>
                  <a:gd name="connsiteX385" fmla="*/ 83018 w 3790950"/>
                  <a:gd name="connsiteY385" fmla="*/ 2876868 h 4038600"/>
                  <a:gd name="connsiteX386" fmla="*/ 111593 w 3790950"/>
                  <a:gd name="connsiteY386" fmla="*/ 2876233 h 4038600"/>
                  <a:gd name="connsiteX387" fmla="*/ 125563 w 3790950"/>
                  <a:gd name="connsiteY387" fmla="*/ 2915603 h 4038600"/>
                  <a:gd name="connsiteX388" fmla="*/ 170648 w 3790950"/>
                  <a:gd name="connsiteY388" fmla="*/ 2963228 h 4038600"/>
                  <a:gd name="connsiteX389" fmla="*/ 171283 w 3790950"/>
                  <a:gd name="connsiteY389" fmla="*/ 2963228 h 4038600"/>
                  <a:gd name="connsiteX390" fmla="*/ 328128 w 3790950"/>
                  <a:gd name="connsiteY390" fmla="*/ 2945448 h 4038600"/>
                  <a:gd name="connsiteX391" fmla="*/ 338923 w 3790950"/>
                  <a:gd name="connsiteY391" fmla="*/ 2953703 h 4038600"/>
                  <a:gd name="connsiteX392" fmla="*/ 368768 w 3790950"/>
                  <a:gd name="connsiteY392" fmla="*/ 2915603 h 4038600"/>
                  <a:gd name="connsiteX393" fmla="*/ 417663 w 3790950"/>
                  <a:gd name="connsiteY393" fmla="*/ 2907348 h 4038600"/>
                  <a:gd name="connsiteX394" fmla="*/ 424648 w 3790950"/>
                  <a:gd name="connsiteY394" fmla="*/ 2873058 h 4038600"/>
                  <a:gd name="connsiteX395" fmla="*/ 461478 w 3790950"/>
                  <a:gd name="connsiteY395" fmla="*/ 2847023 h 4038600"/>
                  <a:gd name="connsiteX396" fmla="*/ 451953 w 3790950"/>
                  <a:gd name="connsiteY396" fmla="*/ 2787333 h 4038600"/>
                  <a:gd name="connsiteX397" fmla="*/ 471638 w 3790950"/>
                  <a:gd name="connsiteY397" fmla="*/ 2760028 h 4038600"/>
                  <a:gd name="connsiteX398" fmla="*/ 555458 w 3790950"/>
                  <a:gd name="connsiteY398" fmla="*/ 2687638 h 4038600"/>
                  <a:gd name="connsiteX399" fmla="*/ 629753 w 3790950"/>
                  <a:gd name="connsiteY399" fmla="*/ 2658428 h 4038600"/>
                  <a:gd name="connsiteX400" fmla="*/ 646263 w 3790950"/>
                  <a:gd name="connsiteY400" fmla="*/ 2613343 h 4038600"/>
                  <a:gd name="connsiteX401" fmla="*/ 644993 w 3790950"/>
                  <a:gd name="connsiteY401" fmla="*/ 2568258 h 4038600"/>
                  <a:gd name="connsiteX402" fmla="*/ 738973 w 3790950"/>
                  <a:gd name="connsiteY402" fmla="*/ 2546668 h 4038600"/>
                  <a:gd name="connsiteX403" fmla="*/ 738338 w 3790950"/>
                  <a:gd name="connsiteY403" fmla="*/ 2560003 h 4038600"/>
                  <a:gd name="connsiteX404" fmla="*/ 753578 w 3790950"/>
                  <a:gd name="connsiteY404" fmla="*/ 2569528 h 4038600"/>
                  <a:gd name="connsiteX405" fmla="*/ 791043 w 3790950"/>
                  <a:gd name="connsiteY405" fmla="*/ 2582863 h 4038600"/>
                  <a:gd name="connsiteX406" fmla="*/ 851368 w 3790950"/>
                  <a:gd name="connsiteY406" fmla="*/ 2540318 h 4038600"/>
                  <a:gd name="connsiteX407" fmla="*/ 884388 w 3790950"/>
                  <a:gd name="connsiteY407" fmla="*/ 2530793 h 4038600"/>
                  <a:gd name="connsiteX408" fmla="*/ 918678 w 3790950"/>
                  <a:gd name="connsiteY408" fmla="*/ 2496503 h 4038600"/>
                  <a:gd name="connsiteX409" fmla="*/ 1001228 w 3790950"/>
                  <a:gd name="connsiteY409" fmla="*/ 2576513 h 4038600"/>
                  <a:gd name="connsiteX410" fmla="*/ 999323 w 3790950"/>
                  <a:gd name="connsiteY410" fmla="*/ 2596198 h 4038600"/>
                  <a:gd name="connsiteX411" fmla="*/ 1028533 w 3790950"/>
                  <a:gd name="connsiteY411" fmla="*/ 2631758 h 4038600"/>
                  <a:gd name="connsiteX412" fmla="*/ 1053933 w 3790950"/>
                  <a:gd name="connsiteY412" fmla="*/ 2638108 h 4038600"/>
                  <a:gd name="connsiteX413" fmla="*/ 1064728 w 3790950"/>
                  <a:gd name="connsiteY413" fmla="*/ 2655888 h 4038600"/>
                  <a:gd name="connsiteX414" fmla="*/ 1118703 w 3790950"/>
                  <a:gd name="connsiteY414" fmla="*/ 2697798 h 4038600"/>
                  <a:gd name="connsiteX415" fmla="*/ 1125688 w 3790950"/>
                  <a:gd name="connsiteY415" fmla="*/ 2708593 h 4038600"/>
                  <a:gd name="connsiteX416" fmla="*/ 1158708 w 3790950"/>
                  <a:gd name="connsiteY416" fmla="*/ 2705418 h 4038600"/>
                  <a:gd name="connsiteX417" fmla="*/ 1176488 w 3790950"/>
                  <a:gd name="connsiteY417" fmla="*/ 2734628 h 4038600"/>
                  <a:gd name="connsiteX418" fmla="*/ 1213318 w 3790950"/>
                  <a:gd name="connsiteY418" fmla="*/ 2742248 h 4038600"/>
                  <a:gd name="connsiteX419" fmla="*/ 1239353 w 3790950"/>
                  <a:gd name="connsiteY419" fmla="*/ 2782888 h 4038600"/>
                  <a:gd name="connsiteX420" fmla="*/ 1259673 w 3790950"/>
                  <a:gd name="connsiteY420" fmla="*/ 2781618 h 4038600"/>
                  <a:gd name="connsiteX421" fmla="*/ 1291423 w 3790950"/>
                  <a:gd name="connsiteY421" fmla="*/ 2854008 h 4038600"/>
                  <a:gd name="connsiteX422" fmla="*/ 1264753 w 3790950"/>
                  <a:gd name="connsiteY422" fmla="*/ 2916238 h 4038600"/>
                  <a:gd name="connsiteX423" fmla="*/ 1311743 w 3790950"/>
                  <a:gd name="connsiteY423" fmla="*/ 2885123 h 4038600"/>
                  <a:gd name="connsiteX424" fmla="*/ 1311743 w 3790950"/>
                  <a:gd name="connsiteY424" fmla="*/ 2860993 h 4038600"/>
                  <a:gd name="connsiteX425" fmla="*/ 1341588 w 3790950"/>
                  <a:gd name="connsiteY425" fmla="*/ 2844483 h 4038600"/>
                  <a:gd name="connsiteX426" fmla="*/ 1307298 w 3790950"/>
                  <a:gd name="connsiteY426" fmla="*/ 2775268 h 4038600"/>
                  <a:gd name="connsiteX427" fmla="*/ 1368893 w 3790950"/>
                  <a:gd name="connsiteY427" fmla="*/ 2758758 h 4038600"/>
                  <a:gd name="connsiteX428" fmla="*/ 1379688 w 3790950"/>
                  <a:gd name="connsiteY428" fmla="*/ 2780983 h 4038600"/>
                  <a:gd name="connsiteX429" fmla="*/ 1401913 w 3790950"/>
                  <a:gd name="connsiteY429" fmla="*/ 2765743 h 4038600"/>
                  <a:gd name="connsiteX430" fmla="*/ 1270468 w 3790950"/>
                  <a:gd name="connsiteY430" fmla="*/ 2688908 h 4038600"/>
                  <a:gd name="connsiteX431" fmla="*/ 1176488 w 3790950"/>
                  <a:gd name="connsiteY431" fmla="*/ 2620328 h 4038600"/>
                  <a:gd name="connsiteX432" fmla="*/ 1149183 w 3790950"/>
                  <a:gd name="connsiteY432" fmla="*/ 2554288 h 4038600"/>
                  <a:gd name="connsiteX433" fmla="*/ 1082508 w 3790950"/>
                  <a:gd name="connsiteY433" fmla="*/ 2478723 h 4038600"/>
                  <a:gd name="connsiteX434" fmla="*/ 1140928 w 3790950"/>
                  <a:gd name="connsiteY434" fmla="*/ 2407603 h 4038600"/>
                  <a:gd name="connsiteX435" fmla="*/ 1149183 w 3790950"/>
                  <a:gd name="connsiteY435" fmla="*/ 2419668 h 4038600"/>
                  <a:gd name="connsiteX436" fmla="*/ 1189188 w 3790950"/>
                  <a:gd name="connsiteY436" fmla="*/ 2438083 h 4038600"/>
                  <a:gd name="connsiteX437" fmla="*/ 1210778 w 3790950"/>
                  <a:gd name="connsiteY437" fmla="*/ 2484438 h 4038600"/>
                  <a:gd name="connsiteX438" fmla="*/ 1237448 w 3790950"/>
                  <a:gd name="connsiteY438" fmla="*/ 2504123 h 4038600"/>
                  <a:gd name="connsiteX439" fmla="*/ 1219668 w 3790950"/>
                  <a:gd name="connsiteY439" fmla="*/ 2510473 h 4038600"/>
                  <a:gd name="connsiteX440" fmla="*/ 1348573 w 3790950"/>
                  <a:gd name="connsiteY440" fmla="*/ 2591753 h 4038600"/>
                  <a:gd name="connsiteX441" fmla="*/ 1313648 w 3790950"/>
                  <a:gd name="connsiteY441" fmla="*/ 2583498 h 4038600"/>
                  <a:gd name="connsiteX442" fmla="*/ 1396198 w 3790950"/>
                  <a:gd name="connsiteY442" fmla="*/ 2611438 h 4038600"/>
                  <a:gd name="connsiteX443" fmla="*/ 1392388 w 3790950"/>
                  <a:gd name="connsiteY443" fmla="*/ 2618423 h 4038600"/>
                  <a:gd name="connsiteX444" fmla="*/ 1448268 w 3790950"/>
                  <a:gd name="connsiteY444" fmla="*/ 2742248 h 4038600"/>
                  <a:gd name="connsiteX445" fmla="*/ 1438743 w 3790950"/>
                  <a:gd name="connsiteY445" fmla="*/ 2744153 h 4038600"/>
                  <a:gd name="connsiteX446" fmla="*/ 1469858 w 3790950"/>
                  <a:gd name="connsiteY446" fmla="*/ 2766378 h 4038600"/>
                  <a:gd name="connsiteX447" fmla="*/ 1480018 w 3790950"/>
                  <a:gd name="connsiteY447" fmla="*/ 2788603 h 4038600"/>
                  <a:gd name="connsiteX448" fmla="*/ 1500973 w 3790950"/>
                  <a:gd name="connsiteY448" fmla="*/ 2812733 h 4038600"/>
                  <a:gd name="connsiteX449" fmla="*/ 1521928 w 3790950"/>
                  <a:gd name="connsiteY449" fmla="*/ 2842578 h 4038600"/>
                  <a:gd name="connsiteX450" fmla="*/ 1565108 w 3790950"/>
                  <a:gd name="connsiteY450" fmla="*/ 2870518 h 4038600"/>
                  <a:gd name="connsiteX451" fmla="*/ 1608288 w 3790950"/>
                  <a:gd name="connsiteY451" fmla="*/ 2862898 h 4038600"/>
                  <a:gd name="connsiteX452" fmla="*/ 1608288 w 3790950"/>
                  <a:gd name="connsiteY452" fmla="*/ 2855278 h 4038600"/>
                  <a:gd name="connsiteX453" fmla="*/ 1652103 w 3790950"/>
                  <a:gd name="connsiteY453" fmla="*/ 2869248 h 4038600"/>
                  <a:gd name="connsiteX454" fmla="*/ 1635593 w 3790950"/>
                  <a:gd name="connsiteY454" fmla="*/ 2885758 h 4038600"/>
                  <a:gd name="connsiteX455" fmla="*/ 1546693 w 3790950"/>
                  <a:gd name="connsiteY455" fmla="*/ 2902903 h 4038600"/>
                  <a:gd name="connsiteX456" fmla="*/ 1577808 w 3790950"/>
                  <a:gd name="connsiteY456" fmla="*/ 2925763 h 4038600"/>
                  <a:gd name="connsiteX457" fmla="*/ 1584793 w 3790950"/>
                  <a:gd name="connsiteY457" fmla="*/ 2966403 h 4038600"/>
                  <a:gd name="connsiteX458" fmla="*/ 1606383 w 3790950"/>
                  <a:gd name="connsiteY458" fmla="*/ 2950528 h 4038600"/>
                  <a:gd name="connsiteX459" fmla="*/ 1622258 w 3790950"/>
                  <a:gd name="connsiteY459" fmla="*/ 2983548 h 4038600"/>
                  <a:gd name="connsiteX460" fmla="*/ 1637498 w 3790950"/>
                  <a:gd name="connsiteY460" fmla="*/ 2960688 h 4038600"/>
                  <a:gd name="connsiteX461" fmla="*/ 1664168 w 3790950"/>
                  <a:gd name="connsiteY461" fmla="*/ 2981008 h 4038600"/>
                  <a:gd name="connsiteX462" fmla="*/ 1657183 w 3790950"/>
                  <a:gd name="connsiteY462" fmla="*/ 2960053 h 4038600"/>
                  <a:gd name="connsiteX463" fmla="*/ 1630513 w 3790950"/>
                  <a:gd name="connsiteY463" fmla="*/ 2911158 h 4038600"/>
                  <a:gd name="connsiteX464" fmla="*/ 1669248 w 3790950"/>
                  <a:gd name="connsiteY464" fmla="*/ 2873693 h 4038600"/>
                  <a:gd name="connsiteX465" fmla="*/ 1695918 w 3790950"/>
                  <a:gd name="connsiteY465" fmla="*/ 2895918 h 4038600"/>
                  <a:gd name="connsiteX466" fmla="*/ 1692743 w 3790950"/>
                  <a:gd name="connsiteY466" fmla="*/ 2859723 h 4038600"/>
                  <a:gd name="connsiteX467" fmla="*/ 1636863 w 3790950"/>
                  <a:gd name="connsiteY467" fmla="*/ 2831148 h 4038600"/>
                  <a:gd name="connsiteX468" fmla="*/ 1610193 w 3790950"/>
                  <a:gd name="connsiteY468" fmla="*/ 2827973 h 4038600"/>
                  <a:gd name="connsiteX469" fmla="*/ 1648928 w 3790950"/>
                  <a:gd name="connsiteY469" fmla="*/ 2800668 h 4038600"/>
                  <a:gd name="connsiteX470" fmla="*/ 1605113 w 3790950"/>
                  <a:gd name="connsiteY470" fmla="*/ 2751138 h 4038600"/>
                  <a:gd name="connsiteX471" fmla="*/ 1600668 w 3790950"/>
                  <a:gd name="connsiteY471" fmla="*/ 2721928 h 4038600"/>
                  <a:gd name="connsiteX472" fmla="*/ 1673058 w 3790950"/>
                  <a:gd name="connsiteY472" fmla="*/ 2746058 h 4038600"/>
                  <a:gd name="connsiteX473" fmla="*/ 1662898 w 3790950"/>
                  <a:gd name="connsiteY473" fmla="*/ 2720023 h 4038600"/>
                  <a:gd name="connsiteX474" fmla="*/ 1691473 w 3790950"/>
                  <a:gd name="connsiteY474" fmla="*/ 2730183 h 4038600"/>
                  <a:gd name="connsiteX475" fmla="*/ 1652103 w 3790950"/>
                  <a:gd name="connsiteY475" fmla="*/ 2698433 h 4038600"/>
                  <a:gd name="connsiteX476" fmla="*/ 1671153 w 3790950"/>
                  <a:gd name="connsiteY476" fmla="*/ 2695893 h 4038600"/>
                  <a:gd name="connsiteX477" fmla="*/ 1702903 w 3790950"/>
                  <a:gd name="connsiteY477" fmla="*/ 2681923 h 4038600"/>
                  <a:gd name="connsiteX478" fmla="*/ 1716873 w 3790950"/>
                  <a:gd name="connsiteY478" fmla="*/ 2668588 h 4038600"/>
                  <a:gd name="connsiteX479" fmla="*/ 1762593 w 3790950"/>
                  <a:gd name="connsiteY479" fmla="*/ 2680018 h 4038600"/>
                  <a:gd name="connsiteX480" fmla="*/ 1777198 w 3790950"/>
                  <a:gd name="connsiteY480" fmla="*/ 2723198 h 4038600"/>
                  <a:gd name="connsiteX481" fmla="*/ 1796248 w 3790950"/>
                  <a:gd name="connsiteY481" fmla="*/ 2693353 h 4038600"/>
                  <a:gd name="connsiteX482" fmla="*/ 1822283 w 3790950"/>
                  <a:gd name="connsiteY482" fmla="*/ 2671763 h 4038600"/>
                  <a:gd name="connsiteX483" fmla="*/ 1827998 w 3790950"/>
                  <a:gd name="connsiteY483" fmla="*/ 2652078 h 4038600"/>
                  <a:gd name="connsiteX484" fmla="*/ 1888958 w 3790950"/>
                  <a:gd name="connsiteY484" fmla="*/ 2641918 h 4038600"/>
                  <a:gd name="connsiteX485" fmla="*/ 1895943 w 3790950"/>
                  <a:gd name="connsiteY485" fmla="*/ 2636838 h 4038600"/>
                  <a:gd name="connsiteX486" fmla="*/ 1852763 w 3790950"/>
                  <a:gd name="connsiteY486" fmla="*/ 2610168 h 4038600"/>
                  <a:gd name="connsiteX487" fmla="*/ 1838793 w 3790950"/>
                  <a:gd name="connsiteY487" fmla="*/ 2582863 h 4038600"/>
                  <a:gd name="connsiteX488" fmla="*/ 1806408 w 3790950"/>
                  <a:gd name="connsiteY488" fmla="*/ 2555558 h 4038600"/>
                  <a:gd name="connsiteX489" fmla="*/ 1817203 w 3790950"/>
                  <a:gd name="connsiteY489" fmla="*/ 2506028 h 4038600"/>
                  <a:gd name="connsiteX490" fmla="*/ 1834983 w 3790950"/>
                  <a:gd name="connsiteY490" fmla="*/ 2411413 h 4038600"/>
                  <a:gd name="connsiteX491" fmla="*/ 1835618 w 3790950"/>
                  <a:gd name="connsiteY491" fmla="*/ 2386013 h 4038600"/>
                  <a:gd name="connsiteX492" fmla="*/ 1866098 w 3790950"/>
                  <a:gd name="connsiteY492" fmla="*/ 2361883 h 4038600"/>
                  <a:gd name="connsiteX493" fmla="*/ 1880703 w 3790950"/>
                  <a:gd name="connsiteY493" fmla="*/ 2315528 h 4038600"/>
                  <a:gd name="connsiteX494" fmla="*/ 1891498 w 3790950"/>
                  <a:gd name="connsiteY494" fmla="*/ 2267903 h 4038600"/>
                  <a:gd name="connsiteX495" fmla="*/ 1914358 w 3790950"/>
                  <a:gd name="connsiteY495" fmla="*/ 2246313 h 4038600"/>
                  <a:gd name="connsiteX496" fmla="*/ 1935313 w 3790950"/>
                  <a:gd name="connsiteY496" fmla="*/ 2251393 h 4038600"/>
                  <a:gd name="connsiteX497" fmla="*/ 1918803 w 3790950"/>
                  <a:gd name="connsiteY497" fmla="*/ 2215198 h 4038600"/>
                  <a:gd name="connsiteX498" fmla="*/ 1945473 w 3790950"/>
                  <a:gd name="connsiteY498" fmla="*/ 2264093 h 4038600"/>
                  <a:gd name="connsiteX499" fmla="*/ 1937853 w 3790950"/>
                  <a:gd name="connsiteY499" fmla="*/ 2274888 h 4038600"/>
                  <a:gd name="connsiteX500" fmla="*/ 2008338 w 3790950"/>
                  <a:gd name="connsiteY500" fmla="*/ 2272983 h 4038600"/>
                  <a:gd name="connsiteX501" fmla="*/ 2013418 w 3790950"/>
                  <a:gd name="connsiteY501" fmla="*/ 2265363 h 4038600"/>
                  <a:gd name="connsiteX502" fmla="*/ 2024213 w 3790950"/>
                  <a:gd name="connsiteY502" fmla="*/ 2276793 h 4038600"/>
                  <a:gd name="connsiteX503" fmla="*/ 1981668 w 3790950"/>
                  <a:gd name="connsiteY503" fmla="*/ 2323148 h 4038600"/>
                  <a:gd name="connsiteX504" fmla="*/ 2030563 w 3790950"/>
                  <a:gd name="connsiteY504" fmla="*/ 2330768 h 4038600"/>
                  <a:gd name="connsiteX505" fmla="*/ 2045803 w 3790950"/>
                  <a:gd name="connsiteY505" fmla="*/ 2371408 h 4038600"/>
                  <a:gd name="connsiteX506" fmla="*/ 2074378 w 3790950"/>
                  <a:gd name="connsiteY506" fmla="*/ 2344738 h 4038600"/>
                  <a:gd name="connsiteX507" fmla="*/ 2098508 w 3790950"/>
                  <a:gd name="connsiteY507" fmla="*/ 2333308 h 4038600"/>
                  <a:gd name="connsiteX508" fmla="*/ 2109303 w 3790950"/>
                  <a:gd name="connsiteY508" fmla="*/ 2307908 h 4038600"/>
                  <a:gd name="connsiteX509" fmla="*/ 2144863 w 3790950"/>
                  <a:gd name="connsiteY509" fmla="*/ 2303463 h 4038600"/>
                  <a:gd name="connsiteX510" fmla="*/ 2094698 w 3790950"/>
                  <a:gd name="connsiteY510" fmla="*/ 2292033 h 4038600"/>
                  <a:gd name="connsiteX511" fmla="*/ 2061678 w 3790950"/>
                  <a:gd name="connsiteY511" fmla="*/ 2250123 h 4038600"/>
                  <a:gd name="connsiteX512" fmla="*/ 2128353 w 3790950"/>
                  <a:gd name="connsiteY512" fmla="*/ 2201228 h 4038600"/>
                  <a:gd name="connsiteX513" fmla="*/ 2133433 w 3790950"/>
                  <a:gd name="connsiteY513" fmla="*/ 2184083 h 4038600"/>
                  <a:gd name="connsiteX514" fmla="*/ 2173438 w 3790950"/>
                  <a:gd name="connsiteY514" fmla="*/ 2154873 h 4038600"/>
                  <a:gd name="connsiteX515" fmla="*/ 2214713 w 3790950"/>
                  <a:gd name="connsiteY515" fmla="*/ 2141538 h 4038600"/>
                  <a:gd name="connsiteX516" fmla="*/ 2163913 w 3790950"/>
                  <a:gd name="connsiteY516" fmla="*/ 2188528 h 4038600"/>
                  <a:gd name="connsiteX517" fmla="*/ 2208998 w 3790950"/>
                  <a:gd name="connsiteY517" fmla="*/ 2216468 h 4038600"/>
                  <a:gd name="connsiteX518" fmla="*/ 2184868 w 3790950"/>
                  <a:gd name="connsiteY518" fmla="*/ 2224088 h 4038600"/>
                  <a:gd name="connsiteX519" fmla="*/ 2193123 w 3790950"/>
                  <a:gd name="connsiteY519" fmla="*/ 2271078 h 4038600"/>
                  <a:gd name="connsiteX520" fmla="*/ 2150578 w 3790950"/>
                  <a:gd name="connsiteY520" fmla="*/ 2292033 h 4038600"/>
                  <a:gd name="connsiteX521" fmla="*/ 2229953 w 3790950"/>
                  <a:gd name="connsiteY521" fmla="*/ 2321243 h 4038600"/>
                  <a:gd name="connsiteX522" fmla="*/ 2253448 w 3790950"/>
                  <a:gd name="connsiteY522" fmla="*/ 2321243 h 4038600"/>
                  <a:gd name="connsiteX523" fmla="*/ 2312503 w 3790950"/>
                  <a:gd name="connsiteY523" fmla="*/ 2352993 h 4038600"/>
                  <a:gd name="connsiteX524" fmla="*/ 2421088 w 3790950"/>
                  <a:gd name="connsiteY524" fmla="*/ 2426018 h 4038600"/>
                  <a:gd name="connsiteX525" fmla="*/ 2417913 w 3790950"/>
                  <a:gd name="connsiteY525" fmla="*/ 2450148 h 4038600"/>
                  <a:gd name="connsiteX526" fmla="*/ 2376638 w 3790950"/>
                  <a:gd name="connsiteY526" fmla="*/ 2505393 h 4038600"/>
                  <a:gd name="connsiteX527" fmla="*/ 2343618 w 3790950"/>
                  <a:gd name="connsiteY527" fmla="*/ 2503488 h 4038600"/>
                  <a:gd name="connsiteX528" fmla="*/ 2195663 w 3790950"/>
                  <a:gd name="connsiteY528" fmla="*/ 2513648 h 4038600"/>
                  <a:gd name="connsiteX529" fmla="*/ 2163278 w 3790950"/>
                  <a:gd name="connsiteY529" fmla="*/ 2521268 h 4038600"/>
                  <a:gd name="connsiteX530" fmla="*/ 2142323 w 3790950"/>
                  <a:gd name="connsiteY530" fmla="*/ 2501583 h 4038600"/>
                  <a:gd name="connsiteX531" fmla="*/ 2094698 w 3790950"/>
                  <a:gd name="connsiteY531" fmla="*/ 2522538 h 4038600"/>
                  <a:gd name="connsiteX532" fmla="*/ 2075013 w 3790950"/>
                  <a:gd name="connsiteY532" fmla="*/ 2525713 h 4038600"/>
                  <a:gd name="connsiteX533" fmla="*/ 2001353 w 3790950"/>
                  <a:gd name="connsiteY533" fmla="*/ 2591118 h 4038600"/>
                  <a:gd name="connsiteX534" fmla="*/ 1944203 w 3790950"/>
                  <a:gd name="connsiteY534" fmla="*/ 2616518 h 4038600"/>
                  <a:gd name="connsiteX535" fmla="*/ 1923248 w 3790950"/>
                  <a:gd name="connsiteY535" fmla="*/ 2617788 h 4038600"/>
                  <a:gd name="connsiteX536" fmla="*/ 1894038 w 3790950"/>
                  <a:gd name="connsiteY536" fmla="*/ 2668588 h 4038600"/>
                  <a:gd name="connsiteX537" fmla="*/ 1839428 w 3790950"/>
                  <a:gd name="connsiteY537" fmla="*/ 2693988 h 4038600"/>
                  <a:gd name="connsiteX538" fmla="*/ 1777198 w 3790950"/>
                  <a:gd name="connsiteY538" fmla="*/ 2728913 h 4038600"/>
                  <a:gd name="connsiteX539" fmla="*/ 1833078 w 3790950"/>
                  <a:gd name="connsiteY539" fmla="*/ 2791143 h 4038600"/>
                  <a:gd name="connsiteX540" fmla="*/ 1818473 w 3790950"/>
                  <a:gd name="connsiteY540" fmla="*/ 2808288 h 4038600"/>
                  <a:gd name="connsiteX541" fmla="*/ 1842603 w 3790950"/>
                  <a:gd name="connsiteY541" fmla="*/ 2817178 h 4038600"/>
                  <a:gd name="connsiteX542" fmla="*/ 1799423 w 3790950"/>
                  <a:gd name="connsiteY542" fmla="*/ 2837498 h 4038600"/>
                  <a:gd name="connsiteX543" fmla="*/ 1853398 w 3790950"/>
                  <a:gd name="connsiteY543" fmla="*/ 2848293 h 4038600"/>
                  <a:gd name="connsiteX544" fmla="*/ 1843873 w 3790950"/>
                  <a:gd name="connsiteY544" fmla="*/ 2869883 h 4038600"/>
                  <a:gd name="connsiteX545" fmla="*/ 1904198 w 3790950"/>
                  <a:gd name="connsiteY545" fmla="*/ 2899093 h 4038600"/>
                  <a:gd name="connsiteX546" fmla="*/ 1915628 w 3790950"/>
                  <a:gd name="connsiteY546" fmla="*/ 2896553 h 4038600"/>
                  <a:gd name="connsiteX547" fmla="*/ 1872448 w 3790950"/>
                  <a:gd name="connsiteY547" fmla="*/ 2928303 h 4038600"/>
                  <a:gd name="connsiteX548" fmla="*/ 1906738 w 3790950"/>
                  <a:gd name="connsiteY548" fmla="*/ 2928938 h 4038600"/>
                  <a:gd name="connsiteX549" fmla="*/ 1924518 w 3790950"/>
                  <a:gd name="connsiteY549" fmla="*/ 2904173 h 4038600"/>
                  <a:gd name="connsiteX550" fmla="*/ 1992463 w 3790950"/>
                  <a:gd name="connsiteY550" fmla="*/ 2940368 h 4038600"/>
                  <a:gd name="connsiteX551" fmla="*/ 2048978 w 3790950"/>
                  <a:gd name="connsiteY551" fmla="*/ 2878138 h 4038600"/>
                  <a:gd name="connsiteX552" fmla="*/ 2098508 w 3790950"/>
                  <a:gd name="connsiteY552" fmla="*/ 2885758 h 4038600"/>
                  <a:gd name="connsiteX553" fmla="*/ 2142323 w 3790950"/>
                  <a:gd name="connsiteY553" fmla="*/ 2909888 h 4038600"/>
                  <a:gd name="connsiteX554" fmla="*/ 2217253 w 3790950"/>
                  <a:gd name="connsiteY554" fmla="*/ 2836228 h 4038600"/>
                  <a:gd name="connsiteX555" fmla="*/ 2251543 w 3790950"/>
                  <a:gd name="connsiteY555" fmla="*/ 2843848 h 4038600"/>
                  <a:gd name="connsiteX556" fmla="*/ 2276308 w 3790950"/>
                  <a:gd name="connsiteY556" fmla="*/ 2809558 h 4038600"/>
                  <a:gd name="connsiteX557" fmla="*/ 2275038 w 3790950"/>
                  <a:gd name="connsiteY557" fmla="*/ 2851468 h 4038600"/>
                  <a:gd name="connsiteX558" fmla="*/ 2283928 w 3790950"/>
                  <a:gd name="connsiteY558" fmla="*/ 2897823 h 4038600"/>
                  <a:gd name="connsiteX559" fmla="*/ 2294723 w 3790950"/>
                  <a:gd name="connsiteY559" fmla="*/ 2905443 h 4038600"/>
                  <a:gd name="connsiteX560" fmla="*/ 2286468 w 3790950"/>
                  <a:gd name="connsiteY560" fmla="*/ 3106103 h 4038600"/>
                  <a:gd name="connsiteX561" fmla="*/ 2268053 w 3790950"/>
                  <a:gd name="connsiteY561" fmla="*/ 3182303 h 4038600"/>
                  <a:gd name="connsiteX562" fmla="*/ 2152483 w 3790950"/>
                  <a:gd name="connsiteY562" fmla="*/ 3202623 h 403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</a:cxnLst>
                <a:rect l="l" t="t" r="r" b="b"/>
                <a:pathLst>
                  <a:path w="3790950" h="4038600">
                    <a:moveTo>
                      <a:pt x="2197568" y="3313748"/>
                    </a:moveTo>
                    <a:cubicBezTo>
                      <a:pt x="2195663" y="3307398"/>
                      <a:pt x="2210903" y="3306128"/>
                      <a:pt x="2217253" y="3309303"/>
                    </a:cubicBezTo>
                    <a:cubicBezTo>
                      <a:pt x="2255353" y="3328988"/>
                      <a:pt x="2251543" y="3412808"/>
                      <a:pt x="2308058" y="3396298"/>
                    </a:cubicBezTo>
                    <a:cubicBezTo>
                      <a:pt x="2327108" y="3390583"/>
                      <a:pt x="2320123" y="3358198"/>
                      <a:pt x="2330918" y="3341688"/>
                    </a:cubicBezTo>
                    <a:cubicBezTo>
                      <a:pt x="2336633" y="3332798"/>
                      <a:pt x="2316313" y="3365183"/>
                      <a:pt x="2323933" y="3372168"/>
                    </a:cubicBezTo>
                    <a:cubicBezTo>
                      <a:pt x="2332188" y="3379788"/>
                      <a:pt x="2346158" y="3359468"/>
                      <a:pt x="2356318" y="3363913"/>
                    </a:cubicBezTo>
                    <a:cubicBezTo>
                      <a:pt x="2372828" y="3370898"/>
                      <a:pt x="2397593" y="3410903"/>
                      <a:pt x="2410293" y="3427413"/>
                    </a:cubicBezTo>
                    <a:cubicBezTo>
                      <a:pt x="2417913" y="3437573"/>
                      <a:pt x="2424898" y="3447733"/>
                      <a:pt x="2434423" y="3455988"/>
                    </a:cubicBezTo>
                    <a:cubicBezTo>
                      <a:pt x="2436963" y="3458528"/>
                      <a:pt x="2442678" y="3454718"/>
                      <a:pt x="2445218" y="3457258"/>
                    </a:cubicBezTo>
                    <a:cubicBezTo>
                      <a:pt x="2448393" y="3461703"/>
                      <a:pt x="2445218" y="3469323"/>
                      <a:pt x="2448393" y="3473768"/>
                    </a:cubicBezTo>
                    <a:cubicBezTo>
                      <a:pt x="2456648" y="3483293"/>
                      <a:pt x="2469348" y="3489008"/>
                      <a:pt x="2478238" y="3497898"/>
                    </a:cubicBezTo>
                    <a:cubicBezTo>
                      <a:pt x="2493478" y="3511868"/>
                      <a:pt x="2506813" y="3529013"/>
                      <a:pt x="2523323" y="3541713"/>
                    </a:cubicBezTo>
                    <a:cubicBezTo>
                      <a:pt x="2531578" y="3548698"/>
                      <a:pt x="2544278" y="3548698"/>
                      <a:pt x="2551898" y="3556953"/>
                    </a:cubicBezTo>
                    <a:cubicBezTo>
                      <a:pt x="2569678" y="3576638"/>
                      <a:pt x="2586188" y="3597593"/>
                      <a:pt x="2596348" y="3621723"/>
                    </a:cubicBezTo>
                    <a:cubicBezTo>
                      <a:pt x="2600158" y="3631248"/>
                      <a:pt x="2588728" y="3642043"/>
                      <a:pt x="2590633" y="3652838"/>
                    </a:cubicBezTo>
                    <a:cubicBezTo>
                      <a:pt x="2592538" y="3667443"/>
                      <a:pt x="2598888" y="3681413"/>
                      <a:pt x="2607143" y="3693478"/>
                    </a:cubicBezTo>
                    <a:cubicBezTo>
                      <a:pt x="2645878" y="3748088"/>
                      <a:pt x="2633178" y="3703638"/>
                      <a:pt x="2689693" y="3734118"/>
                    </a:cubicBezTo>
                    <a:cubicBezTo>
                      <a:pt x="2720808" y="3751263"/>
                      <a:pt x="2711918" y="3789363"/>
                      <a:pt x="2748113" y="3814763"/>
                    </a:cubicBezTo>
                    <a:cubicBezTo>
                      <a:pt x="2755098" y="3819843"/>
                      <a:pt x="2769703" y="3815398"/>
                      <a:pt x="2773513" y="3823653"/>
                    </a:cubicBezTo>
                    <a:cubicBezTo>
                      <a:pt x="2787483" y="3856673"/>
                      <a:pt x="2784943" y="3895408"/>
                      <a:pt x="2796373" y="3929698"/>
                    </a:cubicBezTo>
                    <a:cubicBezTo>
                      <a:pt x="2797643" y="3934778"/>
                      <a:pt x="2808438" y="3931603"/>
                      <a:pt x="2811613" y="3936683"/>
                    </a:cubicBezTo>
                    <a:cubicBezTo>
                      <a:pt x="2820503" y="3953193"/>
                      <a:pt x="2826218" y="3971608"/>
                      <a:pt x="2830028" y="3990023"/>
                    </a:cubicBezTo>
                    <a:cubicBezTo>
                      <a:pt x="2830028" y="3991293"/>
                      <a:pt x="2821773" y="4040188"/>
                      <a:pt x="2842728" y="4034473"/>
                    </a:cubicBezTo>
                    <a:cubicBezTo>
                      <a:pt x="2920833" y="4012248"/>
                      <a:pt x="2896068" y="3996373"/>
                      <a:pt x="2934168" y="3951923"/>
                    </a:cubicBezTo>
                    <a:cubicBezTo>
                      <a:pt x="2941788" y="3943033"/>
                      <a:pt x="2966553" y="3931603"/>
                      <a:pt x="2977348" y="3921443"/>
                    </a:cubicBezTo>
                    <a:cubicBezTo>
                      <a:pt x="3113873" y="3799523"/>
                      <a:pt x="2899243" y="3990023"/>
                      <a:pt x="3030053" y="3857943"/>
                    </a:cubicBezTo>
                    <a:cubicBezTo>
                      <a:pt x="3037673" y="3850323"/>
                      <a:pt x="3051008" y="3849053"/>
                      <a:pt x="3057993" y="3840798"/>
                    </a:cubicBezTo>
                    <a:cubicBezTo>
                      <a:pt x="3068788" y="3827463"/>
                      <a:pt x="3072598" y="3808413"/>
                      <a:pt x="3082758" y="3794443"/>
                    </a:cubicBezTo>
                    <a:cubicBezTo>
                      <a:pt x="3096093" y="3776028"/>
                      <a:pt x="3112603" y="3760153"/>
                      <a:pt x="3126573" y="3743008"/>
                    </a:cubicBezTo>
                    <a:cubicBezTo>
                      <a:pt x="3146258" y="3718243"/>
                      <a:pt x="3173563" y="3702368"/>
                      <a:pt x="3186263" y="3670618"/>
                    </a:cubicBezTo>
                    <a:cubicBezTo>
                      <a:pt x="3190073" y="3659823"/>
                      <a:pt x="3182453" y="3647123"/>
                      <a:pt x="3186263" y="3636328"/>
                    </a:cubicBezTo>
                    <a:cubicBezTo>
                      <a:pt x="3191343" y="3622358"/>
                      <a:pt x="3236428" y="3558858"/>
                      <a:pt x="3245318" y="3550603"/>
                    </a:cubicBezTo>
                    <a:cubicBezTo>
                      <a:pt x="3255478" y="3541078"/>
                      <a:pt x="3271353" y="3536633"/>
                      <a:pt x="3277703" y="3523933"/>
                    </a:cubicBezTo>
                    <a:cubicBezTo>
                      <a:pt x="3285323" y="3508693"/>
                      <a:pt x="3278338" y="3489008"/>
                      <a:pt x="3285323" y="3473768"/>
                    </a:cubicBezTo>
                    <a:cubicBezTo>
                      <a:pt x="3291038" y="3461068"/>
                      <a:pt x="3308183" y="3455988"/>
                      <a:pt x="3313898" y="3443288"/>
                    </a:cubicBezTo>
                    <a:cubicBezTo>
                      <a:pt x="3321518" y="3427413"/>
                      <a:pt x="3318343" y="3407093"/>
                      <a:pt x="3323423" y="3389948"/>
                    </a:cubicBezTo>
                    <a:cubicBezTo>
                      <a:pt x="3346283" y="3313113"/>
                      <a:pt x="3376128" y="3216593"/>
                      <a:pt x="3380573" y="3134043"/>
                    </a:cubicBezTo>
                    <a:cubicBezTo>
                      <a:pt x="3381843" y="3107373"/>
                      <a:pt x="3343108" y="3149283"/>
                      <a:pt x="3285323" y="3117533"/>
                    </a:cubicBezTo>
                    <a:cubicBezTo>
                      <a:pt x="3261193" y="3104198"/>
                      <a:pt x="3256748" y="3031808"/>
                      <a:pt x="3235793" y="3050223"/>
                    </a:cubicBezTo>
                    <a:cubicBezTo>
                      <a:pt x="3228173" y="3057208"/>
                      <a:pt x="3219283" y="3063558"/>
                      <a:pt x="3214203" y="3073083"/>
                    </a:cubicBezTo>
                    <a:cubicBezTo>
                      <a:pt x="3210393" y="3080703"/>
                      <a:pt x="3214203" y="3090228"/>
                      <a:pt x="3212298" y="3099118"/>
                    </a:cubicBezTo>
                    <a:cubicBezTo>
                      <a:pt x="3207218" y="3123248"/>
                      <a:pt x="3201503" y="3147378"/>
                      <a:pt x="3193883" y="3170873"/>
                    </a:cubicBezTo>
                    <a:cubicBezTo>
                      <a:pt x="3188803" y="3186748"/>
                      <a:pt x="3112603" y="3243898"/>
                      <a:pt x="3104983" y="3246438"/>
                    </a:cubicBezTo>
                    <a:cubicBezTo>
                      <a:pt x="3057993" y="3261678"/>
                      <a:pt x="3090378" y="3203893"/>
                      <a:pt x="3089108" y="3201988"/>
                    </a:cubicBezTo>
                    <a:cubicBezTo>
                      <a:pt x="3081488" y="3192463"/>
                      <a:pt x="3059898" y="3188018"/>
                      <a:pt x="3052278" y="3197543"/>
                    </a:cubicBezTo>
                    <a:cubicBezTo>
                      <a:pt x="3044658" y="3208338"/>
                      <a:pt x="3077043" y="3233103"/>
                      <a:pt x="3064343" y="3235008"/>
                    </a:cubicBezTo>
                    <a:cubicBezTo>
                      <a:pt x="3028148" y="3241358"/>
                      <a:pt x="3030053" y="3159443"/>
                      <a:pt x="3016083" y="3147378"/>
                    </a:cubicBezTo>
                    <a:cubicBezTo>
                      <a:pt x="3002748" y="3135948"/>
                      <a:pt x="2986873" y="3125788"/>
                      <a:pt x="2970363" y="3119438"/>
                    </a:cubicBezTo>
                    <a:cubicBezTo>
                      <a:pt x="2965283" y="3117533"/>
                      <a:pt x="2958298" y="3128328"/>
                      <a:pt x="2953853" y="3123883"/>
                    </a:cubicBezTo>
                    <a:cubicBezTo>
                      <a:pt x="2940518" y="3113088"/>
                      <a:pt x="2936708" y="3093403"/>
                      <a:pt x="2925278" y="3080703"/>
                    </a:cubicBezTo>
                    <a:cubicBezTo>
                      <a:pt x="2913848" y="3068638"/>
                      <a:pt x="2892258" y="3064828"/>
                      <a:pt x="2885273" y="3049588"/>
                    </a:cubicBezTo>
                    <a:cubicBezTo>
                      <a:pt x="2881463" y="3041968"/>
                      <a:pt x="2901148" y="3038158"/>
                      <a:pt x="2901148" y="3029903"/>
                    </a:cubicBezTo>
                    <a:cubicBezTo>
                      <a:pt x="2901148" y="3021013"/>
                      <a:pt x="2884003" y="3016568"/>
                      <a:pt x="2885908" y="3008313"/>
                    </a:cubicBezTo>
                    <a:cubicBezTo>
                      <a:pt x="2887813" y="3000058"/>
                      <a:pt x="2902418" y="3003868"/>
                      <a:pt x="2908768" y="2998788"/>
                    </a:cubicBezTo>
                    <a:cubicBezTo>
                      <a:pt x="2933533" y="2979738"/>
                      <a:pt x="2929088" y="2961958"/>
                      <a:pt x="2963378" y="2954338"/>
                    </a:cubicBezTo>
                    <a:cubicBezTo>
                      <a:pt x="2972268" y="2952433"/>
                      <a:pt x="3009733" y="2996248"/>
                      <a:pt x="3019258" y="3012123"/>
                    </a:cubicBezTo>
                    <a:cubicBezTo>
                      <a:pt x="3025608" y="3022283"/>
                      <a:pt x="3027513" y="3038158"/>
                      <a:pt x="3038308" y="3042603"/>
                    </a:cubicBezTo>
                    <a:cubicBezTo>
                      <a:pt x="3052913" y="3048953"/>
                      <a:pt x="3070058" y="3036888"/>
                      <a:pt x="3085933" y="3039428"/>
                    </a:cubicBezTo>
                    <a:cubicBezTo>
                      <a:pt x="3122763" y="3045778"/>
                      <a:pt x="3139273" y="3077528"/>
                      <a:pt x="3172928" y="3047683"/>
                    </a:cubicBezTo>
                    <a:cubicBezTo>
                      <a:pt x="3190073" y="3032443"/>
                      <a:pt x="3212298" y="2953068"/>
                      <a:pt x="3231983" y="2959418"/>
                    </a:cubicBezTo>
                    <a:cubicBezTo>
                      <a:pt x="3253573" y="2966403"/>
                      <a:pt x="3250398" y="3001328"/>
                      <a:pt x="3266273" y="3017838"/>
                    </a:cubicBezTo>
                    <a:cubicBezTo>
                      <a:pt x="3268813" y="3021013"/>
                      <a:pt x="3306278" y="3003868"/>
                      <a:pt x="3321518" y="2992438"/>
                    </a:cubicBezTo>
                    <a:cubicBezTo>
                      <a:pt x="3337393" y="2981008"/>
                      <a:pt x="3346283" y="2961958"/>
                      <a:pt x="3362158" y="2951163"/>
                    </a:cubicBezTo>
                    <a:cubicBezTo>
                      <a:pt x="3371683" y="2944813"/>
                      <a:pt x="3384383" y="2942273"/>
                      <a:pt x="3393273" y="2934653"/>
                    </a:cubicBezTo>
                    <a:cubicBezTo>
                      <a:pt x="3395813" y="2932113"/>
                      <a:pt x="3465663" y="2854643"/>
                      <a:pt x="3466933" y="2852738"/>
                    </a:cubicBezTo>
                    <a:cubicBezTo>
                      <a:pt x="3468838" y="2850198"/>
                      <a:pt x="3465028" y="2845753"/>
                      <a:pt x="3466933" y="2843213"/>
                    </a:cubicBezTo>
                    <a:cubicBezTo>
                      <a:pt x="3473283" y="2830513"/>
                      <a:pt x="3482808" y="2820353"/>
                      <a:pt x="3489158" y="2807653"/>
                    </a:cubicBezTo>
                    <a:cubicBezTo>
                      <a:pt x="3492968" y="2800033"/>
                      <a:pt x="3489158" y="2786698"/>
                      <a:pt x="3497413" y="2783523"/>
                    </a:cubicBezTo>
                    <a:cubicBezTo>
                      <a:pt x="3503763" y="2780983"/>
                      <a:pt x="3505668" y="2794953"/>
                      <a:pt x="3511383" y="2798763"/>
                    </a:cubicBezTo>
                    <a:cubicBezTo>
                      <a:pt x="3525988" y="2808288"/>
                      <a:pt x="3543133" y="2814003"/>
                      <a:pt x="3558373" y="2822258"/>
                    </a:cubicBezTo>
                    <a:cubicBezTo>
                      <a:pt x="3568533" y="2827338"/>
                      <a:pt x="3579328" y="2844483"/>
                      <a:pt x="3588218" y="2838133"/>
                    </a:cubicBezTo>
                    <a:cubicBezTo>
                      <a:pt x="3602823" y="2827973"/>
                      <a:pt x="3592663" y="2798763"/>
                      <a:pt x="3607268" y="2788603"/>
                    </a:cubicBezTo>
                    <a:cubicBezTo>
                      <a:pt x="3616793" y="2781618"/>
                      <a:pt x="3609808" y="2812733"/>
                      <a:pt x="3607903" y="2824163"/>
                    </a:cubicBezTo>
                    <a:cubicBezTo>
                      <a:pt x="3605998" y="2838133"/>
                      <a:pt x="3600283" y="2851468"/>
                      <a:pt x="3594568" y="2864803"/>
                    </a:cubicBezTo>
                    <a:cubicBezTo>
                      <a:pt x="3593298" y="2867343"/>
                      <a:pt x="3587583" y="2873693"/>
                      <a:pt x="3588853" y="2871153"/>
                    </a:cubicBezTo>
                    <a:cubicBezTo>
                      <a:pt x="3609808" y="2833053"/>
                      <a:pt x="3621238" y="2786698"/>
                      <a:pt x="3652988" y="2756853"/>
                    </a:cubicBezTo>
                    <a:cubicBezTo>
                      <a:pt x="3665688" y="2745423"/>
                      <a:pt x="3654258" y="2791143"/>
                      <a:pt x="3657433" y="2807653"/>
                    </a:cubicBezTo>
                    <a:cubicBezTo>
                      <a:pt x="3663783" y="2843213"/>
                      <a:pt x="3672038" y="2878138"/>
                      <a:pt x="3682198" y="2913063"/>
                    </a:cubicBezTo>
                    <a:cubicBezTo>
                      <a:pt x="3683468" y="2918143"/>
                      <a:pt x="3681563" y="2892108"/>
                      <a:pt x="3683468" y="2897188"/>
                    </a:cubicBezTo>
                    <a:cubicBezTo>
                      <a:pt x="3690453" y="2918143"/>
                      <a:pt x="3693628" y="2939733"/>
                      <a:pt x="3698073" y="2961323"/>
                    </a:cubicBezTo>
                    <a:cubicBezTo>
                      <a:pt x="3701248" y="2975928"/>
                      <a:pt x="3701248" y="2991803"/>
                      <a:pt x="3705693" y="3005773"/>
                    </a:cubicBezTo>
                    <a:cubicBezTo>
                      <a:pt x="3724743" y="3066733"/>
                      <a:pt x="3727918" y="3041968"/>
                      <a:pt x="3735538" y="3086418"/>
                    </a:cubicBezTo>
                    <a:cubicBezTo>
                      <a:pt x="3743793" y="3132773"/>
                      <a:pt x="3749508" y="3179763"/>
                      <a:pt x="3757128" y="3226118"/>
                    </a:cubicBezTo>
                    <a:cubicBezTo>
                      <a:pt x="3757763" y="3228658"/>
                      <a:pt x="3759668" y="3236278"/>
                      <a:pt x="3760303" y="3233738"/>
                    </a:cubicBezTo>
                    <a:cubicBezTo>
                      <a:pt x="3809198" y="2914333"/>
                      <a:pt x="3788878" y="2783523"/>
                      <a:pt x="3771098" y="2408873"/>
                    </a:cubicBezTo>
                    <a:cubicBezTo>
                      <a:pt x="3770463" y="2399983"/>
                      <a:pt x="3765383" y="2391728"/>
                      <a:pt x="3764113" y="2382838"/>
                    </a:cubicBezTo>
                    <a:cubicBezTo>
                      <a:pt x="3760303" y="2344103"/>
                      <a:pt x="3759668" y="2304733"/>
                      <a:pt x="3756493" y="2265363"/>
                    </a:cubicBezTo>
                    <a:cubicBezTo>
                      <a:pt x="3755223" y="2255838"/>
                      <a:pt x="3762843" y="2238693"/>
                      <a:pt x="3759668" y="2229803"/>
                    </a:cubicBezTo>
                    <a:cubicBezTo>
                      <a:pt x="3757763" y="2220278"/>
                      <a:pt x="3755223" y="2210753"/>
                      <a:pt x="3753318" y="2200593"/>
                    </a:cubicBezTo>
                    <a:cubicBezTo>
                      <a:pt x="3713313" y="2022158"/>
                      <a:pt x="3658703" y="1848168"/>
                      <a:pt x="3586313" y="1680528"/>
                    </a:cubicBezTo>
                    <a:cubicBezTo>
                      <a:pt x="3452963" y="1373823"/>
                      <a:pt x="3264368" y="1091248"/>
                      <a:pt x="3031958" y="851218"/>
                    </a:cubicBezTo>
                    <a:cubicBezTo>
                      <a:pt x="2652863" y="459423"/>
                      <a:pt x="2153118" y="176213"/>
                      <a:pt x="1617813" y="65088"/>
                    </a:cubicBezTo>
                    <a:cubicBezTo>
                      <a:pt x="1441918" y="28258"/>
                      <a:pt x="1313013" y="18733"/>
                      <a:pt x="1144103" y="8573"/>
                    </a:cubicBezTo>
                    <a:lnTo>
                      <a:pt x="1145373" y="4763"/>
                    </a:lnTo>
                    <a:cubicBezTo>
                      <a:pt x="1281898" y="18733"/>
                      <a:pt x="1419058" y="25718"/>
                      <a:pt x="1550503" y="68263"/>
                    </a:cubicBezTo>
                    <a:cubicBezTo>
                      <a:pt x="1566378" y="73343"/>
                      <a:pt x="1636863" y="89218"/>
                      <a:pt x="1650198" y="95568"/>
                    </a:cubicBezTo>
                    <a:cubicBezTo>
                      <a:pt x="1660993" y="101283"/>
                      <a:pt x="1667978" y="112713"/>
                      <a:pt x="1677503" y="120968"/>
                    </a:cubicBezTo>
                    <a:cubicBezTo>
                      <a:pt x="1705443" y="144463"/>
                      <a:pt x="1744813" y="149543"/>
                      <a:pt x="1779738" y="159703"/>
                    </a:cubicBezTo>
                    <a:cubicBezTo>
                      <a:pt x="1782913" y="160338"/>
                      <a:pt x="1786088" y="155893"/>
                      <a:pt x="1789263" y="157163"/>
                    </a:cubicBezTo>
                    <a:cubicBezTo>
                      <a:pt x="1803233" y="162878"/>
                      <a:pt x="1816568" y="171768"/>
                      <a:pt x="1829268" y="180023"/>
                    </a:cubicBezTo>
                    <a:cubicBezTo>
                      <a:pt x="1836253" y="185103"/>
                      <a:pt x="1840698" y="193358"/>
                      <a:pt x="1848953" y="197168"/>
                    </a:cubicBezTo>
                    <a:cubicBezTo>
                      <a:pt x="1848953" y="197168"/>
                      <a:pt x="1915628" y="212408"/>
                      <a:pt x="1916263" y="214313"/>
                    </a:cubicBezTo>
                    <a:cubicBezTo>
                      <a:pt x="1919438" y="230188"/>
                      <a:pt x="1897848" y="242888"/>
                      <a:pt x="1895308" y="258763"/>
                    </a:cubicBezTo>
                    <a:cubicBezTo>
                      <a:pt x="1894038" y="266383"/>
                      <a:pt x="1908008" y="272733"/>
                      <a:pt x="1904833" y="279083"/>
                    </a:cubicBezTo>
                    <a:cubicBezTo>
                      <a:pt x="1902293" y="284798"/>
                      <a:pt x="1883243" y="270828"/>
                      <a:pt x="1887053" y="274638"/>
                    </a:cubicBezTo>
                    <a:cubicBezTo>
                      <a:pt x="1901658" y="289878"/>
                      <a:pt x="1929598" y="293053"/>
                      <a:pt x="1937218" y="312738"/>
                    </a:cubicBezTo>
                    <a:cubicBezTo>
                      <a:pt x="1941663" y="324803"/>
                      <a:pt x="1911818" y="304483"/>
                      <a:pt x="1899753" y="307023"/>
                    </a:cubicBezTo>
                    <a:cubicBezTo>
                      <a:pt x="1894673" y="308293"/>
                      <a:pt x="1904198" y="316548"/>
                      <a:pt x="1908008" y="319088"/>
                    </a:cubicBezTo>
                    <a:cubicBezTo>
                      <a:pt x="1914993" y="324168"/>
                      <a:pt x="1924518" y="325438"/>
                      <a:pt x="1931503" y="331153"/>
                    </a:cubicBezTo>
                    <a:cubicBezTo>
                      <a:pt x="1942298" y="340043"/>
                      <a:pt x="1949918" y="352108"/>
                      <a:pt x="1960078" y="360998"/>
                    </a:cubicBezTo>
                    <a:cubicBezTo>
                      <a:pt x="1967063" y="366713"/>
                      <a:pt x="1992463" y="380048"/>
                      <a:pt x="1984208" y="375603"/>
                    </a:cubicBezTo>
                    <a:cubicBezTo>
                      <a:pt x="1949283" y="355918"/>
                      <a:pt x="1850858" y="294958"/>
                      <a:pt x="1819108" y="289243"/>
                    </a:cubicBezTo>
                    <a:cubicBezTo>
                      <a:pt x="1816568" y="288608"/>
                      <a:pt x="1704808" y="289243"/>
                      <a:pt x="1720683" y="321628"/>
                    </a:cubicBezTo>
                    <a:cubicBezTo>
                      <a:pt x="1749258" y="380683"/>
                      <a:pt x="1819743" y="356553"/>
                      <a:pt x="1864828" y="374968"/>
                    </a:cubicBezTo>
                    <a:cubicBezTo>
                      <a:pt x="1871178" y="377508"/>
                      <a:pt x="1851493" y="376873"/>
                      <a:pt x="1844508" y="376238"/>
                    </a:cubicBezTo>
                    <a:cubicBezTo>
                      <a:pt x="1831173" y="374968"/>
                      <a:pt x="1814028" y="357823"/>
                      <a:pt x="1805138" y="367983"/>
                    </a:cubicBezTo>
                    <a:cubicBezTo>
                      <a:pt x="1796883" y="378143"/>
                      <a:pt x="1817838" y="390208"/>
                      <a:pt x="1823553" y="401638"/>
                    </a:cubicBezTo>
                    <a:cubicBezTo>
                      <a:pt x="1829268" y="413703"/>
                      <a:pt x="1831173" y="428308"/>
                      <a:pt x="1840063" y="438468"/>
                    </a:cubicBezTo>
                    <a:cubicBezTo>
                      <a:pt x="1852128" y="452438"/>
                      <a:pt x="1871813" y="457518"/>
                      <a:pt x="1883878" y="470853"/>
                    </a:cubicBezTo>
                    <a:cubicBezTo>
                      <a:pt x="1886418" y="473393"/>
                      <a:pt x="1871178" y="474663"/>
                      <a:pt x="1874353" y="475933"/>
                    </a:cubicBezTo>
                    <a:cubicBezTo>
                      <a:pt x="1905468" y="488633"/>
                      <a:pt x="1939123" y="493713"/>
                      <a:pt x="1970873" y="506413"/>
                    </a:cubicBezTo>
                    <a:cubicBezTo>
                      <a:pt x="1979763" y="510223"/>
                      <a:pt x="1951188" y="506413"/>
                      <a:pt x="1941663" y="503238"/>
                    </a:cubicBezTo>
                    <a:cubicBezTo>
                      <a:pt x="1933408" y="500063"/>
                      <a:pt x="1926423" y="479743"/>
                      <a:pt x="1921343" y="486728"/>
                    </a:cubicBezTo>
                    <a:cubicBezTo>
                      <a:pt x="1911183" y="500698"/>
                      <a:pt x="1909278" y="522288"/>
                      <a:pt x="1916263" y="538163"/>
                    </a:cubicBezTo>
                    <a:cubicBezTo>
                      <a:pt x="1920708" y="548958"/>
                      <a:pt x="1937853" y="548323"/>
                      <a:pt x="1949283" y="550863"/>
                    </a:cubicBezTo>
                    <a:cubicBezTo>
                      <a:pt x="1976588" y="556578"/>
                      <a:pt x="2005798" y="555308"/>
                      <a:pt x="2033103" y="562293"/>
                    </a:cubicBezTo>
                    <a:cubicBezTo>
                      <a:pt x="2042628" y="564833"/>
                      <a:pt x="2048978" y="574358"/>
                      <a:pt x="2057233" y="578803"/>
                    </a:cubicBezTo>
                    <a:cubicBezTo>
                      <a:pt x="2075013" y="588328"/>
                      <a:pt x="2097238" y="590868"/>
                      <a:pt x="2111843" y="604838"/>
                    </a:cubicBezTo>
                    <a:cubicBezTo>
                      <a:pt x="2119463" y="611823"/>
                      <a:pt x="2091523" y="604203"/>
                      <a:pt x="2081998" y="601663"/>
                    </a:cubicBezTo>
                    <a:cubicBezTo>
                      <a:pt x="2078188" y="600393"/>
                      <a:pt x="1984843" y="548958"/>
                      <a:pt x="1967698" y="581978"/>
                    </a:cubicBezTo>
                    <a:cubicBezTo>
                      <a:pt x="1942298" y="632778"/>
                      <a:pt x="2045803" y="621983"/>
                      <a:pt x="2046438" y="623253"/>
                    </a:cubicBezTo>
                    <a:cubicBezTo>
                      <a:pt x="2054058" y="634683"/>
                      <a:pt x="2020403" y="634048"/>
                      <a:pt x="2005798" y="635318"/>
                    </a:cubicBezTo>
                    <a:cubicBezTo>
                      <a:pt x="1998178" y="635953"/>
                      <a:pt x="1948013" y="601028"/>
                      <a:pt x="1943568" y="598488"/>
                    </a:cubicBezTo>
                    <a:cubicBezTo>
                      <a:pt x="1937218" y="595313"/>
                      <a:pt x="1916898" y="589598"/>
                      <a:pt x="1921978" y="594678"/>
                    </a:cubicBezTo>
                    <a:cubicBezTo>
                      <a:pt x="1932773" y="605473"/>
                      <a:pt x="1949918" y="606108"/>
                      <a:pt x="1961348" y="616268"/>
                    </a:cubicBezTo>
                    <a:cubicBezTo>
                      <a:pt x="1971508" y="625793"/>
                      <a:pt x="1971508" y="643573"/>
                      <a:pt x="1982938" y="651193"/>
                    </a:cubicBezTo>
                    <a:cubicBezTo>
                      <a:pt x="1996273" y="660083"/>
                      <a:pt x="2014688" y="657543"/>
                      <a:pt x="2029293" y="662623"/>
                    </a:cubicBezTo>
                    <a:cubicBezTo>
                      <a:pt x="2033738" y="664528"/>
                      <a:pt x="2037548" y="668338"/>
                      <a:pt x="2041358" y="671513"/>
                    </a:cubicBezTo>
                    <a:cubicBezTo>
                      <a:pt x="2050883" y="679768"/>
                      <a:pt x="2085808" y="715963"/>
                      <a:pt x="2102953" y="713423"/>
                    </a:cubicBezTo>
                    <a:cubicBezTo>
                      <a:pt x="2118828" y="711518"/>
                      <a:pt x="2127083" y="689293"/>
                      <a:pt x="2142323" y="686753"/>
                    </a:cubicBezTo>
                    <a:cubicBezTo>
                      <a:pt x="2193123" y="677863"/>
                      <a:pt x="2164548" y="712153"/>
                      <a:pt x="2198838" y="722313"/>
                    </a:cubicBezTo>
                    <a:cubicBezTo>
                      <a:pt x="2205823" y="724218"/>
                      <a:pt x="2224873" y="708343"/>
                      <a:pt x="2219158" y="713423"/>
                    </a:cubicBezTo>
                    <a:cubicBezTo>
                      <a:pt x="2212808" y="719138"/>
                      <a:pt x="2203918" y="727393"/>
                      <a:pt x="2195028" y="725488"/>
                    </a:cubicBezTo>
                    <a:cubicBezTo>
                      <a:pt x="2191218" y="724853"/>
                      <a:pt x="2146133" y="684848"/>
                      <a:pt x="2130893" y="694373"/>
                    </a:cubicBezTo>
                    <a:cubicBezTo>
                      <a:pt x="2123273" y="699453"/>
                      <a:pt x="2123908" y="713423"/>
                      <a:pt x="2128988" y="721043"/>
                    </a:cubicBezTo>
                    <a:cubicBezTo>
                      <a:pt x="2140418" y="738188"/>
                      <a:pt x="2167088" y="737553"/>
                      <a:pt x="2182328" y="751523"/>
                    </a:cubicBezTo>
                    <a:cubicBezTo>
                      <a:pt x="2240748" y="804863"/>
                      <a:pt x="2189948" y="759143"/>
                      <a:pt x="2215983" y="808673"/>
                    </a:cubicBezTo>
                    <a:cubicBezTo>
                      <a:pt x="2218523" y="813752"/>
                      <a:pt x="2233128" y="815023"/>
                      <a:pt x="2229318" y="820102"/>
                    </a:cubicBezTo>
                    <a:cubicBezTo>
                      <a:pt x="2204553" y="852488"/>
                      <a:pt x="2172168" y="841693"/>
                      <a:pt x="2171533" y="835977"/>
                    </a:cubicBezTo>
                    <a:cubicBezTo>
                      <a:pt x="2170898" y="825183"/>
                      <a:pt x="2188678" y="818833"/>
                      <a:pt x="2188043" y="808673"/>
                    </a:cubicBezTo>
                    <a:cubicBezTo>
                      <a:pt x="2186773" y="782638"/>
                      <a:pt x="2155023" y="747713"/>
                      <a:pt x="2133433" y="736918"/>
                    </a:cubicBezTo>
                    <a:cubicBezTo>
                      <a:pt x="2123273" y="731838"/>
                      <a:pt x="2109938" y="735648"/>
                      <a:pt x="2099778" y="730568"/>
                    </a:cubicBezTo>
                    <a:cubicBezTo>
                      <a:pt x="2076918" y="719773"/>
                      <a:pt x="2055328" y="705803"/>
                      <a:pt x="2035008" y="691833"/>
                    </a:cubicBezTo>
                    <a:cubicBezTo>
                      <a:pt x="2025483" y="685483"/>
                      <a:pt x="2018498" y="675323"/>
                      <a:pt x="2008338" y="670243"/>
                    </a:cubicBezTo>
                    <a:cubicBezTo>
                      <a:pt x="1996273" y="664528"/>
                      <a:pt x="1981668" y="667068"/>
                      <a:pt x="1970238" y="660083"/>
                    </a:cubicBezTo>
                    <a:cubicBezTo>
                      <a:pt x="1952458" y="649923"/>
                      <a:pt x="1930233" y="611823"/>
                      <a:pt x="1916263" y="616903"/>
                    </a:cubicBezTo>
                    <a:cubicBezTo>
                      <a:pt x="1843873" y="641033"/>
                      <a:pt x="1921978" y="660718"/>
                      <a:pt x="1931503" y="679768"/>
                    </a:cubicBezTo>
                    <a:cubicBezTo>
                      <a:pt x="1936583" y="690563"/>
                      <a:pt x="1937218" y="703898"/>
                      <a:pt x="1945473" y="712153"/>
                    </a:cubicBezTo>
                    <a:cubicBezTo>
                      <a:pt x="1950553" y="717233"/>
                      <a:pt x="1960078" y="713423"/>
                      <a:pt x="1967063" y="716598"/>
                    </a:cubicBezTo>
                    <a:cubicBezTo>
                      <a:pt x="2000083" y="731838"/>
                      <a:pt x="2029928" y="752158"/>
                      <a:pt x="2062948" y="766128"/>
                    </a:cubicBezTo>
                    <a:cubicBezTo>
                      <a:pt x="2066123" y="767398"/>
                      <a:pt x="2075013" y="759778"/>
                      <a:pt x="2071838" y="761048"/>
                    </a:cubicBezTo>
                    <a:cubicBezTo>
                      <a:pt x="2052153" y="768668"/>
                      <a:pt x="2033738" y="780098"/>
                      <a:pt x="2013418" y="785178"/>
                    </a:cubicBezTo>
                    <a:cubicBezTo>
                      <a:pt x="1971508" y="795338"/>
                      <a:pt x="1978493" y="767398"/>
                      <a:pt x="1937218" y="796608"/>
                    </a:cubicBezTo>
                    <a:cubicBezTo>
                      <a:pt x="1918168" y="809943"/>
                      <a:pt x="1953093" y="812483"/>
                      <a:pt x="1963253" y="822643"/>
                    </a:cubicBezTo>
                    <a:cubicBezTo>
                      <a:pt x="1970238" y="829627"/>
                      <a:pt x="1971508" y="840423"/>
                      <a:pt x="1976588" y="848677"/>
                    </a:cubicBezTo>
                    <a:cubicBezTo>
                      <a:pt x="1980398" y="854393"/>
                      <a:pt x="1995003" y="858838"/>
                      <a:pt x="1989923" y="863283"/>
                    </a:cubicBezTo>
                    <a:cubicBezTo>
                      <a:pt x="1979128" y="872808"/>
                      <a:pt x="1961348" y="868998"/>
                      <a:pt x="1948013" y="873443"/>
                    </a:cubicBezTo>
                    <a:cubicBezTo>
                      <a:pt x="1904198" y="889318"/>
                      <a:pt x="1930868" y="883602"/>
                      <a:pt x="1902293" y="915352"/>
                    </a:cubicBezTo>
                    <a:cubicBezTo>
                      <a:pt x="1899753" y="918527"/>
                      <a:pt x="1906103" y="907733"/>
                      <a:pt x="1905468" y="903923"/>
                    </a:cubicBezTo>
                    <a:cubicBezTo>
                      <a:pt x="1902293" y="893763"/>
                      <a:pt x="1899753" y="879793"/>
                      <a:pt x="1890228" y="875348"/>
                    </a:cubicBezTo>
                    <a:cubicBezTo>
                      <a:pt x="1883878" y="872808"/>
                      <a:pt x="1878798" y="884238"/>
                      <a:pt x="1875623" y="890588"/>
                    </a:cubicBezTo>
                    <a:cubicBezTo>
                      <a:pt x="1872448" y="896302"/>
                      <a:pt x="1873718" y="903288"/>
                      <a:pt x="1871178" y="909002"/>
                    </a:cubicBezTo>
                    <a:cubicBezTo>
                      <a:pt x="1860383" y="933768"/>
                      <a:pt x="1845143" y="956627"/>
                      <a:pt x="1835618" y="981393"/>
                    </a:cubicBezTo>
                    <a:cubicBezTo>
                      <a:pt x="1830538" y="995363"/>
                      <a:pt x="1840063" y="1018223"/>
                      <a:pt x="1827363" y="1026477"/>
                    </a:cubicBezTo>
                    <a:cubicBezTo>
                      <a:pt x="1815933" y="1033463"/>
                      <a:pt x="1795613" y="1023302"/>
                      <a:pt x="1789898" y="1011238"/>
                    </a:cubicBezTo>
                    <a:cubicBezTo>
                      <a:pt x="1784818" y="999808"/>
                      <a:pt x="1817203" y="985202"/>
                      <a:pt x="1807043" y="978852"/>
                    </a:cubicBezTo>
                    <a:cubicBezTo>
                      <a:pt x="1791803" y="969327"/>
                      <a:pt x="1765768" y="975677"/>
                      <a:pt x="1754973" y="989648"/>
                    </a:cubicBezTo>
                    <a:cubicBezTo>
                      <a:pt x="1734653" y="1016318"/>
                      <a:pt x="1803233" y="1039177"/>
                      <a:pt x="1805773" y="1044258"/>
                    </a:cubicBezTo>
                    <a:cubicBezTo>
                      <a:pt x="1816568" y="1069658"/>
                      <a:pt x="1764498" y="1064578"/>
                      <a:pt x="1763228" y="1065848"/>
                    </a:cubicBezTo>
                    <a:cubicBezTo>
                      <a:pt x="1758148" y="1070293"/>
                      <a:pt x="1765133" y="1079818"/>
                      <a:pt x="1763228" y="1086803"/>
                    </a:cubicBezTo>
                    <a:cubicBezTo>
                      <a:pt x="1758148" y="1100138"/>
                      <a:pt x="1746083" y="1110298"/>
                      <a:pt x="1741003" y="1124268"/>
                    </a:cubicBezTo>
                    <a:cubicBezTo>
                      <a:pt x="1734653" y="1141413"/>
                      <a:pt x="1786723" y="1143953"/>
                      <a:pt x="1781008" y="1161098"/>
                    </a:cubicBezTo>
                    <a:cubicBezTo>
                      <a:pt x="1774658" y="1178878"/>
                      <a:pt x="1747353" y="1180148"/>
                      <a:pt x="1728303" y="1183323"/>
                    </a:cubicBezTo>
                    <a:cubicBezTo>
                      <a:pt x="1723858" y="1183958"/>
                      <a:pt x="1734653" y="1171258"/>
                      <a:pt x="1730208" y="1169353"/>
                    </a:cubicBezTo>
                    <a:cubicBezTo>
                      <a:pt x="1716873" y="1163003"/>
                      <a:pt x="1699728" y="1157288"/>
                      <a:pt x="1685758" y="1163003"/>
                    </a:cubicBezTo>
                    <a:cubicBezTo>
                      <a:pt x="1678773" y="1166178"/>
                      <a:pt x="1683853" y="1181418"/>
                      <a:pt x="1690203" y="1185863"/>
                    </a:cubicBezTo>
                    <a:cubicBezTo>
                      <a:pt x="1703538" y="1195388"/>
                      <a:pt x="1724493" y="1189038"/>
                      <a:pt x="1736558" y="1199198"/>
                    </a:cubicBezTo>
                    <a:cubicBezTo>
                      <a:pt x="1743543" y="1204913"/>
                      <a:pt x="1746718" y="1224598"/>
                      <a:pt x="1738463" y="1226503"/>
                    </a:cubicBezTo>
                    <a:cubicBezTo>
                      <a:pt x="1716873" y="1230948"/>
                      <a:pt x="1695283" y="1218248"/>
                      <a:pt x="1674328" y="1213168"/>
                    </a:cubicBezTo>
                    <a:cubicBezTo>
                      <a:pt x="1666708" y="1211263"/>
                      <a:pt x="1657818" y="1211263"/>
                      <a:pt x="1652103" y="1206183"/>
                    </a:cubicBezTo>
                    <a:cubicBezTo>
                      <a:pt x="1639403" y="1195388"/>
                      <a:pt x="1627338" y="1182688"/>
                      <a:pt x="1620988" y="1166813"/>
                    </a:cubicBezTo>
                    <a:cubicBezTo>
                      <a:pt x="1618448" y="1160463"/>
                      <a:pt x="1631783" y="1152843"/>
                      <a:pt x="1627973" y="1147128"/>
                    </a:cubicBezTo>
                    <a:cubicBezTo>
                      <a:pt x="1622258" y="1136968"/>
                      <a:pt x="1589873" y="1136333"/>
                      <a:pt x="1597493" y="1127443"/>
                    </a:cubicBezTo>
                    <a:cubicBezTo>
                      <a:pt x="1612733" y="1110933"/>
                      <a:pt x="1640673" y="1113473"/>
                      <a:pt x="1662898" y="1109028"/>
                    </a:cubicBezTo>
                    <a:cubicBezTo>
                      <a:pt x="1667343" y="1108393"/>
                      <a:pt x="1671153" y="1111568"/>
                      <a:pt x="1676233" y="1112203"/>
                    </a:cubicBezTo>
                    <a:cubicBezTo>
                      <a:pt x="1679408" y="1112838"/>
                      <a:pt x="1683853" y="1115378"/>
                      <a:pt x="1685758" y="1112203"/>
                    </a:cubicBezTo>
                    <a:cubicBezTo>
                      <a:pt x="1715603" y="1067753"/>
                      <a:pt x="1749893" y="1044258"/>
                      <a:pt x="1701633" y="1018223"/>
                    </a:cubicBezTo>
                    <a:cubicBezTo>
                      <a:pt x="1692108" y="1013143"/>
                      <a:pt x="1680043" y="1013143"/>
                      <a:pt x="1669248" y="1009968"/>
                    </a:cubicBezTo>
                    <a:cubicBezTo>
                      <a:pt x="1633053" y="999808"/>
                      <a:pt x="1598763" y="978218"/>
                      <a:pt x="1561298" y="977583"/>
                    </a:cubicBezTo>
                    <a:cubicBezTo>
                      <a:pt x="1546693" y="977583"/>
                      <a:pt x="1531453" y="975677"/>
                      <a:pt x="1516848" y="978852"/>
                    </a:cubicBezTo>
                    <a:cubicBezTo>
                      <a:pt x="1512403" y="979488"/>
                      <a:pt x="1514308" y="990283"/>
                      <a:pt x="1509863" y="989648"/>
                    </a:cubicBezTo>
                    <a:cubicBezTo>
                      <a:pt x="1493988" y="987108"/>
                      <a:pt x="1480653" y="975677"/>
                      <a:pt x="1465413" y="971233"/>
                    </a:cubicBezTo>
                    <a:cubicBezTo>
                      <a:pt x="1458428" y="969327"/>
                      <a:pt x="1449538" y="975043"/>
                      <a:pt x="1443188" y="970598"/>
                    </a:cubicBezTo>
                    <a:cubicBezTo>
                      <a:pt x="1429218" y="960438"/>
                      <a:pt x="1423503" y="941388"/>
                      <a:pt x="1410168" y="930593"/>
                    </a:cubicBezTo>
                    <a:cubicBezTo>
                      <a:pt x="1404453" y="926148"/>
                      <a:pt x="1395563" y="928688"/>
                      <a:pt x="1387943" y="927418"/>
                    </a:cubicBezTo>
                    <a:cubicBezTo>
                      <a:pt x="1377148" y="924877"/>
                      <a:pt x="1366353" y="919163"/>
                      <a:pt x="1355558" y="920433"/>
                    </a:cubicBezTo>
                    <a:cubicBezTo>
                      <a:pt x="1257133" y="928052"/>
                      <a:pt x="1371433" y="935038"/>
                      <a:pt x="1287613" y="985838"/>
                    </a:cubicBezTo>
                    <a:cubicBezTo>
                      <a:pt x="1273643" y="994093"/>
                      <a:pt x="1255863" y="980758"/>
                      <a:pt x="1239988" y="977583"/>
                    </a:cubicBezTo>
                    <a:cubicBezTo>
                      <a:pt x="1222843" y="973773"/>
                      <a:pt x="1299043" y="980123"/>
                      <a:pt x="1264118" y="997902"/>
                    </a:cubicBezTo>
                    <a:cubicBezTo>
                      <a:pt x="1255863" y="1002348"/>
                      <a:pt x="1246338" y="990918"/>
                      <a:pt x="1236813" y="991552"/>
                    </a:cubicBezTo>
                    <a:cubicBezTo>
                      <a:pt x="1228558" y="991552"/>
                      <a:pt x="1220938" y="995363"/>
                      <a:pt x="1213318" y="999173"/>
                    </a:cubicBezTo>
                    <a:cubicBezTo>
                      <a:pt x="1147913" y="1030288"/>
                      <a:pt x="1215858" y="1014413"/>
                      <a:pt x="1172678" y="1082358"/>
                    </a:cubicBezTo>
                    <a:cubicBezTo>
                      <a:pt x="1167598" y="1089978"/>
                      <a:pt x="1152993" y="1077278"/>
                      <a:pt x="1145373" y="1082358"/>
                    </a:cubicBezTo>
                    <a:cubicBezTo>
                      <a:pt x="1141563" y="1084898"/>
                      <a:pt x="1153628" y="1089343"/>
                      <a:pt x="1152993" y="1093788"/>
                    </a:cubicBezTo>
                    <a:cubicBezTo>
                      <a:pt x="1146643" y="1168083"/>
                      <a:pt x="1147278" y="1116013"/>
                      <a:pt x="1106638" y="1136968"/>
                    </a:cubicBezTo>
                    <a:cubicBezTo>
                      <a:pt x="1100288" y="1140143"/>
                      <a:pt x="1104098" y="1151573"/>
                      <a:pt x="1099018" y="1156018"/>
                    </a:cubicBezTo>
                    <a:cubicBezTo>
                      <a:pt x="1093938" y="1160463"/>
                      <a:pt x="1081238" y="1156018"/>
                      <a:pt x="1079333" y="1162368"/>
                    </a:cubicBezTo>
                    <a:cubicBezTo>
                      <a:pt x="1077428" y="1170623"/>
                      <a:pt x="1091398" y="1176338"/>
                      <a:pt x="1091398" y="1184593"/>
                    </a:cubicBezTo>
                    <a:cubicBezTo>
                      <a:pt x="1090763" y="1201738"/>
                      <a:pt x="1083778" y="1218248"/>
                      <a:pt x="1076158" y="1233488"/>
                    </a:cubicBezTo>
                    <a:cubicBezTo>
                      <a:pt x="1019008" y="1349693"/>
                      <a:pt x="1096478" y="1164273"/>
                      <a:pt x="1035518" y="1265873"/>
                    </a:cubicBezTo>
                    <a:cubicBezTo>
                      <a:pt x="1032978" y="1269683"/>
                      <a:pt x="1046948" y="1276033"/>
                      <a:pt x="1042503" y="1278573"/>
                    </a:cubicBezTo>
                    <a:cubicBezTo>
                      <a:pt x="1004403" y="1295718"/>
                      <a:pt x="1040598" y="1247458"/>
                      <a:pt x="1010753" y="1280478"/>
                    </a:cubicBezTo>
                    <a:cubicBezTo>
                      <a:pt x="1000593" y="1291908"/>
                      <a:pt x="972018" y="1307148"/>
                      <a:pt x="983448" y="1316038"/>
                    </a:cubicBezTo>
                    <a:cubicBezTo>
                      <a:pt x="997418" y="1326833"/>
                      <a:pt x="1015198" y="1297623"/>
                      <a:pt x="1032978" y="1297623"/>
                    </a:cubicBezTo>
                    <a:cubicBezTo>
                      <a:pt x="1039328" y="1297623"/>
                      <a:pt x="1042503" y="1312228"/>
                      <a:pt x="1037423" y="1315403"/>
                    </a:cubicBezTo>
                    <a:cubicBezTo>
                      <a:pt x="1022818" y="1323658"/>
                      <a:pt x="1003133" y="1316673"/>
                      <a:pt x="988528" y="1323658"/>
                    </a:cubicBezTo>
                    <a:cubicBezTo>
                      <a:pt x="978368" y="1328103"/>
                      <a:pt x="974558" y="1341438"/>
                      <a:pt x="965033" y="1347153"/>
                    </a:cubicBezTo>
                    <a:cubicBezTo>
                      <a:pt x="958683" y="1350963"/>
                      <a:pt x="949793" y="1348423"/>
                      <a:pt x="942808" y="1350963"/>
                    </a:cubicBezTo>
                    <a:cubicBezTo>
                      <a:pt x="939633" y="1352233"/>
                      <a:pt x="940268" y="1358583"/>
                      <a:pt x="937093" y="1359218"/>
                    </a:cubicBezTo>
                    <a:cubicBezTo>
                      <a:pt x="926933" y="1361758"/>
                      <a:pt x="912963" y="1353503"/>
                      <a:pt x="904708" y="1361123"/>
                    </a:cubicBezTo>
                    <a:cubicBezTo>
                      <a:pt x="892008" y="1372553"/>
                      <a:pt x="898993" y="1398588"/>
                      <a:pt x="885023" y="1408113"/>
                    </a:cubicBezTo>
                    <a:cubicBezTo>
                      <a:pt x="874228" y="1415098"/>
                      <a:pt x="860893" y="1396683"/>
                      <a:pt x="848193" y="1398588"/>
                    </a:cubicBezTo>
                    <a:cubicBezTo>
                      <a:pt x="843113" y="1399858"/>
                      <a:pt x="843748" y="1412558"/>
                      <a:pt x="848193" y="1414463"/>
                    </a:cubicBezTo>
                    <a:cubicBezTo>
                      <a:pt x="863433" y="1420813"/>
                      <a:pt x="892643" y="1403033"/>
                      <a:pt x="898358" y="1418908"/>
                    </a:cubicBezTo>
                    <a:cubicBezTo>
                      <a:pt x="909788" y="1450023"/>
                      <a:pt x="848193" y="1441133"/>
                      <a:pt x="838033" y="1450658"/>
                    </a:cubicBezTo>
                    <a:cubicBezTo>
                      <a:pt x="835493" y="1453198"/>
                      <a:pt x="841208" y="1458913"/>
                      <a:pt x="845018" y="1459548"/>
                    </a:cubicBezTo>
                    <a:cubicBezTo>
                      <a:pt x="890738" y="1463358"/>
                      <a:pt x="876133" y="1451928"/>
                      <a:pt x="910423" y="1451928"/>
                    </a:cubicBezTo>
                    <a:cubicBezTo>
                      <a:pt x="914868" y="1451928"/>
                      <a:pt x="926298" y="1453833"/>
                      <a:pt x="922488" y="1455103"/>
                    </a:cubicBezTo>
                    <a:cubicBezTo>
                      <a:pt x="895183" y="1463358"/>
                      <a:pt x="865973" y="1466533"/>
                      <a:pt x="838033" y="1474153"/>
                    </a:cubicBezTo>
                    <a:cubicBezTo>
                      <a:pt x="832953" y="1475423"/>
                      <a:pt x="857718" y="1470978"/>
                      <a:pt x="853273" y="1472883"/>
                    </a:cubicBezTo>
                    <a:cubicBezTo>
                      <a:pt x="847558" y="1475423"/>
                      <a:pt x="830413" y="1470343"/>
                      <a:pt x="834223" y="1475423"/>
                    </a:cubicBezTo>
                    <a:cubicBezTo>
                      <a:pt x="843113" y="1486853"/>
                      <a:pt x="857718" y="1491933"/>
                      <a:pt x="871688" y="1496378"/>
                    </a:cubicBezTo>
                    <a:cubicBezTo>
                      <a:pt x="881213" y="1499553"/>
                      <a:pt x="900898" y="1486218"/>
                      <a:pt x="900898" y="1495743"/>
                    </a:cubicBezTo>
                    <a:cubicBezTo>
                      <a:pt x="901533" y="1540193"/>
                      <a:pt x="781518" y="1543368"/>
                      <a:pt x="838668" y="1594168"/>
                    </a:cubicBezTo>
                    <a:cubicBezTo>
                      <a:pt x="861528" y="1614488"/>
                      <a:pt x="895183" y="1616393"/>
                      <a:pt x="922488" y="1629093"/>
                    </a:cubicBezTo>
                    <a:cubicBezTo>
                      <a:pt x="925028" y="1630363"/>
                      <a:pt x="926933" y="1636713"/>
                      <a:pt x="928838" y="1635443"/>
                    </a:cubicBezTo>
                    <a:cubicBezTo>
                      <a:pt x="943443" y="1623378"/>
                      <a:pt x="954873" y="1606868"/>
                      <a:pt x="966938" y="1592263"/>
                    </a:cubicBezTo>
                    <a:cubicBezTo>
                      <a:pt x="970113" y="1587818"/>
                      <a:pt x="971383" y="1581468"/>
                      <a:pt x="975193" y="1577658"/>
                    </a:cubicBezTo>
                    <a:cubicBezTo>
                      <a:pt x="984083" y="1568768"/>
                      <a:pt x="998053" y="1564958"/>
                      <a:pt x="1005673" y="1554798"/>
                    </a:cubicBezTo>
                    <a:cubicBezTo>
                      <a:pt x="1010118" y="1549083"/>
                      <a:pt x="1006308" y="1527493"/>
                      <a:pt x="1009483" y="1533843"/>
                    </a:cubicBezTo>
                    <a:cubicBezTo>
                      <a:pt x="1015198" y="1545273"/>
                      <a:pt x="1008848" y="1560513"/>
                      <a:pt x="1014563" y="1572578"/>
                    </a:cubicBezTo>
                    <a:cubicBezTo>
                      <a:pt x="1024088" y="1591628"/>
                      <a:pt x="1045678" y="1603693"/>
                      <a:pt x="1053298" y="1624013"/>
                    </a:cubicBezTo>
                    <a:cubicBezTo>
                      <a:pt x="1057743" y="1636078"/>
                      <a:pt x="1045043" y="1648778"/>
                      <a:pt x="1047583" y="1661478"/>
                    </a:cubicBezTo>
                    <a:cubicBezTo>
                      <a:pt x="1083143" y="1829753"/>
                      <a:pt x="1053933" y="1640523"/>
                      <a:pt x="1090763" y="1724343"/>
                    </a:cubicBezTo>
                    <a:cubicBezTo>
                      <a:pt x="1093938" y="1731963"/>
                      <a:pt x="1093938" y="1742123"/>
                      <a:pt x="1088858" y="1748473"/>
                    </a:cubicBezTo>
                    <a:cubicBezTo>
                      <a:pt x="1086318" y="1752283"/>
                      <a:pt x="1075523" y="1740218"/>
                      <a:pt x="1075523" y="1744663"/>
                    </a:cubicBezTo>
                    <a:cubicBezTo>
                      <a:pt x="1076158" y="1763713"/>
                      <a:pt x="1081873" y="1783398"/>
                      <a:pt x="1091398" y="1799908"/>
                    </a:cubicBezTo>
                    <a:cubicBezTo>
                      <a:pt x="1095208" y="1806258"/>
                      <a:pt x="1140928" y="1799908"/>
                      <a:pt x="1141563" y="1798638"/>
                    </a:cubicBezTo>
                    <a:cubicBezTo>
                      <a:pt x="1152993" y="1786573"/>
                      <a:pt x="1146008" y="1763078"/>
                      <a:pt x="1156803" y="1750378"/>
                    </a:cubicBezTo>
                    <a:cubicBezTo>
                      <a:pt x="1172678" y="1732598"/>
                      <a:pt x="1202523" y="1730058"/>
                      <a:pt x="1217763" y="1711643"/>
                    </a:cubicBezTo>
                    <a:cubicBezTo>
                      <a:pt x="1224113" y="1704023"/>
                      <a:pt x="1213318" y="1691323"/>
                      <a:pt x="1214588" y="1681163"/>
                    </a:cubicBezTo>
                    <a:cubicBezTo>
                      <a:pt x="1215223" y="1676718"/>
                      <a:pt x="1222208" y="1674178"/>
                      <a:pt x="1221573" y="1669733"/>
                    </a:cubicBezTo>
                    <a:cubicBezTo>
                      <a:pt x="1220303" y="1660843"/>
                      <a:pt x="1209508" y="1653858"/>
                      <a:pt x="1209508" y="1644968"/>
                    </a:cubicBezTo>
                    <a:cubicBezTo>
                      <a:pt x="1209508" y="1641158"/>
                      <a:pt x="1220303" y="1648778"/>
                      <a:pt x="1221573" y="1645603"/>
                    </a:cubicBezTo>
                    <a:cubicBezTo>
                      <a:pt x="1224748" y="1637983"/>
                      <a:pt x="1224113" y="1627188"/>
                      <a:pt x="1220303" y="1620203"/>
                    </a:cubicBezTo>
                    <a:cubicBezTo>
                      <a:pt x="1215858" y="1611948"/>
                      <a:pt x="1192998" y="1610678"/>
                      <a:pt x="1198078" y="1602423"/>
                    </a:cubicBezTo>
                    <a:cubicBezTo>
                      <a:pt x="1205063" y="1590993"/>
                      <a:pt x="1224748" y="1599248"/>
                      <a:pt x="1236813" y="1593533"/>
                    </a:cubicBezTo>
                    <a:cubicBezTo>
                      <a:pt x="1248878" y="1587818"/>
                      <a:pt x="1262848" y="1581468"/>
                      <a:pt x="1268563" y="1568768"/>
                    </a:cubicBezTo>
                    <a:cubicBezTo>
                      <a:pt x="1271103" y="1563053"/>
                      <a:pt x="1253958" y="1570038"/>
                      <a:pt x="1250148" y="1564958"/>
                    </a:cubicBezTo>
                    <a:cubicBezTo>
                      <a:pt x="1242528" y="1556068"/>
                      <a:pt x="1240623" y="1543368"/>
                      <a:pt x="1237448" y="1531938"/>
                    </a:cubicBezTo>
                    <a:cubicBezTo>
                      <a:pt x="1234908" y="1523683"/>
                      <a:pt x="1239988" y="1551623"/>
                      <a:pt x="1247608" y="1556703"/>
                    </a:cubicBezTo>
                    <a:cubicBezTo>
                      <a:pt x="1255863" y="1561783"/>
                      <a:pt x="1285073" y="1533843"/>
                      <a:pt x="1285708" y="1532573"/>
                    </a:cubicBezTo>
                    <a:cubicBezTo>
                      <a:pt x="1292693" y="1523048"/>
                      <a:pt x="1246973" y="1491298"/>
                      <a:pt x="1243163" y="1485583"/>
                    </a:cubicBezTo>
                    <a:cubicBezTo>
                      <a:pt x="1239353" y="1479233"/>
                      <a:pt x="1207603" y="1396683"/>
                      <a:pt x="1210778" y="1381443"/>
                    </a:cubicBezTo>
                    <a:cubicBezTo>
                      <a:pt x="1213318" y="1371283"/>
                      <a:pt x="1228558" y="1369378"/>
                      <a:pt x="1235543" y="1361123"/>
                    </a:cubicBezTo>
                    <a:cubicBezTo>
                      <a:pt x="1246338" y="1347788"/>
                      <a:pt x="1250783" y="1330008"/>
                      <a:pt x="1262848" y="1317943"/>
                    </a:cubicBezTo>
                    <a:cubicBezTo>
                      <a:pt x="1271103" y="1309688"/>
                      <a:pt x="1286978" y="1310958"/>
                      <a:pt x="1295233" y="1302703"/>
                    </a:cubicBezTo>
                    <a:cubicBezTo>
                      <a:pt x="1349843" y="1245553"/>
                      <a:pt x="1300948" y="1283653"/>
                      <a:pt x="1293963" y="1246823"/>
                    </a:cubicBezTo>
                    <a:cubicBezTo>
                      <a:pt x="1292693" y="1239838"/>
                      <a:pt x="1306028" y="1236028"/>
                      <a:pt x="1306028" y="1229043"/>
                    </a:cubicBezTo>
                    <a:cubicBezTo>
                      <a:pt x="1306028" y="1224598"/>
                      <a:pt x="1295233" y="1225233"/>
                      <a:pt x="1295233" y="1220153"/>
                    </a:cubicBezTo>
                    <a:cubicBezTo>
                      <a:pt x="1292058" y="1183958"/>
                      <a:pt x="1344763" y="1185228"/>
                      <a:pt x="1363178" y="1187133"/>
                    </a:cubicBezTo>
                    <a:cubicBezTo>
                      <a:pt x="1380323" y="1189038"/>
                      <a:pt x="1415248" y="1199833"/>
                      <a:pt x="1408898" y="1227773"/>
                    </a:cubicBezTo>
                    <a:cubicBezTo>
                      <a:pt x="1406993" y="1235393"/>
                      <a:pt x="1391753" y="1231583"/>
                      <a:pt x="1387943" y="1238568"/>
                    </a:cubicBezTo>
                    <a:cubicBezTo>
                      <a:pt x="1379688" y="1251268"/>
                      <a:pt x="1380958" y="1268413"/>
                      <a:pt x="1373973" y="1282383"/>
                    </a:cubicBezTo>
                    <a:cubicBezTo>
                      <a:pt x="1370163" y="1291273"/>
                      <a:pt x="1363178" y="1298258"/>
                      <a:pt x="1356193" y="1305243"/>
                    </a:cubicBezTo>
                    <a:cubicBezTo>
                      <a:pt x="1353018" y="1308418"/>
                      <a:pt x="1345398" y="1308418"/>
                      <a:pt x="1343493" y="1312863"/>
                    </a:cubicBezTo>
                    <a:cubicBezTo>
                      <a:pt x="1342223" y="1317308"/>
                      <a:pt x="1350478" y="1321753"/>
                      <a:pt x="1347938" y="1326198"/>
                    </a:cubicBezTo>
                    <a:cubicBezTo>
                      <a:pt x="1340953" y="1338263"/>
                      <a:pt x="1319363" y="1342708"/>
                      <a:pt x="1318728" y="1356678"/>
                    </a:cubicBezTo>
                    <a:cubicBezTo>
                      <a:pt x="1317458" y="1389063"/>
                      <a:pt x="1334603" y="1419543"/>
                      <a:pt x="1343493" y="1450658"/>
                    </a:cubicBezTo>
                    <a:cubicBezTo>
                      <a:pt x="1346033" y="1459548"/>
                      <a:pt x="1344763" y="1470978"/>
                      <a:pt x="1351748" y="1476693"/>
                    </a:cubicBezTo>
                    <a:cubicBezTo>
                      <a:pt x="1351748" y="1476693"/>
                      <a:pt x="1417153" y="1502093"/>
                      <a:pt x="1417153" y="1502093"/>
                    </a:cubicBezTo>
                    <a:cubicBezTo>
                      <a:pt x="1418423" y="1507808"/>
                      <a:pt x="1400643" y="1517968"/>
                      <a:pt x="1406358" y="1516063"/>
                    </a:cubicBezTo>
                    <a:cubicBezTo>
                      <a:pt x="1423503" y="1510348"/>
                      <a:pt x="1436838" y="1497013"/>
                      <a:pt x="1453348" y="1490028"/>
                    </a:cubicBezTo>
                    <a:cubicBezTo>
                      <a:pt x="1458428" y="1488123"/>
                      <a:pt x="1464778" y="1490663"/>
                      <a:pt x="1469223" y="1488123"/>
                    </a:cubicBezTo>
                    <a:cubicBezTo>
                      <a:pt x="1483193" y="1479233"/>
                      <a:pt x="1492718" y="1463993"/>
                      <a:pt x="1507958" y="1456373"/>
                    </a:cubicBezTo>
                    <a:cubicBezTo>
                      <a:pt x="1511768" y="1454468"/>
                      <a:pt x="1511133" y="1466533"/>
                      <a:pt x="1514943" y="1465898"/>
                    </a:cubicBezTo>
                    <a:cubicBezTo>
                      <a:pt x="1526373" y="1464628"/>
                      <a:pt x="1535263" y="1451293"/>
                      <a:pt x="1546693" y="1452563"/>
                    </a:cubicBezTo>
                    <a:cubicBezTo>
                      <a:pt x="1574633" y="1454468"/>
                      <a:pt x="1604478" y="1458913"/>
                      <a:pt x="1629243" y="1472883"/>
                    </a:cubicBezTo>
                    <a:cubicBezTo>
                      <a:pt x="1639403" y="1479233"/>
                      <a:pt x="1605113" y="1475423"/>
                      <a:pt x="1593683" y="1479233"/>
                    </a:cubicBezTo>
                    <a:cubicBezTo>
                      <a:pt x="1584158" y="1482408"/>
                      <a:pt x="1577173" y="1490028"/>
                      <a:pt x="1567648" y="1493203"/>
                    </a:cubicBezTo>
                    <a:cubicBezTo>
                      <a:pt x="1520023" y="1509713"/>
                      <a:pt x="1495893" y="1505268"/>
                      <a:pt x="1456523" y="1531303"/>
                    </a:cubicBezTo>
                    <a:cubicBezTo>
                      <a:pt x="1453348" y="1533208"/>
                      <a:pt x="1454618" y="1539558"/>
                      <a:pt x="1451443" y="1541463"/>
                    </a:cubicBezTo>
                    <a:cubicBezTo>
                      <a:pt x="1445728" y="1545273"/>
                      <a:pt x="1434298" y="1540828"/>
                      <a:pt x="1432393" y="1546543"/>
                    </a:cubicBezTo>
                    <a:cubicBezTo>
                      <a:pt x="1431123" y="1551623"/>
                      <a:pt x="1443823" y="1592263"/>
                      <a:pt x="1452078" y="1596073"/>
                    </a:cubicBezTo>
                    <a:cubicBezTo>
                      <a:pt x="1460333" y="1599883"/>
                      <a:pt x="1473668" y="1586548"/>
                      <a:pt x="1479383" y="1593533"/>
                    </a:cubicBezTo>
                    <a:cubicBezTo>
                      <a:pt x="1486368" y="1601153"/>
                      <a:pt x="1475573" y="1613853"/>
                      <a:pt x="1476843" y="1624013"/>
                    </a:cubicBezTo>
                    <a:cubicBezTo>
                      <a:pt x="1478748" y="1635443"/>
                      <a:pt x="1495893" y="1648143"/>
                      <a:pt x="1488908" y="1657668"/>
                    </a:cubicBezTo>
                    <a:cubicBezTo>
                      <a:pt x="1443823" y="1717993"/>
                      <a:pt x="1443823" y="1594803"/>
                      <a:pt x="1394293" y="1648778"/>
                    </a:cubicBezTo>
                    <a:cubicBezTo>
                      <a:pt x="1389213" y="1654493"/>
                      <a:pt x="1389213" y="1664018"/>
                      <a:pt x="1387943" y="1671638"/>
                    </a:cubicBezTo>
                    <a:cubicBezTo>
                      <a:pt x="1384768" y="1688783"/>
                      <a:pt x="1379053" y="1705293"/>
                      <a:pt x="1380958" y="1722438"/>
                    </a:cubicBezTo>
                    <a:cubicBezTo>
                      <a:pt x="1383498" y="1745933"/>
                      <a:pt x="1393658" y="1768793"/>
                      <a:pt x="1400643" y="1791653"/>
                    </a:cubicBezTo>
                    <a:cubicBezTo>
                      <a:pt x="1401913" y="1796733"/>
                      <a:pt x="1410168" y="1804353"/>
                      <a:pt x="1405723" y="1806258"/>
                    </a:cubicBezTo>
                    <a:cubicBezTo>
                      <a:pt x="1391118" y="1812608"/>
                      <a:pt x="1372068" y="1802448"/>
                      <a:pt x="1358733" y="1810703"/>
                    </a:cubicBezTo>
                    <a:cubicBezTo>
                      <a:pt x="1349843" y="1816418"/>
                      <a:pt x="1358733" y="1836103"/>
                      <a:pt x="1349208" y="1841183"/>
                    </a:cubicBezTo>
                    <a:cubicBezTo>
                      <a:pt x="1325078" y="1855153"/>
                      <a:pt x="1318728" y="1820863"/>
                      <a:pt x="1299043" y="1822768"/>
                    </a:cubicBezTo>
                    <a:cubicBezTo>
                      <a:pt x="1281263" y="1824673"/>
                      <a:pt x="1264753" y="1834833"/>
                      <a:pt x="1247608" y="1840548"/>
                    </a:cubicBezTo>
                    <a:cubicBezTo>
                      <a:pt x="1243163" y="1841818"/>
                      <a:pt x="1237448" y="1841183"/>
                      <a:pt x="1234273" y="1844358"/>
                    </a:cubicBezTo>
                    <a:cubicBezTo>
                      <a:pt x="1228558" y="1849438"/>
                      <a:pt x="1227923" y="1858963"/>
                      <a:pt x="1221573" y="1862773"/>
                    </a:cubicBezTo>
                    <a:cubicBezTo>
                      <a:pt x="1212048" y="1868488"/>
                      <a:pt x="1199983" y="1867218"/>
                      <a:pt x="1189823" y="1871663"/>
                    </a:cubicBezTo>
                    <a:cubicBezTo>
                      <a:pt x="1175853" y="1876743"/>
                      <a:pt x="1161248" y="1881823"/>
                      <a:pt x="1149183" y="1890713"/>
                    </a:cubicBezTo>
                    <a:cubicBezTo>
                      <a:pt x="1146643" y="1892618"/>
                      <a:pt x="1153628" y="1900238"/>
                      <a:pt x="1151723" y="1898968"/>
                    </a:cubicBezTo>
                    <a:cubicBezTo>
                      <a:pt x="1128228" y="1885633"/>
                      <a:pt x="1109813" y="1860868"/>
                      <a:pt x="1083778" y="1854518"/>
                    </a:cubicBezTo>
                    <a:cubicBezTo>
                      <a:pt x="1074888" y="1851978"/>
                      <a:pt x="1076793" y="1873568"/>
                      <a:pt x="1068538" y="1878013"/>
                    </a:cubicBezTo>
                    <a:cubicBezTo>
                      <a:pt x="1032343" y="1897698"/>
                      <a:pt x="1006308" y="1890713"/>
                      <a:pt x="982813" y="1856423"/>
                    </a:cubicBezTo>
                    <a:cubicBezTo>
                      <a:pt x="979003" y="1850708"/>
                      <a:pt x="990433" y="1842453"/>
                      <a:pt x="986623" y="1836738"/>
                    </a:cubicBezTo>
                    <a:cubicBezTo>
                      <a:pt x="982813" y="1831658"/>
                      <a:pt x="968843" y="1839913"/>
                      <a:pt x="966938" y="1833563"/>
                    </a:cubicBezTo>
                    <a:cubicBezTo>
                      <a:pt x="962493" y="1815783"/>
                      <a:pt x="965033" y="1796733"/>
                      <a:pt x="972018" y="1779588"/>
                    </a:cubicBezTo>
                    <a:cubicBezTo>
                      <a:pt x="973923" y="1774508"/>
                      <a:pt x="985353" y="1784033"/>
                      <a:pt x="989163" y="1779588"/>
                    </a:cubicBezTo>
                    <a:cubicBezTo>
                      <a:pt x="996783" y="1770698"/>
                      <a:pt x="992973" y="1754823"/>
                      <a:pt x="1001228" y="1746568"/>
                    </a:cubicBezTo>
                    <a:cubicBezTo>
                      <a:pt x="1004403" y="1742758"/>
                      <a:pt x="1010118" y="1755458"/>
                      <a:pt x="1014563" y="1753553"/>
                    </a:cubicBezTo>
                    <a:cubicBezTo>
                      <a:pt x="1035518" y="1743393"/>
                      <a:pt x="1015833" y="1669098"/>
                      <a:pt x="1009483" y="1657668"/>
                    </a:cubicBezTo>
                    <a:cubicBezTo>
                      <a:pt x="1006308" y="1650683"/>
                      <a:pt x="994243" y="1662748"/>
                      <a:pt x="988528" y="1667193"/>
                    </a:cubicBezTo>
                    <a:cubicBezTo>
                      <a:pt x="980273" y="1674178"/>
                      <a:pt x="968843" y="1681163"/>
                      <a:pt x="968843" y="1691958"/>
                    </a:cubicBezTo>
                    <a:cubicBezTo>
                      <a:pt x="968843" y="1698943"/>
                      <a:pt x="991703" y="1692593"/>
                      <a:pt x="987893" y="1698308"/>
                    </a:cubicBezTo>
                    <a:cubicBezTo>
                      <a:pt x="981543" y="1708468"/>
                      <a:pt x="964398" y="1704658"/>
                      <a:pt x="955508" y="1712913"/>
                    </a:cubicBezTo>
                    <a:cubicBezTo>
                      <a:pt x="946618" y="1721168"/>
                      <a:pt x="911058" y="1763078"/>
                      <a:pt x="917408" y="1787208"/>
                    </a:cubicBezTo>
                    <a:cubicBezTo>
                      <a:pt x="924393" y="1813878"/>
                      <a:pt x="940268" y="1837373"/>
                      <a:pt x="947253" y="1863408"/>
                    </a:cubicBezTo>
                    <a:cubicBezTo>
                      <a:pt x="949158" y="1871028"/>
                      <a:pt x="939633" y="1879918"/>
                      <a:pt x="944078" y="1886268"/>
                    </a:cubicBezTo>
                    <a:cubicBezTo>
                      <a:pt x="952333" y="1898333"/>
                      <a:pt x="993608" y="1907858"/>
                      <a:pt x="979638" y="1912303"/>
                    </a:cubicBezTo>
                    <a:cubicBezTo>
                      <a:pt x="963763" y="1917383"/>
                      <a:pt x="951698" y="1885633"/>
                      <a:pt x="935188" y="1888808"/>
                    </a:cubicBezTo>
                    <a:cubicBezTo>
                      <a:pt x="923758" y="1891348"/>
                      <a:pt x="938363" y="1918653"/>
                      <a:pt x="927568" y="1923098"/>
                    </a:cubicBezTo>
                    <a:cubicBezTo>
                      <a:pt x="918043" y="1926908"/>
                      <a:pt x="918043" y="1898333"/>
                      <a:pt x="907883" y="1899603"/>
                    </a:cubicBezTo>
                    <a:cubicBezTo>
                      <a:pt x="893913" y="1900873"/>
                      <a:pt x="890103" y="1925638"/>
                      <a:pt x="876768" y="1928813"/>
                    </a:cubicBezTo>
                    <a:cubicBezTo>
                      <a:pt x="860893" y="1931988"/>
                      <a:pt x="846288" y="1914208"/>
                      <a:pt x="830413" y="1916748"/>
                    </a:cubicBezTo>
                    <a:cubicBezTo>
                      <a:pt x="815808" y="1918653"/>
                      <a:pt x="806918" y="1935163"/>
                      <a:pt x="793583" y="1941513"/>
                    </a:cubicBezTo>
                    <a:cubicBezTo>
                      <a:pt x="789138" y="1943418"/>
                      <a:pt x="782153" y="1936433"/>
                      <a:pt x="778978" y="1940878"/>
                    </a:cubicBezTo>
                    <a:cubicBezTo>
                      <a:pt x="770088" y="1954213"/>
                      <a:pt x="769453" y="1971358"/>
                      <a:pt x="762468" y="1985963"/>
                    </a:cubicBezTo>
                    <a:cubicBezTo>
                      <a:pt x="758023" y="1994853"/>
                      <a:pt x="747863" y="2000568"/>
                      <a:pt x="745958" y="2010093"/>
                    </a:cubicBezTo>
                    <a:cubicBezTo>
                      <a:pt x="744053" y="2017713"/>
                      <a:pt x="758658" y="2028508"/>
                      <a:pt x="751673" y="2032318"/>
                    </a:cubicBezTo>
                    <a:cubicBezTo>
                      <a:pt x="742148" y="2038033"/>
                      <a:pt x="728813" y="2023428"/>
                      <a:pt x="718018" y="2026603"/>
                    </a:cubicBezTo>
                    <a:cubicBezTo>
                      <a:pt x="702778" y="2030413"/>
                      <a:pt x="693253" y="2045653"/>
                      <a:pt x="678648" y="2052003"/>
                    </a:cubicBezTo>
                    <a:cubicBezTo>
                      <a:pt x="665948" y="2057718"/>
                      <a:pt x="646263" y="2051368"/>
                      <a:pt x="638008" y="2062163"/>
                    </a:cubicBezTo>
                    <a:cubicBezTo>
                      <a:pt x="629118" y="2073593"/>
                      <a:pt x="644358" y="2094548"/>
                      <a:pt x="635468" y="2105343"/>
                    </a:cubicBezTo>
                    <a:cubicBezTo>
                      <a:pt x="625308" y="2118043"/>
                      <a:pt x="604353" y="2113598"/>
                      <a:pt x="589748" y="2121218"/>
                    </a:cubicBezTo>
                    <a:cubicBezTo>
                      <a:pt x="580223" y="2126298"/>
                      <a:pt x="571333" y="2133283"/>
                      <a:pt x="563713" y="2140903"/>
                    </a:cubicBezTo>
                    <a:cubicBezTo>
                      <a:pt x="560538" y="2144078"/>
                      <a:pt x="562443" y="2151698"/>
                      <a:pt x="557998" y="2152333"/>
                    </a:cubicBezTo>
                    <a:cubicBezTo>
                      <a:pt x="542123" y="2154238"/>
                      <a:pt x="524343" y="2154873"/>
                      <a:pt x="511008" y="2146618"/>
                    </a:cubicBezTo>
                    <a:cubicBezTo>
                      <a:pt x="504023" y="2142173"/>
                      <a:pt x="515453" y="2128838"/>
                      <a:pt x="510373" y="2123123"/>
                    </a:cubicBezTo>
                    <a:cubicBezTo>
                      <a:pt x="504023" y="2116138"/>
                      <a:pt x="487513" y="2109153"/>
                      <a:pt x="483068" y="2117408"/>
                    </a:cubicBezTo>
                    <a:cubicBezTo>
                      <a:pt x="443698" y="2181543"/>
                      <a:pt x="554823" y="2124393"/>
                      <a:pt x="471003" y="2182813"/>
                    </a:cubicBezTo>
                    <a:cubicBezTo>
                      <a:pt x="461478" y="2189163"/>
                      <a:pt x="448143" y="2194878"/>
                      <a:pt x="437348" y="2191068"/>
                    </a:cubicBezTo>
                    <a:cubicBezTo>
                      <a:pt x="427188" y="2187258"/>
                      <a:pt x="429728" y="2168843"/>
                      <a:pt x="419568" y="2164398"/>
                    </a:cubicBezTo>
                    <a:cubicBezTo>
                      <a:pt x="417663" y="2163763"/>
                      <a:pt x="349718" y="2171383"/>
                      <a:pt x="350353" y="2175828"/>
                    </a:cubicBezTo>
                    <a:cubicBezTo>
                      <a:pt x="357338" y="2206943"/>
                      <a:pt x="382103" y="2231708"/>
                      <a:pt x="405598" y="2253298"/>
                    </a:cubicBezTo>
                    <a:cubicBezTo>
                      <a:pt x="411948" y="2259013"/>
                      <a:pt x="434808" y="2229168"/>
                      <a:pt x="438618" y="2255838"/>
                    </a:cubicBezTo>
                    <a:cubicBezTo>
                      <a:pt x="439253" y="2260918"/>
                      <a:pt x="425283" y="2264093"/>
                      <a:pt x="429093" y="2267903"/>
                    </a:cubicBezTo>
                    <a:cubicBezTo>
                      <a:pt x="437983" y="2275523"/>
                      <a:pt x="458303" y="2267268"/>
                      <a:pt x="462113" y="2278063"/>
                    </a:cubicBezTo>
                    <a:cubicBezTo>
                      <a:pt x="465923" y="2287588"/>
                      <a:pt x="443063" y="2290128"/>
                      <a:pt x="440523" y="2300288"/>
                    </a:cubicBezTo>
                    <a:cubicBezTo>
                      <a:pt x="438618" y="2309178"/>
                      <a:pt x="448143" y="2316163"/>
                      <a:pt x="450683" y="2324418"/>
                    </a:cubicBezTo>
                    <a:cubicBezTo>
                      <a:pt x="458303" y="2345373"/>
                      <a:pt x="469733" y="2366328"/>
                      <a:pt x="472273" y="2388553"/>
                    </a:cubicBezTo>
                    <a:cubicBezTo>
                      <a:pt x="479893" y="2451418"/>
                      <a:pt x="468463" y="2431733"/>
                      <a:pt x="450048" y="2470468"/>
                    </a:cubicBezTo>
                    <a:cubicBezTo>
                      <a:pt x="443063" y="2485073"/>
                      <a:pt x="441158" y="2502218"/>
                      <a:pt x="432903" y="2516823"/>
                    </a:cubicBezTo>
                    <a:cubicBezTo>
                      <a:pt x="423378" y="2533968"/>
                      <a:pt x="394168" y="2514283"/>
                      <a:pt x="375118" y="2513013"/>
                    </a:cubicBezTo>
                    <a:cubicBezTo>
                      <a:pt x="370038" y="2512378"/>
                      <a:pt x="366228" y="2521268"/>
                      <a:pt x="361783" y="2519998"/>
                    </a:cubicBezTo>
                    <a:cubicBezTo>
                      <a:pt x="352258" y="2517458"/>
                      <a:pt x="347813" y="2505393"/>
                      <a:pt x="338288" y="2502853"/>
                    </a:cubicBezTo>
                    <a:cubicBezTo>
                      <a:pt x="324318" y="2499678"/>
                      <a:pt x="309713" y="2507298"/>
                      <a:pt x="295743" y="2504758"/>
                    </a:cubicBezTo>
                    <a:cubicBezTo>
                      <a:pt x="258278" y="2497138"/>
                      <a:pt x="222083" y="2481898"/>
                      <a:pt x="185253" y="2473008"/>
                    </a:cubicBezTo>
                    <a:cubicBezTo>
                      <a:pt x="183983" y="2473008"/>
                      <a:pt x="183983" y="2477453"/>
                      <a:pt x="182713" y="2476818"/>
                    </a:cubicBezTo>
                    <a:cubicBezTo>
                      <a:pt x="170648" y="2469198"/>
                      <a:pt x="163663" y="2450783"/>
                      <a:pt x="149693" y="2450783"/>
                    </a:cubicBezTo>
                    <a:cubicBezTo>
                      <a:pt x="21423" y="2455228"/>
                      <a:pt x="106513" y="2485708"/>
                      <a:pt x="96988" y="2534603"/>
                    </a:cubicBezTo>
                    <a:cubicBezTo>
                      <a:pt x="90638" y="2566988"/>
                      <a:pt x="79843" y="2598738"/>
                      <a:pt x="73493" y="2630488"/>
                    </a:cubicBezTo>
                    <a:cubicBezTo>
                      <a:pt x="72858" y="2632393"/>
                      <a:pt x="76668" y="2634298"/>
                      <a:pt x="76033" y="2636838"/>
                    </a:cubicBezTo>
                    <a:cubicBezTo>
                      <a:pt x="67143" y="2660333"/>
                      <a:pt x="45553" y="2697798"/>
                      <a:pt x="28408" y="2714943"/>
                    </a:cubicBezTo>
                    <a:cubicBezTo>
                      <a:pt x="25868" y="2717483"/>
                      <a:pt x="19518" y="2712403"/>
                      <a:pt x="17613" y="2715578"/>
                    </a:cubicBezTo>
                    <a:cubicBezTo>
                      <a:pt x="10628" y="2727643"/>
                      <a:pt x="3643" y="2741613"/>
                      <a:pt x="4913" y="2756218"/>
                    </a:cubicBezTo>
                    <a:cubicBezTo>
                      <a:pt x="9993" y="2813368"/>
                      <a:pt x="33488" y="2847658"/>
                      <a:pt x="83018" y="2876868"/>
                    </a:cubicBezTo>
                    <a:cubicBezTo>
                      <a:pt x="91273" y="2881313"/>
                      <a:pt x="104608" y="2869883"/>
                      <a:pt x="111593" y="2876233"/>
                    </a:cubicBezTo>
                    <a:cubicBezTo>
                      <a:pt x="121753" y="2885758"/>
                      <a:pt x="117943" y="2904173"/>
                      <a:pt x="125563" y="2915603"/>
                    </a:cubicBezTo>
                    <a:cubicBezTo>
                      <a:pt x="137628" y="2934018"/>
                      <a:pt x="155408" y="2947353"/>
                      <a:pt x="170648" y="2963228"/>
                    </a:cubicBezTo>
                    <a:cubicBezTo>
                      <a:pt x="170648" y="2963228"/>
                      <a:pt x="171283" y="2963228"/>
                      <a:pt x="171283" y="2963228"/>
                    </a:cubicBezTo>
                    <a:cubicBezTo>
                      <a:pt x="223353" y="2957513"/>
                      <a:pt x="275423" y="2948623"/>
                      <a:pt x="328128" y="2945448"/>
                    </a:cubicBezTo>
                    <a:cubicBezTo>
                      <a:pt x="332573" y="2945448"/>
                      <a:pt x="335113" y="2956243"/>
                      <a:pt x="338923" y="2953703"/>
                    </a:cubicBezTo>
                    <a:cubicBezTo>
                      <a:pt x="352258" y="2944178"/>
                      <a:pt x="354798" y="2923858"/>
                      <a:pt x="368768" y="2915603"/>
                    </a:cubicBezTo>
                    <a:cubicBezTo>
                      <a:pt x="382738" y="2907348"/>
                      <a:pt x="404328" y="2916873"/>
                      <a:pt x="417663" y="2907348"/>
                    </a:cubicBezTo>
                    <a:cubicBezTo>
                      <a:pt x="427188" y="2900363"/>
                      <a:pt x="417663" y="2882583"/>
                      <a:pt x="424648" y="2873058"/>
                    </a:cubicBezTo>
                    <a:cubicBezTo>
                      <a:pt x="433538" y="2860993"/>
                      <a:pt x="453223" y="2859723"/>
                      <a:pt x="461478" y="2847023"/>
                    </a:cubicBezTo>
                    <a:cubicBezTo>
                      <a:pt x="462113" y="2846388"/>
                      <a:pt x="451318" y="2789238"/>
                      <a:pt x="451953" y="2787333"/>
                    </a:cubicBezTo>
                    <a:cubicBezTo>
                      <a:pt x="454493" y="2776538"/>
                      <a:pt x="464653" y="2768918"/>
                      <a:pt x="471638" y="2760028"/>
                    </a:cubicBezTo>
                    <a:cubicBezTo>
                      <a:pt x="499578" y="2725103"/>
                      <a:pt x="511643" y="2702878"/>
                      <a:pt x="555458" y="2687638"/>
                    </a:cubicBezTo>
                    <a:cubicBezTo>
                      <a:pt x="594193" y="2674303"/>
                      <a:pt x="587208" y="2706688"/>
                      <a:pt x="629753" y="2658428"/>
                    </a:cubicBezTo>
                    <a:cubicBezTo>
                      <a:pt x="640548" y="2646363"/>
                      <a:pt x="643723" y="2629218"/>
                      <a:pt x="646263" y="2613343"/>
                    </a:cubicBezTo>
                    <a:cubicBezTo>
                      <a:pt x="648803" y="2598738"/>
                      <a:pt x="632928" y="2577148"/>
                      <a:pt x="644993" y="2568258"/>
                    </a:cubicBezTo>
                    <a:cubicBezTo>
                      <a:pt x="671028" y="2549208"/>
                      <a:pt x="707223" y="2549843"/>
                      <a:pt x="738973" y="2546668"/>
                    </a:cubicBezTo>
                    <a:cubicBezTo>
                      <a:pt x="743418" y="2546033"/>
                      <a:pt x="735798" y="2556193"/>
                      <a:pt x="738338" y="2560003"/>
                    </a:cubicBezTo>
                    <a:cubicBezTo>
                      <a:pt x="741513" y="2565083"/>
                      <a:pt x="747863" y="2567623"/>
                      <a:pt x="753578" y="2569528"/>
                    </a:cubicBezTo>
                    <a:cubicBezTo>
                      <a:pt x="765643" y="2574608"/>
                      <a:pt x="778343" y="2586673"/>
                      <a:pt x="791043" y="2582863"/>
                    </a:cubicBezTo>
                    <a:cubicBezTo>
                      <a:pt x="814538" y="2575878"/>
                      <a:pt x="831048" y="2554288"/>
                      <a:pt x="851368" y="2540318"/>
                    </a:cubicBezTo>
                    <a:cubicBezTo>
                      <a:pt x="860893" y="2533968"/>
                      <a:pt x="876133" y="2536508"/>
                      <a:pt x="884388" y="2530793"/>
                    </a:cubicBezTo>
                    <a:cubicBezTo>
                      <a:pt x="897723" y="2521903"/>
                      <a:pt x="902168" y="2497773"/>
                      <a:pt x="918678" y="2496503"/>
                    </a:cubicBezTo>
                    <a:cubicBezTo>
                      <a:pt x="972018" y="2492058"/>
                      <a:pt x="991703" y="2539048"/>
                      <a:pt x="1001228" y="2576513"/>
                    </a:cubicBezTo>
                    <a:cubicBezTo>
                      <a:pt x="1003133" y="2582863"/>
                      <a:pt x="996783" y="2590483"/>
                      <a:pt x="999323" y="2596198"/>
                    </a:cubicBezTo>
                    <a:cubicBezTo>
                      <a:pt x="1006308" y="2609533"/>
                      <a:pt x="1016468" y="2622233"/>
                      <a:pt x="1028533" y="2631758"/>
                    </a:cubicBezTo>
                    <a:cubicBezTo>
                      <a:pt x="1035518" y="2636838"/>
                      <a:pt x="1046313" y="2633663"/>
                      <a:pt x="1053933" y="2638108"/>
                    </a:cubicBezTo>
                    <a:cubicBezTo>
                      <a:pt x="1059648" y="2641918"/>
                      <a:pt x="1059648" y="2650808"/>
                      <a:pt x="1064728" y="2655888"/>
                    </a:cubicBezTo>
                    <a:cubicBezTo>
                      <a:pt x="1081238" y="2671763"/>
                      <a:pt x="1104098" y="2680653"/>
                      <a:pt x="1118703" y="2697798"/>
                    </a:cubicBezTo>
                    <a:cubicBezTo>
                      <a:pt x="1121243" y="2700973"/>
                      <a:pt x="1121243" y="2707958"/>
                      <a:pt x="1125688" y="2708593"/>
                    </a:cubicBezTo>
                    <a:cubicBezTo>
                      <a:pt x="1136483" y="2710498"/>
                      <a:pt x="1149183" y="2700338"/>
                      <a:pt x="1158708" y="2705418"/>
                    </a:cubicBezTo>
                    <a:cubicBezTo>
                      <a:pt x="1168868" y="2710498"/>
                      <a:pt x="1166963" y="2728278"/>
                      <a:pt x="1176488" y="2734628"/>
                    </a:cubicBezTo>
                    <a:cubicBezTo>
                      <a:pt x="1186648" y="2741613"/>
                      <a:pt x="1203158" y="2734628"/>
                      <a:pt x="1213318" y="2742248"/>
                    </a:cubicBezTo>
                    <a:cubicBezTo>
                      <a:pt x="1226018" y="2752408"/>
                      <a:pt x="1227288" y="2772728"/>
                      <a:pt x="1239353" y="2782888"/>
                    </a:cubicBezTo>
                    <a:cubicBezTo>
                      <a:pt x="1244433" y="2787333"/>
                      <a:pt x="1255228" y="2776538"/>
                      <a:pt x="1259673" y="2781618"/>
                    </a:cubicBezTo>
                    <a:cubicBezTo>
                      <a:pt x="1275548" y="2803208"/>
                      <a:pt x="1286978" y="2827973"/>
                      <a:pt x="1291423" y="2854008"/>
                    </a:cubicBezTo>
                    <a:cubicBezTo>
                      <a:pt x="1293963" y="2868613"/>
                      <a:pt x="1250148" y="2904173"/>
                      <a:pt x="1264753" y="2916238"/>
                    </a:cubicBezTo>
                    <a:cubicBezTo>
                      <a:pt x="1290153" y="2937193"/>
                      <a:pt x="1304758" y="2900998"/>
                      <a:pt x="1311743" y="2885123"/>
                    </a:cubicBezTo>
                    <a:cubicBezTo>
                      <a:pt x="1314918" y="2877503"/>
                      <a:pt x="1307298" y="2867343"/>
                      <a:pt x="1311743" y="2860993"/>
                    </a:cubicBezTo>
                    <a:cubicBezTo>
                      <a:pt x="1318728" y="2852103"/>
                      <a:pt x="1335238" y="2854008"/>
                      <a:pt x="1341588" y="2844483"/>
                    </a:cubicBezTo>
                    <a:cubicBezTo>
                      <a:pt x="1369528" y="2800668"/>
                      <a:pt x="1283168" y="2833053"/>
                      <a:pt x="1307298" y="2775268"/>
                    </a:cubicBezTo>
                    <a:cubicBezTo>
                      <a:pt x="1321268" y="2740978"/>
                      <a:pt x="1335238" y="2735898"/>
                      <a:pt x="1368893" y="2758758"/>
                    </a:cubicBezTo>
                    <a:cubicBezTo>
                      <a:pt x="1375878" y="2763203"/>
                      <a:pt x="1373973" y="2775268"/>
                      <a:pt x="1379688" y="2780983"/>
                    </a:cubicBezTo>
                    <a:cubicBezTo>
                      <a:pt x="1387943" y="2789873"/>
                      <a:pt x="1413978" y="2796223"/>
                      <a:pt x="1401913" y="2765743"/>
                    </a:cubicBezTo>
                    <a:cubicBezTo>
                      <a:pt x="1380323" y="2712403"/>
                      <a:pt x="1312378" y="2714308"/>
                      <a:pt x="1270468" y="2688908"/>
                    </a:cubicBezTo>
                    <a:cubicBezTo>
                      <a:pt x="1239353" y="2669858"/>
                      <a:pt x="1201888" y="2646998"/>
                      <a:pt x="1176488" y="2620328"/>
                    </a:cubicBezTo>
                    <a:cubicBezTo>
                      <a:pt x="1160613" y="2603183"/>
                      <a:pt x="1164423" y="2565718"/>
                      <a:pt x="1149183" y="2554288"/>
                    </a:cubicBezTo>
                    <a:cubicBezTo>
                      <a:pt x="1130768" y="2540318"/>
                      <a:pt x="1070443" y="2516823"/>
                      <a:pt x="1082508" y="2478723"/>
                    </a:cubicBezTo>
                    <a:cubicBezTo>
                      <a:pt x="1091398" y="2449513"/>
                      <a:pt x="1118068" y="2427923"/>
                      <a:pt x="1140928" y="2407603"/>
                    </a:cubicBezTo>
                    <a:cubicBezTo>
                      <a:pt x="1144738" y="2404428"/>
                      <a:pt x="1144738" y="2417128"/>
                      <a:pt x="1149183" y="2419668"/>
                    </a:cubicBezTo>
                    <a:cubicBezTo>
                      <a:pt x="1161883" y="2427288"/>
                      <a:pt x="1179028" y="2427288"/>
                      <a:pt x="1189188" y="2438083"/>
                    </a:cubicBezTo>
                    <a:cubicBezTo>
                      <a:pt x="1200618" y="2450148"/>
                      <a:pt x="1200618" y="2470468"/>
                      <a:pt x="1210778" y="2484438"/>
                    </a:cubicBezTo>
                    <a:cubicBezTo>
                      <a:pt x="1217128" y="2493328"/>
                      <a:pt x="1234273" y="2493328"/>
                      <a:pt x="1237448" y="2504123"/>
                    </a:cubicBezTo>
                    <a:cubicBezTo>
                      <a:pt x="1239353" y="2509838"/>
                      <a:pt x="1217128" y="2504758"/>
                      <a:pt x="1219668" y="2510473"/>
                    </a:cubicBezTo>
                    <a:cubicBezTo>
                      <a:pt x="1258403" y="2593658"/>
                      <a:pt x="1326348" y="2523173"/>
                      <a:pt x="1348573" y="2591753"/>
                    </a:cubicBezTo>
                    <a:cubicBezTo>
                      <a:pt x="1352383" y="2603183"/>
                      <a:pt x="1302218" y="2578418"/>
                      <a:pt x="1313648" y="2583498"/>
                    </a:cubicBezTo>
                    <a:cubicBezTo>
                      <a:pt x="1340318" y="2594293"/>
                      <a:pt x="1369528" y="2599373"/>
                      <a:pt x="1396198" y="2611438"/>
                    </a:cubicBezTo>
                    <a:cubicBezTo>
                      <a:pt x="1398738" y="2612708"/>
                      <a:pt x="1391118" y="2615883"/>
                      <a:pt x="1392388" y="2618423"/>
                    </a:cubicBezTo>
                    <a:cubicBezTo>
                      <a:pt x="1408898" y="2660333"/>
                      <a:pt x="1432393" y="2699703"/>
                      <a:pt x="1448268" y="2742248"/>
                    </a:cubicBezTo>
                    <a:cubicBezTo>
                      <a:pt x="1449538" y="2745423"/>
                      <a:pt x="1436203" y="2741613"/>
                      <a:pt x="1438743" y="2744153"/>
                    </a:cubicBezTo>
                    <a:cubicBezTo>
                      <a:pt x="1447633" y="2753678"/>
                      <a:pt x="1461603" y="2756853"/>
                      <a:pt x="1469858" y="2766378"/>
                    </a:cubicBezTo>
                    <a:cubicBezTo>
                      <a:pt x="1475573" y="2772093"/>
                      <a:pt x="1475573" y="2781618"/>
                      <a:pt x="1480018" y="2788603"/>
                    </a:cubicBezTo>
                    <a:cubicBezTo>
                      <a:pt x="1485733" y="2797493"/>
                      <a:pt x="1493988" y="2804478"/>
                      <a:pt x="1500973" y="2812733"/>
                    </a:cubicBezTo>
                    <a:cubicBezTo>
                      <a:pt x="1508593" y="2822258"/>
                      <a:pt x="1513038" y="2834323"/>
                      <a:pt x="1521928" y="2842578"/>
                    </a:cubicBezTo>
                    <a:cubicBezTo>
                      <a:pt x="1534628" y="2854008"/>
                      <a:pt x="1547963" y="2866708"/>
                      <a:pt x="1565108" y="2870518"/>
                    </a:cubicBezTo>
                    <a:cubicBezTo>
                      <a:pt x="1579078" y="2873693"/>
                      <a:pt x="1594318" y="2867978"/>
                      <a:pt x="1608288" y="2862898"/>
                    </a:cubicBezTo>
                    <a:cubicBezTo>
                      <a:pt x="1610828" y="2862263"/>
                      <a:pt x="1605748" y="2854643"/>
                      <a:pt x="1608288" y="2855278"/>
                    </a:cubicBezTo>
                    <a:cubicBezTo>
                      <a:pt x="1623528" y="2857818"/>
                      <a:pt x="1641943" y="2857818"/>
                      <a:pt x="1652103" y="2869248"/>
                    </a:cubicBezTo>
                    <a:cubicBezTo>
                      <a:pt x="1657183" y="2874963"/>
                      <a:pt x="1643213" y="2885758"/>
                      <a:pt x="1635593" y="2885758"/>
                    </a:cubicBezTo>
                    <a:cubicBezTo>
                      <a:pt x="1612098" y="2887028"/>
                      <a:pt x="1551773" y="2829243"/>
                      <a:pt x="1546693" y="2902903"/>
                    </a:cubicBezTo>
                    <a:cubicBezTo>
                      <a:pt x="1546058" y="2915603"/>
                      <a:pt x="1570823" y="2914968"/>
                      <a:pt x="1577808" y="2925763"/>
                    </a:cubicBezTo>
                    <a:cubicBezTo>
                      <a:pt x="1584793" y="2937828"/>
                      <a:pt x="1574633" y="2957513"/>
                      <a:pt x="1584793" y="2966403"/>
                    </a:cubicBezTo>
                    <a:cubicBezTo>
                      <a:pt x="1591778" y="2972118"/>
                      <a:pt x="1598128" y="2946718"/>
                      <a:pt x="1606383" y="2950528"/>
                    </a:cubicBezTo>
                    <a:cubicBezTo>
                      <a:pt x="1617813" y="2955608"/>
                      <a:pt x="1610828" y="2979738"/>
                      <a:pt x="1622258" y="2983548"/>
                    </a:cubicBezTo>
                    <a:cubicBezTo>
                      <a:pt x="1631148" y="2986088"/>
                      <a:pt x="1628608" y="2961323"/>
                      <a:pt x="1637498" y="2960688"/>
                    </a:cubicBezTo>
                    <a:cubicBezTo>
                      <a:pt x="1648928" y="2960053"/>
                      <a:pt x="1652738" y="2981643"/>
                      <a:pt x="1664168" y="2981008"/>
                    </a:cubicBezTo>
                    <a:cubicBezTo>
                      <a:pt x="1671788" y="2981008"/>
                      <a:pt x="1660358" y="2966403"/>
                      <a:pt x="1657183" y="2960053"/>
                    </a:cubicBezTo>
                    <a:cubicBezTo>
                      <a:pt x="1648928" y="2943543"/>
                      <a:pt x="1634323" y="2928938"/>
                      <a:pt x="1630513" y="2911158"/>
                    </a:cubicBezTo>
                    <a:cubicBezTo>
                      <a:pt x="1626703" y="2895283"/>
                      <a:pt x="1657818" y="2872423"/>
                      <a:pt x="1669248" y="2873693"/>
                    </a:cubicBezTo>
                    <a:cubicBezTo>
                      <a:pt x="1680678" y="2875598"/>
                      <a:pt x="1685758" y="2901633"/>
                      <a:pt x="1695918" y="2895918"/>
                    </a:cubicBezTo>
                    <a:cubicBezTo>
                      <a:pt x="1706078" y="2890203"/>
                      <a:pt x="1699728" y="2869883"/>
                      <a:pt x="1692743" y="2859723"/>
                    </a:cubicBezTo>
                    <a:cubicBezTo>
                      <a:pt x="1687028" y="2851468"/>
                      <a:pt x="1654008" y="2834323"/>
                      <a:pt x="1636863" y="2831148"/>
                    </a:cubicBezTo>
                    <a:cubicBezTo>
                      <a:pt x="1627973" y="2829878"/>
                      <a:pt x="1607018" y="2836228"/>
                      <a:pt x="1610193" y="2827973"/>
                    </a:cubicBezTo>
                    <a:cubicBezTo>
                      <a:pt x="1615908" y="2813368"/>
                      <a:pt x="1646388" y="2815908"/>
                      <a:pt x="1648928" y="2800668"/>
                    </a:cubicBezTo>
                    <a:cubicBezTo>
                      <a:pt x="1654643" y="2759393"/>
                      <a:pt x="1615273" y="2774633"/>
                      <a:pt x="1605113" y="2751138"/>
                    </a:cubicBezTo>
                    <a:cubicBezTo>
                      <a:pt x="1601303" y="2742248"/>
                      <a:pt x="1591143" y="2725738"/>
                      <a:pt x="1600668" y="2721928"/>
                    </a:cubicBezTo>
                    <a:cubicBezTo>
                      <a:pt x="1622893" y="2713673"/>
                      <a:pt x="1656548" y="2759393"/>
                      <a:pt x="1673058" y="2746058"/>
                    </a:cubicBezTo>
                    <a:cubicBezTo>
                      <a:pt x="1680043" y="2739708"/>
                      <a:pt x="1655913" y="2726373"/>
                      <a:pt x="1662898" y="2720023"/>
                    </a:cubicBezTo>
                    <a:cubicBezTo>
                      <a:pt x="1670518" y="2713038"/>
                      <a:pt x="1695918" y="2739073"/>
                      <a:pt x="1691473" y="2730183"/>
                    </a:cubicBezTo>
                    <a:cubicBezTo>
                      <a:pt x="1683853" y="2714943"/>
                      <a:pt x="1660358" y="2713038"/>
                      <a:pt x="1652103" y="2698433"/>
                    </a:cubicBezTo>
                    <a:cubicBezTo>
                      <a:pt x="1648928" y="2692718"/>
                      <a:pt x="1665438" y="2697798"/>
                      <a:pt x="1671153" y="2695893"/>
                    </a:cubicBezTo>
                    <a:cubicBezTo>
                      <a:pt x="1681948" y="2692083"/>
                      <a:pt x="1693378" y="2688273"/>
                      <a:pt x="1702903" y="2681923"/>
                    </a:cubicBezTo>
                    <a:cubicBezTo>
                      <a:pt x="1708618" y="2678748"/>
                      <a:pt x="1710523" y="2668588"/>
                      <a:pt x="1716873" y="2668588"/>
                    </a:cubicBezTo>
                    <a:cubicBezTo>
                      <a:pt x="1732748" y="2667953"/>
                      <a:pt x="1750528" y="2669223"/>
                      <a:pt x="1762593" y="2680018"/>
                    </a:cubicBezTo>
                    <a:cubicBezTo>
                      <a:pt x="1774023" y="2690178"/>
                      <a:pt x="1763228" y="2717483"/>
                      <a:pt x="1777198" y="2723198"/>
                    </a:cubicBezTo>
                    <a:cubicBezTo>
                      <a:pt x="1787993" y="2727643"/>
                      <a:pt x="1788628" y="2702243"/>
                      <a:pt x="1796248" y="2693353"/>
                    </a:cubicBezTo>
                    <a:cubicBezTo>
                      <a:pt x="1803233" y="2685098"/>
                      <a:pt x="1815298" y="2680653"/>
                      <a:pt x="1822283" y="2671763"/>
                    </a:cubicBezTo>
                    <a:cubicBezTo>
                      <a:pt x="1826728" y="2666048"/>
                      <a:pt x="1821648" y="2654618"/>
                      <a:pt x="1827998" y="2652078"/>
                    </a:cubicBezTo>
                    <a:cubicBezTo>
                      <a:pt x="1847048" y="2643823"/>
                      <a:pt x="1869273" y="2646363"/>
                      <a:pt x="1888958" y="2641918"/>
                    </a:cubicBezTo>
                    <a:cubicBezTo>
                      <a:pt x="1891498" y="2641283"/>
                      <a:pt x="1897848" y="2638743"/>
                      <a:pt x="1895943" y="2636838"/>
                    </a:cubicBezTo>
                    <a:cubicBezTo>
                      <a:pt x="1883243" y="2625408"/>
                      <a:pt x="1865463" y="2621598"/>
                      <a:pt x="1852763" y="2610168"/>
                    </a:cubicBezTo>
                    <a:cubicBezTo>
                      <a:pt x="1845143" y="2603183"/>
                      <a:pt x="1845143" y="2590483"/>
                      <a:pt x="1838793" y="2582863"/>
                    </a:cubicBezTo>
                    <a:cubicBezTo>
                      <a:pt x="1829903" y="2572068"/>
                      <a:pt x="1810218" y="2569528"/>
                      <a:pt x="1806408" y="2555558"/>
                    </a:cubicBezTo>
                    <a:cubicBezTo>
                      <a:pt x="1801963" y="2539048"/>
                      <a:pt x="1814028" y="2522538"/>
                      <a:pt x="1817203" y="2506028"/>
                    </a:cubicBezTo>
                    <a:cubicBezTo>
                      <a:pt x="1823553" y="2474278"/>
                      <a:pt x="1830538" y="2443163"/>
                      <a:pt x="1834983" y="2411413"/>
                    </a:cubicBezTo>
                    <a:cubicBezTo>
                      <a:pt x="1836253" y="2403158"/>
                      <a:pt x="1830538" y="2392998"/>
                      <a:pt x="1835618" y="2386013"/>
                    </a:cubicBezTo>
                    <a:cubicBezTo>
                      <a:pt x="1842603" y="2375218"/>
                      <a:pt x="1855938" y="2370138"/>
                      <a:pt x="1866098" y="2361883"/>
                    </a:cubicBezTo>
                    <a:cubicBezTo>
                      <a:pt x="1866098" y="2361883"/>
                      <a:pt x="1876258" y="2331403"/>
                      <a:pt x="1880703" y="2315528"/>
                    </a:cubicBezTo>
                    <a:cubicBezTo>
                      <a:pt x="1885148" y="2299653"/>
                      <a:pt x="1884513" y="2282508"/>
                      <a:pt x="1891498" y="2267903"/>
                    </a:cubicBezTo>
                    <a:cubicBezTo>
                      <a:pt x="1895943" y="2258378"/>
                      <a:pt x="1904833" y="2250123"/>
                      <a:pt x="1914358" y="2246313"/>
                    </a:cubicBezTo>
                    <a:cubicBezTo>
                      <a:pt x="1921343" y="2243773"/>
                      <a:pt x="1934043" y="2258378"/>
                      <a:pt x="1935313" y="2251393"/>
                    </a:cubicBezTo>
                    <a:cubicBezTo>
                      <a:pt x="1937218" y="2238058"/>
                      <a:pt x="1910548" y="2205038"/>
                      <a:pt x="1918803" y="2215198"/>
                    </a:cubicBezTo>
                    <a:cubicBezTo>
                      <a:pt x="1930233" y="2229803"/>
                      <a:pt x="1939758" y="2246313"/>
                      <a:pt x="1945473" y="2264093"/>
                    </a:cubicBezTo>
                    <a:cubicBezTo>
                      <a:pt x="1946743" y="2268538"/>
                      <a:pt x="1934043" y="2272348"/>
                      <a:pt x="1937853" y="2274888"/>
                    </a:cubicBezTo>
                    <a:cubicBezTo>
                      <a:pt x="1956268" y="2287588"/>
                      <a:pt x="1991193" y="2279968"/>
                      <a:pt x="2008338" y="2272983"/>
                    </a:cubicBezTo>
                    <a:cubicBezTo>
                      <a:pt x="2010878" y="2271713"/>
                      <a:pt x="2010243" y="2264093"/>
                      <a:pt x="2013418" y="2265363"/>
                    </a:cubicBezTo>
                    <a:cubicBezTo>
                      <a:pt x="2018498" y="2266633"/>
                      <a:pt x="2026118" y="2272348"/>
                      <a:pt x="2024213" y="2276793"/>
                    </a:cubicBezTo>
                    <a:cubicBezTo>
                      <a:pt x="2021038" y="2285683"/>
                      <a:pt x="1968333" y="2304733"/>
                      <a:pt x="1981668" y="2323148"/>
                    </a:cubicBezTo>
                    <a:cubicBezTo>
                      <a:pt x="1991193" y="2336483"/>
                      <a:pt x="2017863" y="2319973"/>
                      <a:pt x="2030563" y="2330768"/>
                    </a:cubicBezTo>
                    <a:cubicBezTo>
                      <a:pt x="2038183" y="2337118"/>
                      <a:pt x="2021038" y="2383473"/>
                      <a:pt x="2045803" y="2371408"/>
                    </a:cubicBezTo>
                    <a:cubicBezTo>
                      <a:pt x="2057233" y="2365693"/>
                      <a:pt x="2063583" y="2352358"/>
                      <a:pt x="2074378" y="2344738"/>
                    </a:cubicBezTo>
                    <a:cubicBezTo>
                      <a:pt x="2081363" y="2339658"/>
                      <a:pt x="2092793" y="2340293"/>
                      <a:pt x="2098508" y="2333308"/>
                    </a:cubicBezTo>
                    <a:cubicBezTo>
                      <a:pt x="2104858" y="2326958"/>
                      <a:pt x="2101683" y="2312988"/>
                      <a:pt x="2109303" y="2307908"/>
                    </a:cubicBezTo>
                    <a:cubicBezTo>
                      <a:pt x="2119463" y="2301558"/>
                      <a:pt x="2152483" y="2311718"/>
                      <a:pt x="2144863" y="2303463"/>
                    </a:cubicBezTo>
                    <a:cubicBezTo>
                      <a:pt x="2132798" y="2290763"/>
                      <a:pt x="2109938" y="2299653"/>
                      <a:pt x="2094698" y="2292033"/>
                    </a:cubicBezTo>
                    <a:cubicBezTo>
                      <a:pt x="2087078" y="2288223"/>
                      <a:pt x="2058503" y="2257108"/>
                      <a:pt x="2061678" y="2250123"/>
                    </a:cubicBezTo>
                    <a:cubicBezTo>
                      <a:pt x="2091523" y="2184083"/>
                      <a:pt x="2083903" y="2232343"/>
                      <a:pt x="2128353" y="2201228"/>
                    </a:cubicBezTo>
                    <a:cubicBezTo>
                      <a:pt x="2133433" y="2198053"/>
                      <a:pt x="2129623" y="2188528"/>
                      <a:pt x="2133433" y="2184083"/>
                    </a:cubicBezTo>
                    <a:cubicBezTo>
                      <a:pt x="2144863" y="2172018"/>
                      <a:pt x="2158833" y="2162493"/>
                      <a:pt x="2173438" y="2154873"/>
                    </a:cubicBezTo>
                    <a:cubicBezTo>
                      <a:pt x="2186138" y="2147888"/>
                      <a:pt x="2205188" y="2130743"/>
                      <a:pt x="2214713" y="2141538"/>
                    </a:cubicBezTo>
                    <a:cubicBezTo>
                      <a:pt x="2246463" y="2175193"/>
                      <a:pt x="2165183" y="2186623"/>
                      <a:pt x="2163913" y="2188528"/>
                    </a:cubicBezTo>
                    <a:cubicBezTo>
                      <a:pt x="2142323" y="2213928"/>
                      <a:pt x="2198203" y="2191068"/>
                      <a:pt x="2208998" y="2216468"/>
                    </a:cubicBezTo>
                    <a:cubicBezTo>
                      <a:pt x="2212173" y="2224088"/>
                      <a:pt x="2187408" y="2216468"/>
                      <a:pt x="2184868" y="2224088"/>
                    </a:cubicBezTo>
                    <a:cubicBezTo>
                      <a:pt x="2180423" y="2239328"/>
                      <a:pt x="2200108" y="2257108"/>
                      <a:pt x="2193123" y="2271078"/>
                    </a:cubicBezTo>
                    <a:cubicBezTo>
                      <a:pt x="2186138" y="2285048"/>
                      <a:pt x="2141688" y="2279333"/>
                      <a:pt x="2150578" y="2292033"/>
                    </a:cubicBezTo>
                    <a:cubicBezTo>
                      <a:pt x="2167088" y="2314893"/>
                      <a:pt x="2202648" y="2313623"/>
                      <a:pt x="2229953" y="2321243"/>
                    </a:cubicBezTo>
                    <a:cubicBezTo>
                      <a:pt x="2237573" y="2323148"/>
                      <a:pt x="2246463" y="2318703"/>
                      <a:pt x="2253448" y="2321243"/>
                    </a:cubicBezTo>
                    <a:cubicBezTo>
                      <a:pt x="2274403" y="2328863"/>
                      <a:pt x="2290913" y="2346643"/>
                      <a:pt x="2312503" y="2352993"/>
                    </a:cubicBezTo>
                    <a:cubicBezTo>
                      <a:pt x="2365208" y="2368868"/>
                      <a:pt x="2398228" y="2366963"/>
                      <a:pt x="2421088" y="2426018"/>
                    </a:cubicBezTo>
                    <a:cubicBezTo>
                      <a:pt x="2424263" y="2433638"/>
                      <a:pt x="2421723" y="2443163"/>
                      <a:pt x="2417913" y="2450148"/>
                    </a:cubicBezTo>
                    <a:cubicBezTo>
                      <a:pt x="2406483" y="2470468"/>
                      <a:pt x="2395053" y="2492058"/>
                      <a:pt x="2376638" y="2505393"/>
                    </a:cubicBezTo>
                    <a:cubicBezTo>
                      <a:pt x="2367748" y="2511743"/>
                      <a:pt x="2354413" y="2503488"/>
                      <a:pt x="2343618" y="2503488"/>
                    </a:cubicBezTo>
                    <a:cubicBezTo>
                      <a:pt x="2294088" y="2506028"/>
                      <a:pt x="2244558" y="2509203"/>
                      <a:pt x="2195663" y="2513648"/>
                    </a:cubicBezTo>
                    <a:cubicBezTo>
                      <a:pt x="2184233" y="2514918"/>
                      <a:pt x="2174073" y="2523808"/>
                      <a:pt x="2163278" y="2521268"/>
                    </a:cubicBezTo>
                    <a:cubicBezTo>
                      <a:pt x="2153753" y="2519363"/>
                      <a:pt x="2151848" y="2500948"/>
                      <a:pt x="2142323" y="2501583"/>
                    </a:cubicBezTo>
                    <a:cubicBezTo>
                      <a:pt x="2125178" y="2502218"/>
                      <a:pt x="2111208" y="2516823"/>
                      <a:pt x="2094698" y="2522538"/>
                    </a:cubicBezTo>
                    <a:cubicBezTo>
                      <a:pt x="2088348" y="2525078"/>
                      <a:pt x="2080728" y="2522538"/>
                      <a:pt x="2075013" y="2525713"/>
                    </a:cubicBezTo>
                    <a:cubicBezTo>
                      <a:pt x="2041993" y="2540953"/>
                      <a:pt x="2031833" y="2572703"/>
                      <a:pt x="2001353" y="2591118"/>
                    </a:cubicBezTo>
                    <a:cubicBezTo>
                      <a:pt x="1983573" y="2601913"/>
                      <a:pt x="1963888" y="2609533"/>
                      <a:pt x="1944203" y="2616518"/>
                    </a:cubicBezTo>
                    <a:cubicBezTo>
                      <a:pt x="1937218" y="2619058"/>
                      <a:pt x="1927693" y="2612708"/>
                      <a:pt x="1923248" y="2617788"/>
                    </a:cubicBezTo>
                    <a:cubicBezTo>
                      <a:pt x="1909913" y="2631758"/>
                      <a:pt x="1908643" y="2655253"/>
                      <a:pt x="1894038" y="2668588"/>
                    </a:cubicBezTo>
                    <a:cubicBezTo>
                      <a:pt x="1879433" y="2681923"/>
                      <a:pt x="1858478" y="2688908"/>
                      <a:pt x="1839428" y="2693988"/>
                    </a:cubicBezTo>
                    <a:cubicBezTo>
                      <a:pt x="1819108" y="2699703"/>
                      <a:pt x="1773388" y="2678748"/>
                      <a:pt x="1777198" y="2728913"/>
                    </a:cubicBezTo>
                    <a:cubicBezTo>
                      <a:pt x="1784183" y="2824163"/>
                      <a:pt x="1814028" y="2727643"/>
                      <a:pt x="1833078" y="2791143"/>
                    </a:cubicBezTo>
                    <a:cubicBezTo>
                      <a:pt x="1834983" y="2798128"/>
                      <a:pt x="1815933" y="2801303"/>
                      <a:pt x="1818473" y="2808288"/>
                    </a:cubicBezTo>
                    <a:cubicBezTo>
                      <a:pt x="1821648" y="2816543"/>
                      <a:pt x="1847048" y="2810193"/>
                      <a:pt x="1842603" y="2817178"/>
                    </a:cubicBezTo>
                    <a:cubicBezTo>
                      <a:pt x="1833713" y="2830513"/>
                      <a:pt x="1794343" y="2822258"/>
                      <a:pt x="1799423" y="2837498"/>
                    </a:cubicBezTo>
                    <a:cubicBezTo>
                      <a:pt x="1805138" y="2854643"/>
                      <a:pt x="1838158" y="2837498"/>
                      <a:pt x="1853398" y="2848293"/>
                    </a:cubicBezTo>
                    <a:cubicBezTo>
                      <a:pt x="1859748" y="2853373"/>
                      <a:pt x="1838158" y="2864803"/>
                      <a:pt x="1843873" y="2869883"/>
                    </a:cubicBezTo>
                    <a:cubicBezTo>
                      <a:pt x="1859748" y="2885758"/>
                      <a:pt x="1883243" y="2890838"/>
                      <a:pt x="1904198" y="2899093"/>
                    </a:cubicBezTo>
                    <a:cubicBezTo>
                      <a:pt x="1908008" y="2900363"/>
                      <a:pt x="1918168" y="2894013"/>
                      <a:pt x="1915628" y="2896553"/>
                    </a:cubicBezTo>
                    <a:cubicBezTo>
                      <a:pt x="1902293" y="2908618"/>
                      <a:pt x="1877528" y="2911158"/>
                      <a:pt x="1872448" y="2928303"/>
                    </a:cubicBezTo>
                    <a:cubicBezTo>
                      <a:pt x="1869273" y="2939098"/>
                      <a:pt x="1895943" y="2934018"/>
                      <a:pt x="1906738" y="2928938"/>
                    </a:cubicBezTo>
                    <a:cubicBezTo>
                      <a:pt x="1915628" y="2924493"/>
                      <a:pt x="1914358" y="2904173"/>
                      <a:pt x="1924518" y="2904173"/>
                    </a:cubicBezTo>
                    <a:cubicBezTo>
                      <a:pt x="2117558" y="2906713"/>
                      <a:pt x="1836888" y="2946718"/>
                      <a:pt x="1992463" y="2940368"/>
                    </a:cubicBezTo>
                    <a:cubicBezTo>
                      <a:pt x="2065488" y="2937193"/>
                      <a:pt x="1992463" y="2876233"/>
                      <a:pt x="2048978" y="2878138"/>
                    </a:cubicBezTo>
                    <a:cubicBezTo>
                      <a:pt x="2065488" y="2878773"/>
                      <a:pt x="2082633" y="2879408"/>
                      <a:pt x="2098508" y="2885758"/>
                    </a:cubicBezTo>
                    <a:cubicBezTo>
                      <a:pt x="2113113" y="2891473"/>
                      <a:pt x="2120098" y="2918778"/>
                      <a:pt x="2142323" y="2909888"/>
                    </a:cubicBezTo>
                    <a:cubicBezTo>
                      <a:pt x="2281388" y="2851468"/>
                      <a:pt x="2106763" y="2909888"/>
                      <a:pt x="2217253" y="2836228"/>
                    </a:cubicBezTo>
                    <a:cubicBezTo>
                      <a:pt x="2226778" y="2829878"/>
                      <a:pt x="2240748" y="2848293"/>
                      <a:pt x="2251543" y="2843848"/>
                    </a:cubicBezTo>
                    <a:cubicBezTo>
                      <a:pt x="2264243" y="2838133"/>
                      <a:pt x="2262338" y="2805113"/>
                      <a:pt x="2276308" y="2809558"/>
                    </a:cubicBezTo>
                    <a:cubicBezTo>
                      <a:pt x="2289643" y="2814003"/>
                      <a:pt x="2274403" y="2837498"/>
                      <a:pt x="2275038" y="2851468"/>
                    </a:cubicBezTo>
                    <a:cubicBezTo>
                      <a:pt x="2276308" y="2867343"/>
                      <a:pt x="2278213" y="2883218"/>
                      <a:pt x="2283928" y="2897823"/>
                    </a:cubicBezTo>
                    <a:cubicBezTo>
                      <a:pt x="2285198" y="2901633"/>
                      <a:pt x="2292818" y="2901633"/>
                      <a:pt x="2294723" y="2905443"/>
                    </a:cubicBezTo>
                    <a:cubicBezTo>
                      <a:pt x="2326473" y="2976563"/>
                      <a:pt x="2297263" y="3017203"/>
                      <a:pt x="2286468" y="3106103"/>
                    </a:cubicBezTo>
                    <a:cubicBezTo>
                      <a:pt x="2283928" y="3124518"/>
                      <a:pt x="2289008" y="3172143"/>
                      <a:pt x="2268053" y="3182303"/>
                    </a:cubicBezTo>
                    <a:cubicBezTo>
                      <a:pt x="2233128" y="3199448"/>
                      <a:pt x="2191218" y="3195638"/>
                      <a:pt x="2152483" y="3202623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7D38A0DE-3C9C-4642-811F-F9881D13B4FD}"/>
                  </a:ext>
                </a:extLst>
              </p:cNvPr>
              <p:cNvSpPr/>
              <p:nvPr/>
            </p:nvSpPr>
            <p:spPr>
              <a:xfrm>
                <a:off x="6292953" y="3696017"/>
                <a:ext cx="628650" cy="1708150"/>
              </a:xfrm>
              <a:custGeom>
                <a:avLst/>
                <a:gdLst>
                  <a:gd name="connsiteX0" fmla="*/ 620292 w 628650"/>
                  <a:gd name="connsiteY0" fmla="*/ 1693228 h 1708150"/>
                  <a:gd name="connsiteX1" fmla="*/ 138327 w 628650"/>
                  <a:gd name="connsiteY1" fmla="*/ 827723 h 1708150"/>
                  <a:gd name="connsiteX2" fmla="*/ 44347 w 628650"/>
                  <a:gd name="connsiteY2" fmla="*/ 475933 h 1708150"/>
                  <a:gd name="connsiteX3" fmla="*/ 20852 w 628650"/>
                  <a:gd name="connsiteY3" fmla="*/ 341313 h 1708150"/>
                  <a:gd name="connsiteX4" fmla="*/ 13867 w 628650"/>
                  <a:gd name="connsiteY4" fmla="*/ 4763 h 1708150"/>
                  <a:gd name="connsiteX5" fmla="*/ 10692 w 628650"/>
                  <a:gd name="connsiteY5" fmla="*/ 11748 h 1708150"/>
                  <a:gd name="connsiteX6" fmla="*/ 47522 w 628650"/>
                  <a:gd name="connsiteY6" fmla="*/ 454978 h 1708150"/>
                  <a:gd name="connsiteX7" fmla="*/ 46888 w 628650"/>
                  <a:gd name="connsiteY7" fmla="*/ 445453 h 1708150"/>
                  <a:gd name="connsiteX8" fmla="*/ 104672 w 628650"/>
                  <a:gd name="connsiteY8" fmla="*/ 653098 h 1708150"/>
                  <a:gd name="connsiteX9" fmla="*/ 131342 w 628650"/>
                  <a:gd name="connsiteY9" fmla="*/ 762953 h 1708150"/>
                  <a:gd name="connsiteX10" fmla="*/ 151663 w 628650"/>
                  <a:gd name="connsiteY10" fmla="*/ 825183 h 1708150"/>
                  <a:gd name="connsiteX11" fmla="*/ 140232 w 628650"/>
                  <a:gd name="connsiteY11" fmla="*/ 832167 h 1708150"/>
                  <a:gd name="connsiteX12" fmla="*/ 188492 w 628650"/>
                  <a:gd name="connsiteY12" fmla="*/ 947738 h 1708150"/>
                  <a:gd name="connsiteX13" fmla="*/ 194842 w 628650"/>
                  <a:gd name="connsiteY13" fmla="*/ 970598 h 1708150"/>
                  <a:gd name="connsiteX14" fmla="*/ 220878 w 628650"/>
                  <a:gd name="connsiteY14" fmla="*/ 995363 h 1708150"/>
                  <a:gd name="connsiteX15" fmla="*/ 236117 w 628650"/>
                  <a:gd name="connsiteY15" fmla="*/ 1030288 h 1708150"/>
                  <a:gd name="connsiteX16" fmla="*/ 274853 w 628650"/>
                  <a:gd name="connsiteY16" fmla="*/ 1104583 h 1708150"/>
                  <a:gd name="connsiteX17" fmla="*/ 289457 w 628650"/>
                  <a:gd name="connsiteY17" fmla="*/ 1152842 h 1708150"/>
                  <a:gd name="connsiteX18" fmla="*/ 308507 w 628650"/>
                  <a:gd name="connsiteY18" fmla="*/ 1166813 h 1708150"/>
                  <a:gd name="connsiteX19" fmla="*/ 338988 w 628650"/>
                  <a:gd name="connsiteY19" fmla="*/ 1218883 h 1708150"/>
                  <a:gd name="connsiteX20" fmla="*/ 392963 w 628650"/>
                  <a:gd name="connsiteY20" fmla="*/ 1290638 h 1708150"/>
                  <a:gd name="connsiteX21" fmla="*/ 493292 w 628650"/>
                  <a:gd name="connsiteY21" fmla="*/ 1449388 h 1708150"/>
                  <a:gd name="connsiteX22" fmla="*/ 547267 w 628650"/>
                  <a:gd name="connsiteY22" fmla="*/ 1512253 h 1708150"/>
                  <a:gd name="connsiteX23" fmla="*/ 605053 w 628650"/>
                  <a:gd name="connsiteY23" fmla="*/ 1624013 h 1708150"/>
                  <a:gd name="connsiteX24" fmla="*/ 568222 w 628650"/>
                  <a:gd name="connsiteY24" fmla="*/ 1627188 h 1708150"/>
                  <a:gd name="connsiteX25" fmla="*/ 585367 w 628650"/>
                  <a:gd name="connsiteY25" fmla="*/ 1651953 h 1708150"/>
                  <a:gd name="connsiteX26" fmla="*/ 581557 w 628650"/>
                  <a:gd name="connsiteY26" fmla="*/ 1646873 h 1708150"/>
                  <a:gd name="connsiteX27" fmla="*/ 629817 w 628650"/>
                  <a:gd name="connsiteY27" fmla="*/ 1709103 h 1708150"/>
                  <a:gd name="connsiteX28" fmla="*/ 620292 w 628650"/>
                  <a:gd name="connsiteY28" fmla="*/ 1693228 h 170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8650" h="1708150">
                    <a:moveTo>
                      <a:pt x="620292" y="1693228"/>
                    </a:moveTo>
                    <a:cubicBezTo>
                      <a:pt x="410742" y="1437958"/>
                      <a:pt x="246278" y="1145223"/>
                      <a:pt x="138327" y="827723"/>
                    </a:cubicBezTo>
                    <a:cubicBezTo>
                      <a:pt x="99592" y="712788"/>
                      <a:pt x="66572" y="594678"/>
                      <a:pt x="44347" y="475933"/>
                    </a:cubicBezTo>
                    <a:cubicBezTo>
                      <a:pt x="35457" y="430848"/>
                      <a:pt x="22122" y="387033"/>
                      <a:pt x="20852" y="341313"/>
                    </a:cubicBezTo>
                    <a:cubicBezTo>
                      <a:pt x="18313" y="229553"/>
                      <a:pt x="15772" y="117158"/>
                      <a:pt x="13867" y="4763"/>
                    </a:cubicBezTo>
                    <a:lnTo>
                      <a:pt x="10692" y="11748"/>
                    </a:lnTo>
                    <a:cubicBezTo>
                      <a:pt x="18313" y="92392"/>
                      <a:pt x="-24868" y="123508"/>
                      <a:pt x="47522" y="454978"/>
                    </a:cubicBezTo>
                    <a:cubicBezTo>
                      <a:pt x="48157" y="458153"/>
                      <a:pt x="45617" y="442278"/>
                      <a:pt x="46888" y="445453"/>
                    </a:cubicBezTo>
                    <a:cubicBezTo>
                      <a:pt x="64032" y="501967"/>
                      <a:pt x="91972" y="602933"/>
                      <a:pt x="104672" y="653098"/>
                    </a:cubicBezTo>
                    <a:cubicBezTo>
                      <a:pt x="114197" y="689292"/>
                      <a:pt x="121182" y="726758"/>
                      <a:pt x="131342" y="762953"/>
                    </a:cubicBezTo>
                    <a:cubicBezTo>
                      <a:pt x="137057" y="783908"/>
                      <a:pt x="156107" y="803592"/>
                      <a:pt x="151663" y="825183"/>
                    </a:cubicBezTo>
                    <a:cubicBezTo>
                      <a:pt x="151027" y="829628"/>
                      <a:pt x="139597" y="827723"/>
                      <a:pt x="140232" y="832167"/>
                    </a:cubicBezTo>
                    <a:cubicBezTo>
                      <a:pt x="142138" y="846138"/>
                      <a:pt x="182142" y="931863"/>
                      <a:pt x="188492" y="947738"/>
                    </a:cubicBezTo>
                    <a:cubicBezTo>
                      <a:pt x="191032" y="955358"/>
                      <a:pt x="190397" y="964248"/>
                      <a:pt x="194842" y="970598"/>
                    </a:cubicBezTo>
                    <a:cubicBezTo>
                      <a:pt x="201827" y="980123"/>
                      <a:pt x="213257" y="985838"/>
                      <a:pt x="220878" y="995363"/>
                    </a:cubicBezTo>
                    <a:cubicBezTo>
                      <a:pt x="228497" y="1004253"/>
                      <a:pt x="231038" y="1020128"/>
                      <a:pt x="236117" y="1030288"/>
                    </a:cubicBezTo>
                    <a:cubicBezTo>
                      <a:pt x="248817" y="1055688"/>
                      <a:pt x="264057" y="1079183"/>
                      <a:pt x="274853" y="1104583"/>
                    </a:cubicBezTo>
                    <a:cubicBezTo>
                      <a:pt x="281838" y="1119823"/>
                      <a:pt x="283107" y="1136967"/>
                      <a:pt x="289457" y="1152842"/>
                    </a:cubicBezTo>
                    <a:cubicBezTo>
                      <a:pt x="291997" y="1160463"/>
                      <a:pt x="303428" y="1160463"/>
                      <a:pt x="308507" y="1166813"/>
                    </a:cubicBezTo>
                    <a:cubicBezTo>
                      <a:pt x="321207" y="1182688"/>
                      <a:pt x="328192" y="1201738"/>
                      <a:pt x="338988" y="1218883"/>
                    </a:cubicBezTo>
                    <a:cubicBezTo>
                      <a:pt x="354863" y="1244283"/>
                      <a:pt x="373913" y="1266508"/>
                      <a:pt x="392963" y="1290638"/>
                    </a:cubicBezTo>
                    <a:cubicBezTo>
                      <a:pt x="431063" y="1339533"/>
                      <a:pt x="457732" y="1397953"/>
                      <a:pt x="493292" y="1449388"/>
                    </a:cubicBezTo>
                    <a:cubicBezTo>
                      <a:pt x="547903" y="1526858"/>
                      <a:pt x="467892" y="1406208"/>
                      <a:pt x="547267" y="1512253"/>
                    </a:cubicBezTo>
                    <a:cubicBezTo>
                      <a:pt x="559332" y="1528128"/>
                      <a:pt x="605053" y="1606233"/>
                      <a:pt x="605053" y="1624013"/>
                    </a:cubicBezTo>
                    <a:cubicBezTo>
                      <a:pt x="604417" y="1694498"/>
                      <a:pt x="573303" y="1624648"/>
                      <a:pt x="568222" y="1627188"/>
                    </a:cubicBezTo>
                    <a:cubicBezTo>
                      <a:pt x="559332" y="1632267"/>
                      <a:pt x="579653" y="1643698"/>
                      <a:pt x="585367" y="1651953"/>
                    </a:cubicBezTo>
                    <a:cubicBezTo>
                      <a:pt x="586638" y="1653858"/>
                      <a:pt x="579653" y="1644967"/>
                      <a:pt x="581557" y="1646873"/>
                    </a:cubicBezTo>
                    <a:cubicBezTo>
                      <a:pt x="596797" y="1668463"/>
                      <a:pt x="612672" y="1688148"/>
                      <a:pt x="629817" y="1709103"/>
                    </a:cubicBezTo>
                    <a:lnTo>
                      <a:pt x="620292" y="169322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3" name="组合 52">
              <a:extLst>
                <a:ext uri="{FF2B5EF4-FFF2-40B4-BE49-F238E27FC236}">
                  <a16:creationId xmlns:a16="http://schemas.microsoft.com/office/drawing/2014/main" id="{C677581E-B0CF-443C-A793-A4D8173B4501}"/>
                </a:ext>
              </a:extLst>
            </p:cNvPr>
            <p:cNvGrpSpPr/>
            <p:nvPr userDrawn="1"/>
          </p:nvGrpSpPr>
          <p:grpSpPr>
            <a:xfrm>
              <a:off x="1150150" y="1888970"/>
              <a:ext cx="3556635" cy="3694268"/>
              <a:chOff x="7245033" y="1885795"/>
              <a:chExt cx="3556635" cy="3694268"/>
            </a:xfrm>
          </p:grpSpPr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AC522BC2-2EE1-40D7-9FA6-90F3B6FAE2DE}"/>
                  </a:ext>
                </a:extLst>
              </p:cNvPr>
              <p:cNvSpPr/>
              <p:nvPr/>
            </p:nvSpPr>
            <p:spPr>
              <a:xfrm>
                <a:off x="9144006" y="1885795"/>
                <a:ext cx="25400" cy="19050"/>
              </a:xfrm>
              <a:custGeom>
                <a:avLst/>
                <a:gdLst>
                  <a:gd name="connsiteX0" fmla="*/ 13329 w 25400"/>
                  <a:gd name="connsiteY0" fmla="*/ 15395 h 19050"/>
                  <a:gd name="connsiteX1" fmla="*/ 24760 w 25400"/>
                  <a:gd name="connsiteY1" fmla="*/ 5870 h 19050"/>
                  <a:gd name="connsiteX2" fmla="*/ 19679 w 25400"/>
                  <a:gd name="connsiteY2" fmla="*/ 17300 h 19050"/>
                  <a:gd name="connsiteX3" fmla="*/ 13329 w 25400"/>
                  <a:gd name="connsiteY3" fmla="*/ 1539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400" h="19050">
                    <a:moveTo>
                      <a:pt x="13329" y="15395"/>
                    </a:moveTo>
                    <a:cubicBezTo>
                      <a:pt x="-8896" y="18570"/>
                      <a:pt x="18410" y="155"/>
                      <a:pt x="24760" y="5870"/>
                    </a:cubicBezTo>
                    <a:cubicBezTo>
                      <a:pt x="27935" y="9045"/>
                      <a:pt x="22854" y="14760"/>
                      <a:pt x="19679" y="17300"/>
                    </a:cubicBezTo>
                    <a:cubicBezTo>
                      <a:pt x="17775" y="18570"/>
                      <a:pt x="13329" y="15395"/>
                      <a:pt x="13329" y="15395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CAFC3C8C-69A7-46E2-B1B9-C65568EFB321}"/>
                  </a:ext>
                </a:extLst>
              </p:cNvPr>
              <p:cNvSpPr/>
              <p:nvPr/>
            </p:nvSpPr>
            <p:spPr>
              <a:xfrm>
                <a:off x="9123997" y="1918612"/>
                <a:ext cx="19050" cy="12700"/>
              </a:xfrm>
              <a:custGeom>
                <a:avLst/>
                <a:gdLst>
                  <a:gd name="connsiteX0" fmla="*/ 4763 w 19050"/>
                  <a:gd name="connsiteY0" fmla="*/ 11153 h 12700"/>
                  <a:gd name="connsiteX1" fmla="*/ 14288 w 19050"/>
                  <a:gd name="connsiteY1" fmla="*/ 4803 h 12700"/>
                  <a:gd name="connsiteX2" fmla="*/ 4763 w 19050"/>
                  <a:gd name="connsiteY2" fmla="*/ 11153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12700">
                    <a:moveTo>
                      <a:pt x="4763" y="11153"/>
                    </a:moveTo>
                    <a:cubicBezTo>
                      <a:pt x="7938" y="9248"/>
                      <a:pt x="11113" y="6073"/>
                      <a:pt x="14288" y="4803"/>
                    </a:cubicBezTo>
                    <a:cubicBezTo>
                      <a:pt x="18097" y="4168"/>
                      <a:pt x="4763" y="11153"/>
                      <a:pt x="4763" y="1115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297E0C80-79D9-4F8E-93A6-D0123172EC13}"/>
                  </a:ext>
                </a:extLst>
              </p:cNvPr>
              <p:cNvSpPr/>
              <p:nvPr/>
            </p:nvSpPr>
            <p:spPr>
              <a:xfrm>
                <a:off x="8440954" y="2441258"/>
                <a:ext cx="19050" cy="19050"/>
              </a:xfrm>
              <a:custGeom>
                <a:avLst/>
                <a:gdLst>
                  <a:gd name="connsiteX0" fmla="*/ 14706 w 19050"/>
                  <a:gd name="connsiteY0" fmla="*/ 4763 h 19050"/>
                  <a:gd name="connsiteX1" fmla="*/ 7087 w 19050"/>
                  <a:gd name="connsiteY1" fmla="*/ 14288 h 19050"/>
                  <a:gd name="connsiteX2" fmla="*/ 5181 w 19050"/>
                  <a:gd name="connsiteY2" fmla="*/ 9842 h 19050"/>
                  <a:gd name="connsiteX3" fmla="*/ 14706 w 19050"/>
                  <a:gd name="connsiteY3" fmla="*/ 476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14706" y="4763"/>
                    </a:moveTo>
                    <a:cubicBezTo>
                      <a:pt x="12166" y="7938"/>
                      <a:pt x="10896" y="12382"/>
                      <a:pt x="7087" y="14288"/>
                    </a:cubicBezTo>
                    <a:cubicBezTo>
                      <a:pt x="5816" y="14922"/>
                      <a:pt x="3912" y="11113"/>
                      <a:pt x="5181" y="9842"/>
                    </a:cubicBezTo>
                    <a:cubicBezTo>
                      <a:pt x="7087" y="6667"/>
                      <a:pt x="14706" y="4763"/>
                      <a:pt x="14706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BB297C92-2B41-4F9C-B4A0-37BC2646BDC2}"/>
                  </a:ext>
                </a:extLst>
              </p:cNvPr>
              <p:cNvSpPr/>
              <p:nvPr/>
            </p:nvSpPr>
            <p:spPr>
              <a:xfrm>
                <a:off x="9060071" y="2591117"/>
                <a:ext cx="69850" cy="57150"/>
              </a:xfrm>
              <a:custGeom>
                <a:avLst/>
                <a:gdLst>
                  <a:gd name="connsiteX0" fmla="*/ 65514 w 69850"/>
                  <a:gd name="connsiteY0" fmla="*/ 4763 h 57150"/>
                  <a:gd name="connsiteX1" fmla="*/ 19159 w 69850"/>
                  <a:gd name="connsiteY1" fmla="*/ 57468 h 57150"/>
                  <a:gd name="connsiteX2" fmla="*/ 5189 w 69850"/>
                  <a:gd name="connsiteY2" fmla="*/ 25083 h 57150"/>
                  <a:gd name="connsiteX3" fmla="*/ 23604 w 69850"/>
                  <a:gd name="connsiteY3" fmla="*/ 23178 h 57150"/>
                  <a:gd name="connsiteX4" fmla="*/ 65514 w 69850"/>
                  <a:gd name="connsiteY4" fmla="*/ 476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850" h="57150">
                    <a:moveTo>
                      <a:pt x="65514" y="4763"/>
                    </a:moveTo>
                    <a:cubicBezTo>
                      <a:pt x="50274" y="22543"/>
                      <a:pt x="41384" y="50483"/>
                      <a:pt x="19159" y="57468"/>
                    </a:cubicBezTo>
                    <a:cubicBezTo>
                      <a:pt x="7729" y="61278"/>
                      <a:pt x="3284" y="36513"/>
                      <a:pt x="5189" y="25083"/>
                    </a:cubicBezTo>
                    <a:cubicBezTo>
                      <a:pt x="5824" y="18733"/>
                      <a:pt x="17889" y="25083"/>
                      <a:pt x="23604" y="23178"/>
                    </a:cubicBezTo>
                    <a:cubicBezTo>
                      <a:pt x="38209" y="18098"/>
                      <a:pt x="65514" y="4763"/>
                      <a:pt x="65514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FA3DC6C1-BE82-4636-9524-19E099BC8B33}"/>
                  </a:ext>
                </a:extLst>
              </p:cNvPr>
              <p:cNvSpPr/>
              <p:nvPr/>
            </p:nvSpPr>
            <p:spPr>
              <a:xfrm>
                <a:off x="9018588" y="2650808"/>
                <a:ext cx="6350" cy="12700"/>
              </a:xfrm>
              <a:custGeom>
                <a:avLst/>
                <a:gdLst>
                  <a:gd name="connsiteX0" fmla="*/ 4763 w 6350"/>
                  <a:gd name="connsiteY0" fmla="*/ 4763 h 12700"/>
                  <a:gd name="connsiteX1" fmla="*/ 5397 w 6350"/>
                  <a:gd name="connsiteY1" fmla="*/ 13017 h 12700"/>
                  <a:gd name="connsiteX2" fmla="*/ 4763 w 6350"/>
                  <a:gd name="connsiteY2" fmla="*/ 4763 h 12700"/>
                  <a:gd name="connsiteX3" fmla="*/ 4763 w 6350"/>
                  <a:gd name="connsiteY3" fmla="*/ 4763 h 1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12700">
                    <a:moveTo>
                      <a:pt x="4763" y="4763"/>
                    </a:moveTo>
                    <a:cubicBezTo>
                      <a:pt x="4763" y="7302"/>
                      <a:pt x="5397" y="13017"/>
                      <a:pt x="5397" y="13017"/>
                    </a:cubicBezTo>
                    <a:cubicBezTo>
                      <a:pt x="5397" y="13017"/>
                      <a:pt x="4763" y="7302"/>
                      <a:pt x="4763" y="4763"/>
                    </a:cubicBezTo>
                    <a:lnTo>
                      <a:pt x="4763" y="4763"/>
                    </a:ln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60E96F98-81AB-4BD9-80FF-FD7DE6DBC745}"/>
                  </a:ext>
                </a:extLst>
              </p:cNvPr>
              <p:cNvSpPr/>
              <p:nvPr/>
            </p:nvSpPr>
            <p:spPr>
              <a:xfrm>
                <a:off x="8962707" y="2659983"/>
                <a:ext cx="19050" cy="19050"/>
              </a:xfrm>
              <a:custGeom>
                <a:avLst/>
                <a:gdLst>
                  <a:gd name="connsiteX0" fmla="*/ 4763 w 19050"/>
                  <a:gd name="connsiteY0" fmla="*/ 14637 h 19050"/>
                  <a:gd name="connsiteX1" fmla="*/ 18733 w 19050"/>
                  <a:gd name="connsiteY1" fmla="*/ 7017 h 19050"/>
                  <a:gd name="connsiteX2" fmla="*/ 6033 w 19050"/>
                  <a:gd name="connsiteY2" fmla="*/ 7652 h 19050"/>
                  <a:gd name="connsiteX3" fmla="*/ 4763 w 19050"/>
                  <a:gd name="connsiteY3" fmla="*/ 1463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4763" y="14637"/>
                    </a:moveTo>
                    <a:cubicBezTo>
                      <a:pt x="9843" y="12097"/>
                      <a:pt x="18098" y="12097"/>
                      <a:pt x="18733" y="7017"/>
                    </a:cubicBezTo>
                    <a:cubicBezTo>
                      <a:pt x="20003" y="2572"/>
                      <a:pt x="9843" y="5747"/>
                      <a:pt x="6033" y="7652"/>
                    </a:cubicBezTo>
                    <a:cubicBezTo>
                      <a:pt x="4763" y="8922"/>
                      <a:pt x="5398" y="12732"/>
                      <a:pt x="4763" y="14637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45A3825A-D8F2-44F6-B652-F62B3835C12B}"/>
                  </a:ext>
                </a:extLst>
              </p:cNvPr>
              <p:cNvSpPr/>
              <p:nvPr/>
            </p:nvSpPr>
            <p:spPr>
              <a:xfrm>
                <a:off x="8411381" y="2398713"/>
                <a:ext cx="298450" cy="520700"/>
              </a:xfrm>
              <a:custGeom>
                <a:avLst/>
                <a:gdLst>
                  <a:gd name="connsiteX0" fmla="*/ 130004 w 298450"/>
                  <a:gd name="connsiteY0" fmla="*/ 4763 h 520700"/>
                  <a:gd name="connsiteX1" fmla="*/ 186519 w 298450"/>
                  <a:gd name="connsiteY1" fmla="*/ 28892 h 520700"/>
                  <a:gd name="connsiteX2" fmla="*/ 136354 w 298450"/>
                  <a:gd name="connsiteY2" fmla="*/ 73342 h 520700"/>
                  <a:gd name="connsiteX3" fmla="*/ 218904 w 298450"/>
                  <a:gd name="connsiteY3" fmla="*/ 86677 h 520700"/>
                  <a:gd name="connsiteX4" fmla="*/ 133179 w 298450"/>
                  <a:gd name="connsiteY4" fmla="*/ 162877 h 520700"/>
                  <a:gd name="connsiteX5" fmla="*/ 156039 w 298450"/>
                  <a:gd name="connsiteY5" fmla="*/ 170498 h 520700"/>
                  <a:gd name="connsiteX6" fmla="*/ 199219 w 298450"/>
                  <a:gd name="connsiteY6" fmla="*/ 198438 h 520700"/>
                  <a:gd name="connsiteX7" fmla="*/ 197950 w 298450"/>
                  <a:gd name="connsiteY7" fmla="*/ 210502 h 520700"/>
                  <a:gd name="connsiteX8" fmla="*/ 225889 w 298450"/>
                  <a:gd name="connsiteY8" fmla="*/ 271463 h 520700"/>
                  <a:gd name="connsiteX9" fmla="*/ 237319 w 298450"/>
                  <a:gd name="connsiteY9" fmla="*/ 315277 h 520700"/>
                  <a:gd name="connsiteX10" fmla="*/ 250019 w 298450"/>
                  <a:gd name="connsiteY10" fmla="*/ 366713 h 520700"/>
                  <a:gd name="connsiteX11" fmla="*/ 292564 w 298450"/>
                  <a:gd name="connsiteY11" fmla="*/ 401002 h 520700"/>
                  <a:gd name="connsiteX12" fmla="*/ 228429 w 298450"/>
                  <a:gd name="connsiteY12" fmla="*/ 460058 h 520700"/>
                  <a:gd name="connsiteX13" fmla="*/ 215094 w 298450"/>
                  <a:gd name="connsiteY13" fmla="*/ 504508 h 520700"/>
                  <a:gd name="connsiteX14" fmla="*/ 206204 w 298450"/>
                  <a:gd name="connsiteY14" fmla="*/ 500063 h 520700"/>
                  <a:gd name="connsiteX15" fmla="*/ 149054 w 298450"/>
                  <a:gd name="connsiteY15" fmla="*/ 484823 h 520700"/>
                  <a:gd name="connsiteX16" fmla="*/ 104604 w 298450"/>
                  <a:gd name="connsiteY16" fmla="*/ 505142 h 520700"/>
                  <a:gd name="connsiteX17" fmla="*/ 66504 w 298450"/>
                  <a:gd name="connsiteY17" fmla="*/ 488633 h 520700"/>
                  <a:gd name="connsiteX18" fmla="*/ 53169 w 298450"/>
                  <a:gd name="connsiteY18" fmla="*/ 515938 h 520700"/>
                  <a:gd name="connsiteX19" fmla="*/ 33485 w 298450"/>
                  <a:gd name="connsiteY19" fmla="*/ 503238 h 520700"/>
                  <a:gd name="connsiteX20" fmla="*/ 44914 w 298450"/>
                  <a:gd name="connsiteY20" fmla="*/ 452438 h 520700"/>
                  <a:gd name="connsiteX21" fmla="*/ 92539 w 298450"/>
                  <a:gd name="connsiteY21" fmla="*/ 457517 h 520700"/>
                  <a:gd name="connsiteX22" fmla="*/ 123654 w 298450"/>
                  <a:gd name="connsiteY22" fmla="*/ 427673 h 520700"/>
                  <a:gd name="connsiteX23" fmla="*/ 84285 w 298450"/>
                  <a:gd name="connsiteY23" fmla="*/ 445452 h 520700"/>
                  <a:gd name="connsiteX24" fmla="*/ 48089 w 298450"/>
                  <a:gd name="connsiteY24" fmla="*/ 421958 h 520700"/>
                  <a:gd name="connsiteX25" fmla="*/ 12529 w 298450"/>
                  <a:gd name="connsiteY25" fmla="*/ 403542 h 520700"/>
                  <a:gd name="connsiteX26" fmla="*/ 59519 w 298450"/>
                  <a:gd name="connsiteY26" fmla="*/ 387033 h 520700"/>
                  <a:gd name="connsiteX27" fmla="*/ 49994 w 298450"/>
                  <a:gd name="connsiteY27" fmla="*/ 347663 h 520700"/>
                  <a:gd name="connsiteX28" fmla="*/ 130639 w 298450"/>
                  <a:gd name="connsiteY28" fmla="*/ 329248 h 520700"/>
                  <a:gd name="connsiteX29" fmla="*/ 119844 w 298450"/>
                  <a:gd name="connsiteY29" fmla="*/ 314008 h 520700"/>
                  <a:gd name="connsiteX30" fmla="*/ 105875 w 298450"/>
                  <a:gd name="connsiteY30" fmla="*/ 235902 h 520700"/>
                  <a:gd name="connsiteX31" fmla="*/ 93810 w 298450"/>
                  <a:gd name="connsiteY31" fmla="*/ 189548 h 520700"/>
                  <a:gd name="connsiteX32" fmla="*/ 95079 w 298450"/>
                  <a:gd name="connsiteY32" fmla="*/ 141288 h 520700"/>
                  <a:gd name="connsiteX33" fmla="*/ 73489 w 298450"/>
                  <a:gd name="connsiteY33" fmla="*/ 153352 h 520700"/>
                  <a:gd name="connsiteX34" fmla="*/ 49360 w 298450"/>
                  <a:gd name="connsiteY34" fmla="*/ 193358 h 520700"/>
                  <a:gd name="connsiteX35" fmla="*/ 70950 w 298450"/>
                  <a:gd name="connsiteY35" fmla="*/ 164148 h 520700"/>
                  <a:gd name="connsiteX36" fmla="*/ 63329 w 298450"/>
                  <a:gd name="connsiteY36" fmla="*/ 162877 h 520700"/>
                  <a:gd name="connsiteX37" fmla="*/ 97619 w 298450"/>
                  <a:gd name="connsiteY37" fmla="*/ 115252 h 520700"/>
                  <a:gd name="connsiteX38" fmla="*/ 72854 w 298450"/>
                  <a:gd name="connsiteY38" fmla="*/ 124142 h 520700"/>
                  <a:gd name="connsiteX39" fmla="*/ 91904 w 298450"/>
                  <a:gd name="connsiteY39" fmla="*/ 89852 h 520700"/>
                  <a:gd name="connsiteX40" fmla="*/ 96350 w 298450"/>
                  <a:gd name="connsiteY40" fmla="*/ 71438 h 520700"/>
                  <a:gd name="connsiteX41" fmla="*/ 91269 w 298450"/>
                  <a:gd name="connsiteY41" fmla="*/ 44133 h 520700"/>
                  <a:gd name="connsiteX42" fmla="*/ 115400 w 298450"/>
                  <a:gd name="connsiteY42" fmla="*/ 47942 h 520700"/>
                  <a:gd name="connsiteX43" fmla="*/ 130004 w 298450"/>
                  <a:gd name="connsiteY43" fmla="*/ 4763 h 52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98450" h="520700">
                    <a:moveTo>
                      <a:pt x="130004" y="4763"/>
                    </a:moveTo>
                    <a:cubicBezTo>
                      <a:pt x="148419" y="13017"/>
                      <a:pt x="176360" y="11113"/>
                      <a:pt x="186519" y="28892"/>
                    </a:cubicBezTo>
                    <a:cubicBezTo>
                      <a:pt x="200489" y="54927"/>
                      <a:pt x="110319" y="60008"/>
                      <a:pt x="136354" y="73342"/>
                    </a:cubicBezTo>
                    <a:cubicBezTo>
                      <a:pt x="161119" y="86042"/>
                      <a:pt x="203029" y="63817"/>
                      <a:pt x="218904" y="86677"/>
                    </a:cubicBezTo>
                    <a:cubicBezTo>
                      <a:pt x="257639" y="141288"/>
                      <a:pt x="126829" y="131127"/>
                      <a:pt x="133179" y="162877"/>
                    </a:cubicBezTo>
                    <a:cubicBezTo>
                      <a:pt x="134450" y="170498"/>
                      <a:pt x="149054" y="166052"/>
                      <a:pt x="156039" y="170498"/>
                    </a:cubicBezTo>
                    <a:cubicBezTo>
                      <a:pt x="171279" y="178752"/>
                      <a:pt x="186519" y="187008"/>
                      <a:pt x="199219" y="198438"/>
                    </a:cubicBezTo>
                    <a:cubicBezTo>
                      <a:pt x="202394" y="200977"/>
                      <a:pt x="196679" y="206692"/>
                      <a:pt x="197950" y="210502"/>
                    </a:cubicBezTo>
                    <a:cubicBezTo>
                      <a:pt x="205569" y="231458"/>
                      <a:pt x="218269" y="250508"/>
                      <a:pt x="225889" y="271463"/>
                    </a:cubicBezTo>
                    <a:cubicBezTo>
                      <a:pt x="230969" y="285433"/>
                      <a:pt x="234144" y="300673"/>
                      <a:pt x="237319" y="315277"/>
                    </a:cubicBezTo>
                    <a:cubicBezTo>
                      <a:pt x="241764" y="332423"/>
                      <a:pt x="239225" y="352742"/>
                      <a:pt x="250019" y="366713"/>
                    </a:cubicBezTo>
                    <a:cubicBezTo>
                      <a:pt x="262085" y="382588"/>
                      <a:pt x="302089" y="362902"/>
                      <a:pt x="292564" y="401002"/>
                    </a:cubicBezTo>
                    <a:cubicBezTo>
                      <a:pt x="276054" y="467677"/>
                      <a:pt x="264625" y="414973"/>
                      <a:pt x="228429" y="460058"/>
                    </a:cubicBezTo>
                    <a:cubicBezTo>
                      <a:pt x="218904" y="472123"/>
                      <a:pt x="222714" y="491173"/>
                      <a:pt x="215094" y="504508"/>
                    </a:cubicBezTo>
                    <a:cubicBezTo>
                      <a:pt x="213189" y="507048"/>
                      <a:pt x="209379" y="501333"/>
                      <a:pt x="206204" y="500063"/>
                    </a:cubicBezTo>
                    <a:cubicBezTo>
                      <a:pt x="187154" y="494348"/>
                      <a:pt x="168739" y="483552"/>
                      <a:pt x="149054" y="484823"/>
                    </a:cubicBezTo>
                    <a:cubicBezTo>
                      <a:pt x="132544" y="485458"/>
                      <a:pt x="121114" y="504508"/>
                      <a:pt x="104604" y="505142"/>
                    </a:cubicBezTo>
                    <a:cubicBezTo>
                      <a:pt x="90635" y="505777"/>
                      <a:pt x="79839" y="486092"/>
                      <a:pt x="66504" y="488633"/>
                    </a:cubicBezTo>
                    <a:cubicBezTo>
                      <a:pt x="56979" y="490538"/>
                      <a:pt x="62694" y="511492"/>
                      <a:pt x="53169" y="515938"/>
                    </a:cubicBezTo>
                    <a:cubicBezTo>
                      <a:pt x="46185" y="519113"/>
                      <a:pt x="39835" y="507683"/>
                      <a:pt x="33485" y="503238"/>
                    </a:cubicBezTo>
                    <a:cubicBezTo>
                      <a:pt x="9354" y="486727"/>
                      <a:pt x="-21761" y="474663"/>
                      <a:pt x="44914" y="452438"/>
                    </a:cubicBezTo>
                    <a:cubicBezTo>
                      <a:pt x="60154" y="447358"/>
                      <a:pt x="77300" y="461963"/>
                      <a:pt x="92539" y="457517"/>
                    </a:cubicBezTo>
                    <a:cubicBezTo>
                      <a:pt x="105875" y="453073"/>
                      <a:pt x="131275" y="439738"/>
                      <a:pt x="123654" y="427673"/>
                    </a:cubicBezTo>
                    <a:cubicBezTo>
                      <a:pt x="115400" y="415608"/>
                      <a:pt x="98889" y="446723"/>
                      <a:pt x="84285" y="445452"/>
                    </a:cubicBezTo>
                    <a:cubicBezTo>
                      <a:pt x="69679" y="444183"/>
                      <a:pt x="60789" y="428942"/>
                      <a:pt x="48089" y="421958"/>
                    </a:cubicBezTo>
                    <a:cubicBezTo>
                      <a:pt x="36660" y="414973"/>
                      <a:pt x="8085" y="416242"/>
                      <a:pt x="12529" y="403542"/>
                    </a:cubicBezTo>
                    <a:cubicBezTo>
                      <a:pt x="17610" y="387667"/>
                      <a:pt x="44914" y="394652"/>
                      <a:pt x="59519" y="387033"/>
                    </a:cubicBezTo>
                    <a:cubicBezTo>
                      <a:pt x="107779" y="360998"/>
                      <a:pt x="41104" y="377508"/>
                      <a:pt x="49994" y="347663"/>
                    </a:cubicBezTo>
                    <a:cubicBezTo>
                      <a:pt x="64600" y="299402"/>
                      <a:pt x="107144" y="336233"/>
                      <a:pt x="130639" y="329248"/>
                    </a:cubicBezTo>
                    <a:cubicBezTo>
                      <a:pt x="136354" y="327342"/>
                      <a:pt x="121750" y="320358"/>
                      <a:pt x="119844" y="314008"/>
                    </a:cubicBezTo>
                    <a:cubicBezTo>
                      <a:pt x="112860" y="288608"/>
                      <a:pt x="110954" y="261938"/>
                      <a:pt x="105875" y="235902"/>
                    </a:cubicBezTo>
                    <a:cubicBezTo>
                      <a:pt x="102700" y="220027"/>
                      <a:pt x="95714" y="205423"/>
                      <a:pt x="93810" y="189548"/>
                    </a:cubicBezTo>
                    <a:cubicBezTo>
                      <a:pt x="91904" y="173673"/>
                      <a:pt x="102700" y="155258"/>
                      <a:pt x="95079" y="141288"/>
                    </a:cubicBezTo>
                    <a:cubicBezTo>
                      <a:pt x="91269" y="134302"/>
                      <a:pt x="79204" y="147002"/>
                      <a:pt x="73489" y="153352"/>
                    </a:cubicBezTo>
                    <a:cubicBezTo>
                      <a:pt x="63329" y="164783"/>
                      <a:pt x="53169" y="178117"/>
                      <a:pt x="49360" y="193358"/>
                    </a:cubicBezTo>
                    <a:cubicBezTo>
                      <a:pt x="46185" y="204788"/>
                      <a:pt x="65869" y="174942"/>
                      <a:pt x="70950" y="164148"/>
                    </a:cubicBezTo>
                    <a:cubicBezTo>
                      <a:pt x="72219" y="161608"/>
                      <a:pt x="63964" y="165417"/>
                      <a:pt x="63329" y="162877"/>
                    </a:cubicBezTo>
                    <a:cubicBezTo>
                      <a:pt x="62060" y="143192"/>
                      <a:pt x="95714" y="134938"/>
                      <a:pt x="97619" y="115252"/>
                    </a:cubicBezTo>
                    <a:cubicBezTo>
                      <a:pt x="98254" y="106363"/>
                      <a:pt x="74760" y="133033"/>
                      <a:pt x="72854" y="124142"/>
                    </a:cubicBezTo>
                    <a:cubicBezTo>
                      <a:pt x="69679" y="111442"/>
                      <a:pt x="86825" y="101917"/>
                      <a:pt x="91904" y="89852"/>
                    </a:cubicBezTo>
                    <a:cubicBezTo>
                      <a:pt x="94444" y="84138"/>
                      <a:pt x="96350" y="77788"/>
                      <a:pt x="96350" y="71438"/>
                    </a:cubicBezTo>
                    <a:cubicBezTo>
                      <a:pt x="96350" y="62548"/>
                      <a:pt x="85554" y="51752"/>
                      <a:pt x="91269" y="44133"/>
                    </a:cubicBezTo>
                    <a:cubicBezTo>
                      <a:pt x="96350" y="37783"/>
                      <a:pt x="109685" y="53658"/>
                      <a:pt x="115400" y="47942"/>
                    </a:cubicBezTo>
                    <a:cubicBezTo>
                      <a:pt x="125560" y="37783"/>
                      <a:pt x="130004" y="4763"/>
                      <a:pt x="130004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9D74F4B-E5D4-4C8C-8B00-64C111E7CDAA}"/>
                  </a:ext>
                </a:extLst>
              </p:cNvPr>
              <p:cNvSpPr/>
              <p:nvPr/>
            </p:nvSpPr>
            <p:spPr>
              <a:xfrm>
                <a:off x="8232606" y="2584097"/>
                <a:ext cx="222250" cy="196850"/>
              </a:xfrm>
              <a:custGeom>
                <a:avLst/>
                <a:gdLst>
                  <a:gd name="connsiteX0" fmla="*/ 191938 w 222250"/>
                  <a:gd name="connsiteY0" fmla="*/ 77823 h 196850"/>
                  <a:gd name="connsiteX1" fmla="*/ 184319 w 222250"/>
                  <a:gd name="connsiteY1" fmla="*/ 86713 h 196850"/>
                  <a:gd name="connsiteX2" fmla="*/ 189399 w 222250"/>
                  <a:gd name="connsiteY2" fmla="*/ 109573 h 196850"/>
                  <a:gd name="connsiteX3" fmla="*/ 156379 w 222250"/>
                  <a:gd name="connsiteY3" fmla="*/ 191488 h 196850"/>
                  <a:gd name="connsiteX4" fmla="*/ 136694 w 222250"/>
                  <a:gd name="connsiteY4" fmla="*/ 187678 h 196850"/>
                  <a:gd name="connsiteX5" fmla="*/ 6519 w 222250"/>
                  <a:gd name="connsiteY5" fmla="*/ 160373 h 196850"/>
                  <a:gd name="connsiteX6" fmla="*/ 33824 w 222250"/>
                  <a:gd name="connsiteY6" fmla="*/ 162278 h 196850"/>
                  <a:gd name="connsiteX7" fmla="*/ 77638 w 222250"/>
                  <a:gd name="connsiteY7" fmla="*/ 145133 h 196850"/>
                  <a:gd name="connsiteX8" fmla="*/ 32554 w 222250"/>
                  <a:gd name="connsiteY8" fmla="*/ 141958 h 196850"/>
                  <a:gd name="connsiteX9" fmla="*/ 81449 w 222250"/>
                  <a:gd name="connsiteY9" fmla="*/ 110843 h 196850"/>
                  <a:gd name="connsiteX10" fmla="*/ 56049 w 222250"/>
                  <a:gd name="connsiteY10" fmla="*/ 49248 h 196850"/>
                  <a:gd name="connsiteX11" fmla="*/ 113199 w 222250"/>
                  <a:gd name="connsiteY11" fmla="*/ 54963 h 196850"/>
                  <a:gd name="connsiteX12" fmla="*/ 202099 w 222250"/>
                  <a:gd name="connsiteY12" fmla="*/ 6068 h 196850"/>
                  <a:gd name="connsiteX13" fmla="*/ 222419 w 222250"/>
                  <a:gd name="connsiteY13" fmla="*/ 35278 h 196850"/>
                  <a:gd name="connsiteX14" fmla="*/ 191938 w 222250"/>
                  <a:gd name="connsiteY14" fmla="*/ 77823 h 196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2250" h="196850">
                    <a:moveTo>
                      <a:pt x="191938" y="77823"/>
                    </a:moveTo>
                    <a:cubicBezTo>
                      <a:pt x="189399" y="80998"/>
                      <a:pt x="184954" y="82903"/>
                      <a:pt x="184319" y="86713"/>
                    </a:cubicBezTo>
                    <a:cubicBezTo>
                      <a:pt x="183684" y="94333"/>
                      <a:pt x="191304" y="101953"/>
                      <a:pt x="189399" y="109573"/>
                    </a:cubicBezTo>
                    <a:cubicBezTo>
                      <a:pt x="181779" y="138148"/>
                      <a:pt x="172888" y="166723"/>
                      <a:pt x="156379" y="191488"/>
                    </a:cubicBezTo>
                    <a:cubicBezTo>
                      <a:pt x="152569" y="197203"/>
                      <a:pt x="143044" y="188948"/>
                      <a:pt x="136694" y="187678"/>
                    </a:cubicBezTo>
                    <a:cubicBezTo>
                      <a:pt x="92879" y="178788"/>
                      <a:pt x="49699" y="171168"/>
                      <a:pt x="6519" y="160373"/>
                    </a:cubicBezTo>
                    <a:cubicBezTo>
                      <a:pt x="-2371" y="158468"/>
                      <a:pt x="24934" y="164183"/>
                      <a:pt x="33824" y="162278"/>
                    </a:cubicBezTo>
                    <a:cubicBezTo>
                      <a:pt x="49063" y="159103"/>
                      <a:pt x="78274" y="160373"/>
                      <a:pt x="77638" y="145133"/>
                    </a:cubicBezTo>
                    <a:cubicBezTo>
                      <a:pt x="77004" y="129893"/>
                      <a:pt x="30649" y="156563"/>
                      <a:pt x="32554" y="141958"/>
                    </a:cubicBezTo>
                    <a:cubicBezTo>
                      <a:pt x="35094" y="122908"/>
                      <a:pt x="78909" y="130528"/>
                      <a:pt x="81449" y="110843"/>
                    </a:cubicBezTo>
                    <a:cubicBezTo>
                      <a:pt x="99863" y="-16792"/>
                      <a:pt x="-35391" y="199108"/>
                      <a:pt x="56049" y="49248"/>
                    </a:cubicBezTo>
                    <a:cubicBezTo>
                      <a:pt x="73829" y="20038"/>
                      <a:pt x="88434" y="56868"/>
                      <a:pt x="113199" y="54963"/>
                    </a:cubicBezTo>
                    <a:cubicBezTo>
                      <a:pt x="113199" y="54963"/>
                      <a:pt x="178604" y="-4727"/>
                      <a:pt x="202099" y="6068"/>
                    </a:cubicBezTo>
                    <a:cubicBezTo>
                      <a:pt x="212894" y="10513"/>
                      <a:pt x="224324" y="23848"/>
                      <a:pt x="222419" y="35278"/>
                    </a:cubicBezTo>
                    <a:cubicBezTo>
                      <a:pt x="221149" y="53693"/>
                      <a:pt x="191938" y="77823"/>
                      <a:pt x="191938" y="7782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1F77EAE2-FFC2-42FC-B716-60C71D03497D}"/>
                  </a:ext>
                </a:extLst>
              </p:cNvPr>
              <p:cNvSpPr/>
              <p:nvPr/>
            </p:nvSpPr>
            <p:spPr>
              <a:xfrm>
                <a:off x="8469313" y="2707323"/>
                <a:ext cx="12700" cy="6350"/>
              </a:xfrm>
              <a:custGeom>
                <a:avLst/>
                <a:gdLst>
                  <a:gd name="connsiteX0" fmla="*/ 11113 w 12700"/>
                  <a:gd name="connsiteY0" fmla="*/ 4763 h 6350"/>
                  <a:gd name="connsiteX1" fmla="*/ 4763 w 12700"/>
                  <a:gd name="connsiteY1" fmla="*/ 6667 h 6350"/>
                  <a:gd name="connsiteX2" fmla="*/ 11113 w 12700"/>
                  <a:gd name="connsiteY2" fmla="*/ 4763 h 6350"/>
                  <a:gd name="connsiteX3" fmla="*/ 11113 w 12700"/>
                  <a:gd name="connsiteY3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" h="6350">
                    <a:moveTo>
                      <a:pt x="11113" y="4763"/>
                    </a:moveTo>
                    <a:cubicBezTo>
                      <a:pt x="9207" y="5398"/>
                      <a:pt x="4763" y="6667"/>
                      <a:pt x="4763" y="6667"/>
                    </a:cubicBezTo>
                    <a:cubicBezTo>
                      <a:pt x="4763" y="6667"/>
                      <a:pt x="9207" y="5398"/>
                      <a:pt x="11113" y="4763"/>
                    </a:cubicBezTo>
                    <a:lnTo>
                      <a:pt x="11113" y="4763"/>
                    </a:ln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82D0D39-386B-4D57-9B29-BED928278970}"/>
                  </a:ext>
                </a:extLst>
              </p:cNvPr>
              <p:cNvSpPr/>
              <p:nvPr/>
            </p:nvSpPr>
            <p:spPr>
              <a:xfrm>
                <a:off x="8825235" y="2769552"/>
                <a:ext cx="25400" cy="44450"/>
              </a:xfrm>
              <a:custGeom>
                <a:avLst/>
                <a:gdLst>
                  <a:gd name="connsiteX0" fmla="*/ 24760 w 25400"/>
                  <a:gd name="connsiteY0" fmla="*/ 4763 h 44450"/>
                  <a:gd name="connsiteX1" fmla="*/ 9520 w 25400"/>
                  <a:gd name="connsiteY1" fmla="*/ 44768 h 44450"/>
                  <a:gd name="connsiteX2" fmla="*/ 11425 w 25400"/>
                  <a:gd name="connsiteY2" fmla="*/ 12383 h 44450"/>
                  <a:gd name="connsiteX3" fmla="*/ 24760 w 25400"/>
                  <a:gd name="connsiteY3" fmla="*/ 4763 h 44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400" h="44450">
                    <a:moveTo>
                      <a:pt x="24760" y="4763"/>
                    </a:moveTo>
                    <a:cubicBezTo>
                      <a:pt x="19680" y="18098"/>
                      <a:pt x="21585" y="37783"/>
                      <a:pt x="9520" y="44768"/>
                    </a:cubicBezTo>
                    <a:cubicBezTo>
                      <a:pt x="-5" y="49848"/>
                      <a:pt x="6980" y="22543"/>
                      <a:pt x="11425" y="12383"/>
                    </a:cubicBezTo>
                    <a:cubicBezTo>
                      <a:pt x="12695" y="7302"/>
                      <a:pt x="24760" y="4763"/>
                      <a:pt x="24760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2CC580D0-F649-413E-82E0-084CF2CF01E4}"/>
                  </a:ext>
                </a:extLst>
              </p:cNvPr>
              <p:cNvSpPr/>
              <p:nvPr/>
            </p:nvSpPr>
            <p:spPr>
              <a:xfrm>
                <a:off x="10056813" y="3092767"/>
                <a:ext cx="69850" cy="25400"/>
              </a:xfrm>
              <a:custGeom>
                <a:avLst/>
                <a:gdLst>
                  <a:gd name="connsiteX0" fmla="*/ 4763 w 69850"/>
                  <a:gd name="connsiteY0" fmla="*/ 4763 h 25400"/>
                  <a:gd name="connsiteX1" fmla="*/ 66993 w 69850"/>
                  <a:gd name="connsiteY1" fmla="*/ 25083 h 25400"/>
                  <a:gd name="connsiteX2" fmla="*/ 51753 w 69850"/>
                  <a:gd name="connsiteY2" fmla="*/ 21273 h 25400"/>
                  <a:gd name="connsiteX3" fmla="*/ 4763 w 69850"/>
                  <a:gd name="connsiteY3" fmla="*/ 4763 h 2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850" h="25400">
                    <a:moveTo>
                      <a:pt x="4763" y="4763"/>
                    </a:moveTo>
                    <a:cubicBezTo>
                      <a:pt x="25718" y="11113"/>
                      <a:pt x="46672" y="17463"/>
                      <a:pt x="66993" y="25083"/>
                    </a:cubicBezTo>
                    <a:cubicBezTo>
                      <a:pt x="72072" y="26988"/>
                      <a:pt x="56197" y="23178"/>
                      <a:pt x="51753" y="21273"/>
                    </a:cubicBezTo>
                    <a:cubicBezTo>
                      <a:pt x="35878" y="16193"/>
                      <a:pt x="4763" y="4763"/>
                      <a:pt x="4763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C9CF9A86-11F9-4663-BF84-12D46AF94939}"/>
                  </a:ext>
                </a:extLst>
              </p:cNvPr>
              <p:cNvSpPr/>
              <p:nvPr/>
            </p:nvSpPr>
            <p:spPr>
              <a:xfrm>
                <a:off x="9240838" y="3309303"/>
                <a:ext cx="31750" cy="31750"/>
              </a:xfrm>
              <a:custGeom>
                <a:avLst/>
                <a:gdLst>
                  <a:gd name="connsiteX0" fmla="*/ 4763 w 31750"/>
                  <a:gd name="connsiteY0" fmla="*/ 4763 h 31750"/>
                  <a:gd name="connsiteX1" fmla="*/ 28893 w 31750"/>
                  <a:gd name="connsiteY1" fmla="*/ 27622 h 31750"/>
                  <a:gd name="connsiteX2" fmla="*/ 4763 w 31750"/>
                  <a:gd name="connsiteY2" fmla="*/ 476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750" h="31750">
                    <a:moveTo>
                      <a:pt x="4763" y="4763"/>
                    </a:moveTo>
                    <a:cubicBezTo>
                      <a:pt x="13018" y="12382"/>
                      <a:pt x="28893" y="27622"/>
                      <a:pt x="28893" y="27622"/>
                    </a:cubicBezTo>
                    <a:cubicBezTo>
                      <a:pt x="28893" y="27622"/>
                      <a:pt x="13018" y="12382"/>
                      <a:pt x="4763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567240FE-A5E4-4220-A57D-C29F3B5913C2}"/>
                  </a:ext>
                </a:extLst>
              </p:cNvPr>
              <p:cNvSpPr/>
              <p:nvPr/>
            </p:nvSpPr>
            <p:spPr>
              <a:xfrm>
                <a:off x="8941193" y="3424238"/>
                <a:ext cx="57150" cy="88900"/>
              </a:xfrm>
              <a:custGeom>
                <a:avLst/>
                <a:gdLst>
                  <a:gd name="connsiteX0" fmla="*/ 52947 w 57150"/>
                  <a:gd name="connsiteY0" fmla="*/ 4763 h 88900"/>
                  <a:gd name="connsiteX1" fmla="*/ 12942 w 57150"/>
                  <a:gd name="connsiteY1" fmla="*/ 86678 h 88900"/>
                  <a:gd name="connsiteX2" fmla="*/ 9132 w 57150"/>
                  <a:gd name="connsiteY2" fmla="*/ 44767 h 88900"/>
                  <a:gd name="connsiteX3" fmla="*/ 45962 w 57150"/>
                  <a:gd name="connsiteY3" fmla="*/ 25717 h 88900"/>
                  <a:gd name="connsiteX4" fmla="*/ 52947 w 57150"/>
                  <a:gd name="connsiteY4" fmla="*/ 4763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88900">
                    <a:moveTo>
                      <a:pt x="52947" y="4763"/>
                    </a:moveTo>
                    <a:cubicBezTo>
                      <a:pt x="39612" y="32067"/>
                      <a:pt x="35167" y="66358"/>
                      <a:pt x="12942" y="86678"/>
                    </a:cubicBezTo>
                    <a:cubicBezTo>
                      <a:pt x="2782" y="96203"/>
                      <a:pt x="2782" y="56833"/>
                      <a:pt x="9132" y="44767"/>
                    </a:cubicBezTo>
                    <a:cubicBezTo>
                      <a:pt x="15482" y="32703"/>
                      <a:pt x="35802" y="35242"/>
                      <a:pt x="45962" y="25717"/>
                    </a:cubicBezTo>
                    <a:cubicBezTo>
                      <a:pt x="51677" y="20638"/>
                      <a:pt x="52947" y="4763"/>
                      <a:pt x="52947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A5246EC5-5A12-482A-B1DE-AD1AB360C74B}"/>
                  </a:ext>
                </a:extLst>
              </p:cNvPr>
              <p:cNvSpPr/>
              <p:nvPr/>
            </p:nvSpPr>
            <p:spPr>
              <a:xfrm>
                <a:off x="8929360" y="3539808"/>
                <a:ext cx="82550" cy="165100"/>
              </a:xfrm>
              <a:custGeom>
                <a:avLst/>
                <a:gdLst>
                  <a:gd name="connsiteX0" fmla="*/ 53349 w 82550"/>
                  <a:gd name="connsiteY0" fmla="*/ 4763 h 165100"/>
                  <a:gd name="connsiteX1" fmla="*/ 81924 w 82550"/>
                  <a:gd name="connsiteY1" fmla="*/ 52388 h 165100"/>
                  <a:gd name="connsiteX2" fmla="*/ 70495 w 82550"/>
                  <a:gd name="connsiteY2" fmla="*/ 70802 h 165100"/>
                  <a:gd name="connsiteX3" fmla="*/ 76209 w 82550"/>
                  <a:gd name="connsiteY3" fmla="*/ 82867 h 165100"/>
                  <a:gd name="connsiteX4" fmla="*/ 29855 w 82550"/>
                  <a:gd name="connsiteY4" fmla="*/ 160338 h 165100"/>
                  <a:gd name="connsiteX5" fmla="*/ 5090 w 82550"/>
                  <a:gd name="connsiteY5" fmla="*/ 149542 h 165100"/>
                  <a:gd name="connsiteX6" fmla="*/ 11440 w 82550"/>
                  <a:gd name="connsiteY6" fmla="*/ 146367 h 165100"/>
                  <a:gd name="connsiteX7" fmla="*/ 53349 w 82550"/>
                  <a:gd name="connsiteY7" fmla="*/ 4763 h 16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550" h="165100">
                    <a:moveTo>
                      <a:pt x="53349" y="4763"/>
                    </a:moveTo>
                    <a:cubicBezTo>
                      <a:pt x="62874" y="20638"/>
                      <a:pt x="76845" y="34608"/>
                      <a:pt x="81924" y="52388"/>
                    </a:cubicBezTo>
                    <a:cubicBezTo>
                      <a:pt x="83830" y="59372"/>
                      <a:pt x="73034" y="64452"/>
                      <a:pt x="70495" y="70802"/>
                    </a:cubicBezTo>
                    <a:cubicBezTo>
                      <a:pt x="66684" y="79692"/>
                      <a:pt x="76209" y="75247"/>
                      <a:pt x="76209" y="82867"/>
                    </a:cubicBezTo>
                    <a:cubicBezTo>
                      <a:pt x="74940" y="124777"/>
                      <a:pt x="78749" y="148272"/>
                      <a:pt x="29855" y="160338"/>
                    </a:cubicBezTo>
                    <a:cubicBezTo>
                      <a:pt x="20965" y="162242"/>
                      <a:pt x="12709" y="155258"/>
                      <a:pt x="5090" y="149542"/>
                    </a:cubicBezTo>
                    <a:cubicBezTo>
                      <a:pt x="3184" y="148272"/>
                      <a:pt x="10170" y="148272"/>
                      <a:pt x="11440" y="146367"/>
                    </a:cubicBezTo>
                    <a:cubicBezTo>
                      <a:pt x="27315" y="100013"/>
                      <a:pt x="53349" y="4763"/>
                      <a:pt x="53349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096290C7-A745-4CB2-A833-561BB027463A}"/>
                  </a:ext>
                </a:extLst>
              </p:cNvPr>
              <p:cNvSpPr/>
              <p:nvPr/>
            </p:nvSpPr>
            <p:spPr>
              <a:xfrm>
                <a:off x="9827537" y="3596460"/>
                <a:ext cx="25400" cy="31750"/>
              </a:xfrm>
              <a:custGeom>
                <a:avLst/>
                <a:gdLst>
                  <a:gd name="connsiteX0" fmla="*/ 14963 w 25400"/>
                  <a:gd name="connsiteY0" fmla="*/ 7800 h 31750"/>
                  <a:gd name="connsiteX1" fmla="*/ 18773 w 25400"/>
                  <a:gd name="connsiteY1" fmla="*/ 31295 h 31750"/>
                  <a:gd name="connsiteX2" fmla="*/ 4803 w 25400"/>
                  <a:gd name="connsiteY2" fmla="*/ 5895 h 31750"/>
                  <a:gd name="connsiteX3" fmla="*/ 14963 w 25400"/>
                  <a:gd name="connsiteY3" fmla="*/ 7800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400" h="31750">
                    <a:moveTo>
                      <a:pt x="14963" y="7800"/>
                    </a:moveTo>
                    <a:cubicBezTo>
                      <a:pt x="16233" y="15420"/>
                      <a:pt x="27028" y="32565"/>
                      <a:pt x="18773" y="31295"/>
                    </a:cubicBezTo>
                    <a:cubicBezTo>
                      <a:pt x="9248" y="30025"/>
                      <a:pt x="6073" y="15420"/>
                      <a:pt x="4803" y="5895"/>
                    </a:cubicBezTo>
                    <a:cubicBezTo>
                      <a:pt x="4168" y="2720"/>
                      <a:pt x="11153" y="7165"/>
                      <a:pt x="14963" y="7800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DBCD2FDB-5D5F-495F-9781-2C4BC1CABEB3}"/>
                  </a:ext>
                </a:extLst>
              </p:cNvPr>
              <p:cNvSpPr/>
              <p:nvPr/>
            </p:nvSpPr>
            <p:spPr>
              <a:xfrm>
                <a:off x="9138283" y="3732213"/>
                <a:ext cx="171450" cy="114300"/>
              </a:xfrm>
              <a:custGeom>
                <a:avLst/>
                <a:gdLst>
                  <a:gd name="connsiteX0" fmla="*/ 170817 w 171450"/>
                  <a:gd name="connsiteY0" fmla="*/ 4763 h 114300"/>
                  <a:gd name="connsiteX1" fmla="*/ 145417 w 171450"/>
                  <a:gd name="connsiteY1" fmla="*/ 56833 h 114300"/>
                  <a:gd name="connsiteX2" fmla="*/ 147957 w 171450"/>
                  <a:gd name="connsiteY2" fmla="*/ 111442 h 114300"/>
                  <a:gd name="connsiteX3" fmla="*/ 102872 w 171450"/>
                  <a:gd name="connsiteY3" fmla="*/ 86042 h 114300"/>
                  <a:gd name="connsiteX4" fmla="*/ 76202 w 171450"/>
                  <a:gd name="connsiteY4" fmla="*/ 81597 h 114300"/>
                  <a:gd name="connsiteX5" fmla="*/ 45087 w 171450"/>
                  <a:gd name="connsiteY5" fmla="*/ 60642 h 114300"/>
                  <a:gd name="connsiteX6" fmla="*/ 5717 w 171450"/>
                  <a:gd name="connsiteY6" fmla="*/ 40322 h 114300"/>
                  <a:gd name="connsiteX7" fmla="*/ 21592 w 171450"/>
                  <a:gd name="connsiteY7" fmla="*/ 14922 h 114300"/>
                  <a:gd name="connsiteX8" fmla="*/ 75567 w 171450"/>
                  <a:gd name="connsiteY8" fmla="*/ 27622 h 114300"/>
                  <a:gd name="connsiteX9" fmla="*/ 88267 w 171450"/>
                  <a:gd name="connsiteY9" fmla="*/ 21908 h 114300"/>
                  <a:gd name="connsiteX10" fmla="*/ 134622 w 171450"/>
                  <a:gd name="connsiteY10" fmla="*/ 11113 h 114300"/>
                  <a:gd name="connsiteX11" fmla="*/ 170817 w 171450"/>
                  <a:gd name="connsiteY11" fmla="*/ 476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1450" h="114300">
                    <a:moveTo>
                      <a:pt x="170817" y="4763"/>
                    </a:moveTo>
                    <a:cubicBezTo>
                      <a:pt x="162562" y="21908"/>
                      <a:pt x="147957" y="37783"/>
                      <a:pt x="145417" y="56833"/>
                    </a:cubicBezTo>
                    <a:cubicBezTo>
                      <a:pt x="143512" y="69533"/>
                      <a:pt x="181612" y="98108"/>
                      <a:pt x="147957" y="111442"/>
                    </a:cubicBezTo>
                    <a:cubicBezTo>
                      <a:pt x="113032" y="125413"/>
                      <a:pt x="120652" y="96203"/>
                      <a:pt x="102872" y="86042"/>
                    </a:cubicBezTo>
                    <a:cubicBezTo>
                      <a:pt x="95252" y="81597"/>
                      <a:pt x="84457" y="84772"/>
                      <a:pt x="76202" y="81597"/>
                    </a:cubicBezTo>
                    <a:cubicBezTo>
                      <a:pt x="64772" y="76517"/>
                      <a:pt x="55882" y="66992"/>
                      <a:pt x="45087" y="60642"/>
                    </a:cubicBezTo>
                    <a:cubicBezTo>
                      <a:pt x="32387" y="53022"/>
                      <a:pt x="12067" y="53658"/>
                      <a:pt x="5717" y="40322"/>
                    </a:cubicBezTo>
                    <a:cubicBezTo>
                      <a:pt x="1272" y="31433"/>
                      <a:pt x="13337" y="20003"/>
                      <a:pt x="21592" y="14922"/>
                    </a:cubicBezTo>
                    <a:cubicBezTo>
                      <a:pt x="53342" y="-4763"/>
                      <a:pt x="50802" y="21272"/>
                      <a:pt x="75567" y="27622"/>
                    </a:cubicBezTo>
                    <a:cubicBezTo>
                      <a:pt x="80012" y="28892"/>
                      <a:pt x="83822" y="23178"/>
                      <a:pt x="88267" y="21908"/>
                    </a:cubicBezTo>
                    <a:cubicBezTo>
                      <a:pt x="103507" y="17463"/>
                      <a:pt x="118747" y="14288"/>
                      <a:pt x="134622" y="11113"/>
                    </a:cubicBezTo>
                    <a:cubicBezTo>
                      <a:pt x="146687" y="8572"/>
                      <a:pt x="170817" y="4763"/>
                      <a:pt x="170817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13A24403-5B18-4AB8-A0C3-5D36CA2C5408}"/>
                  </a:ext>
                </a:extLst>
              </p:cNvPr>
              <p:cNvSpPr/>
              <p:nvPr/>
            </p:nvSpPr>
            <p:spPr>
              <a:xfrm>
                <a:off x="10167541" y="3741738"/>
                <a:ext cx="107950" cy="101600"/>
              </a:xfrm>
              <a:custGeom>
                <a:avLst/>
                <a:gdLst>
                  <a:gd name="connsiteX0" fmla="*/ 106124 w 107950"/>
                  <a:gd name="connsiteY0" fmla="*/ 4763 h 101600"/>
                  <a:gd name="connsiteX1" fmla="*/ 93424 w 107950"/>
                  <a:gd name="connsiteY1" fmla="*/ 56197 h 101600"/>
                  <a:gd name="connsiteX2" fmla="*/ 73103 w 107950"/>
                  <a:gd name="connsiteY2" fmla="*/ 61913 h 101600"/>
                  <a:gd name="connsiteX3" fmla="*/ 5159 w 107950"/>
                  <a:gd name="connsiteY3" fmla="*/ 72708 h 101600"/>
                  <a:gd name="connsiteX4" fmla="*/ 32464 w 107950"/>
                  <a:gd name="connsiteY4" fmla="*/ 60008 h 101600"/>
                  <a:gd name="connsiteX5" fmla="*/ 31828 w 107950"/>
                  <a:gd name="connsiteY5" fmla="*/ 43497 h 101600"/>
                  <a:gd name="connsiteX6" fmla="*/ 75644 w 107950"/>
                  <a:gd name="connsiteY6" fmla="*/ 31433 h 101600"/>
                  <a:gd name="connsiteX7" fmla="*/ 106124 w 107950"/>
                  <a:gd name="connsiteY7" fmla="*/ 4763 h 10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950" h="101600">
                    <a:moveTo>
                      <a:pt x="106124" y="4763"/>
                    </a:moveTo>
                    <a:cubicBezTo>
                      <a:pt x="102314" y="21908"/>
                      <a:pt x="102314" y="40958"/>
                      <a:pt x="93424" y="56197"/>
                    </a:cubicBezTo>
                    <a:cubicBezTo>
                      <a:pt x="90249" y="62547"/>
                      <a:pt x="78819" y="57467"/>
                      <a:pt x="73103" y="61913"/>
                    </a:cubicBezTo>
                    <a:cubicBezTo>
                      <a:pt x="59769" y="73342"/>
                      <a:pt x="35639" y="140017"/>
                      <a:pt x="5159" y="72708"/>
                    </a:cubicBezTo>
                    <a:cubicBezTo>
                      <a:pt x="1349" y="63183"/>
                      <a:pt x="26114" y="66992"/>
                      <a:pt x="32464" y="60008"/>
                    </a:cubicBezTo>
                    <a:cubicBezTo>
                      <a:pt x="36274" y="56197"/>
                      <a:pt x="26749" y="46672"/>
                      <a:pt x="31828" y="43497"/>
                    </a:cubicBezTo>
                    <a:cubicBezTo>
                      <a:pt x="44528" y="35242"/>
                      <a:pt x="62309" y="38417"/>
                      <a:pt x="75644" y="31433"/>
                    </a:cubicBezTo>
                    <a:cubicBezTo>
                      <a:pt x="87709" y="25083"/>
                      <a:pt x="106124" y="4763"/>
                      <a:pt x="106124" y="4763"/>
                    </a:cubicBezTo>
                    <a:close/>
                  </a:path>
                </a:pathLst>
              </a:custGeom>
              <a:solidFill>
                <a:srgbClr val="EA9C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24149318-0812-4CB9-86B1-6BD12ABC2746}"/>
                  </a:ext>
                </a:extLst>
              </p:cNvPr>
              <p:cNvSpPr/>
              <p:nvPr/>
            </p:nvSpPr>
            <p:spPr>
              <a:xfrm>
                <a:off x="7245033" y="4075748"/>
                <a:ext cx="1250950" cy="292100"/>
              </a:xfrm>
              <a:custGeom>
                <a:avLst/>
                <a:gdLst>
                  <a:gd name="connsiteX0" fmla="*/ 4762 w 1250950"/>
                  <a:gd name="connsiteY0" fmla="*/ 4762 h 292100"/>
                  <a:gd name="connsiteX1" fmla="*/ 1247457 w 1250950"/>
                  <a:gd name="connsiteY1" fmla="*/ 4762 h 292100"/>
                  <a:gd name="connsiteX2" fmla="*/ 1247457 w 1250950"/>
                  <a:gd name="connsiteY2" fmla="*/ 293053 h 292100"/>
                  <a:gd name="connsiteX3" fmla="*/ 4762 w 1250950"/>
                  <a:gd name="connsiteY3" fmla="*/ 293053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50950" h="292100">
                    <a:moveTo>
                      <a:pt x="4762" y="4762"/>
                    </a:moveTo>
                    <a:lnTo>
                      <a:pt x="1247457" y="4762"/>
                    </a:lnTo>
                    <a:lnTo>
                      <a:pt x="1247457" y="293053"/>
                    </a:lnTo>
                    <a:lnTo>
                      <a:pt x="4762" y="293053"/>
                    </a:lnTo>
                    <a:close/>
                  </a:path>
                </a:pathLst>
              </a:custGeom>
              <a:solidFill>
                <a:srgbClr val="54627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8D61C392-E783-4E91-8FA9-4A9230F31329}"/>
                  </a:ext>
                </a:extLst>
              </p:cNvPr>
              <p:cNvSpPr/>
              <p:nvPr/>
            </p:nvSpPr>
            <p:spPr>
              <a:xfrm>
                <a:off x="7461409" y="4132104"/>
                <a:ext cx="800100" cy="171450"/>
              </a:xfrm>
              <a:custGeom>
                <a:avLst/>
                <a:gdLst>
                  <a:gd name="connsiteX0" fmla="*/ 802481 w 800100"/>
                  <a:gd name="connsiteY0" fmla="*/ 127476 h 171450"/>
                  <a:gd name="connsiteX1" fmla="*/ 760571 w 800100"/>
                  <a:gd name="connsiteY1" fmla="*/ 169387 h 171450"/>
                  <a:gd name="connsiteX2" fmla="*/ 44291 w 800100"/>
                  <a:gd name="connsiteY2" fmla="*/ 169387 h 171450"/>
                  <a:gd name="connsiteX3" fmla="*/ 2381 w 800100"/>
                  <a:gd name="connsiteY3" fmla="*/ 127476 h 171450"/>
                  <a:gd name="connsiteX4" fmla="*/ 2381 w 800100"/>
                  <a:gd name="connsiteY4" fmla="*/ 44291 h 171450"/>
                  <a:gd name="connsiteX5" fmla="*/ 44291 w 800100"/>
                  <a:gd name="connsiteY5" fmla="*/ 2381 h 171450"/>
                  <a:gd name="connsiteX6" fmla="*/ 759936 w 800100"/>
                  <a:gd name="connsiteY6" fmla="*/ 2381 h 171450"/>
                  <a:gd name="connsiteX7" fmla="*/ 801846 w 800100"/>
                  <a:gd name="connsiteY7" fmla="*/ 44291 h 171450"/>
                  <a:gd name="connsiteX8" fmla="*/ 801846 w 800100"/>
                  <a:gd name="connsiteY8" fmla="*/ 127476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0100" h="171450">
                    <a:moveTo>
                      <a:pt x="802481" y="127476"/>
                    </a:moveTo>
                    <a:cubicBezTo>
                      <a:pt x="802481" y="150971"/>
                      <a:pt x="783431" y="169387"/>
                      <a:pt x="760571" y="169387"/>
                    </a:cubicBezTo>
                    <a:lnTo>
                      <a:pt x="44291" y="169387"/>
                    </a:lnTo>
                    <a:cubicBezTo>
                      <a:pt x="20796" y="169387"/>
                      <a:pt x="2381" y="150337"/>
                      <a:pt x="2381" y="127476"/>
                    </a:cubicBezTo>
                    <a:lnTo>
                      <a:pt x="2381" y="44291"/>
                    </a:lnTo>
                    <a:cubicBezTo>
                      <a:pt x="2381" y="21431"/>
                      <a:pt x="21431" y="2381"/>
                      <a:pt x="44291" y="2381"/>
                    </a:cubicBezTo>
                    <a:lnTo>
                      <a:pt x="759936" y="2381"/>
                    </a:lnTo>
                    <a:cubicBezTo>
                      <a:pt x="783431" y="2381"/>
                      <a:pt x="801846" y="21431"/>
                      <a:pt x="801846" y="44291"/>
                    </a:cubicBezTo>
                    <a:lnTo>
                      <a:pt x="801846" y="127476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5F0A0FF5-A817-4863-BC76-F3F0392B0A93}"/>
                  </a:ext>
                </a:extLst>
              </p:cNvPr>
              <p:cNvSpPr/>
              <p:nvPr/>
            </p:nvSpPr>
            <p:spPr>
              <a:xfrm>
                <a:off x="7317422" y="3792538"/>
                <a:ext cx="1104900" cy="292100"/>
              </a:xfrm>
              <a:custGeom>
                <a:avLst/>
                <a:gdLst>
                  <a:gd name="connsiteX0" fmla="*/ 4762 w 1104900"/>
                  <a:gd name="connsiteY0" fmla="*/ 4763 h 292100"/>
                  <a:gd name="connsiteX1" fmla="*/ 1105853 w 1104900"/>
                  <a:gd name="connsiteY1" fmla="*/ 4763 h 292100"/>
                  <a:gd name="connsiteX2" fmla="*/ 1105853 w 1104900"/>
                  <a:gd name="connsiteY2" fmla="*/ 287972 h 292100"/>
                  <a:gd name="connsiteX3" fmla="*/ 4762 w 1104900"/>
                  <a:gd name="connsiteY3" fmla="*/ 287972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04900" h="292100">
                    <a:moveTo>
                      <a:pt x="4762" y="4763"/>
                    </a:moveTo>
                    <a:lnTo>
                      <a:pt x="1105853" y="4763"/>
                    </a:lnTo>
                    <a:lnTo>
                      <a:pt x="1105853" y="287972"/>
                    </a:lnTo>
                    <a:lnTo>
                      <a:pt x="4762" y="287972"/>
                    </a:lnTo>
                    <a:close/>
                  </a:path>
                </a:pathLst>
              </a:custGeom>
              <a:solidFill>
                <a:srgbClr val="F65B4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E65AD4D2-AB6C-4576-B782-426E52524C80}"/>
                  </a:ext>
                </a:extLst>
              </p:cNvPr>
              <p:cNvSpPr/>
              <p:nvPr/>
            </p:nvSpPr>
            <p:spPr>
              <a:xfrm>
                <a:off x="7698899" y="3833654"/>
                <a:ext cx="342900" cy="203200"/>
              </a:xfrm>
              <a:custGeom>
                <a:avLst/>
                <a:gdLst>
                  <a:gd name="connsiteX0" fmla="*/ 346551 w 342900"/>
                  <a:gd name="connsiteY0" fmla="*/ 163037 h 203200"/>
                  <a:gd name="connsiteX1" fmla="*/ 304641 w 342900"/>
                  <a:gd name="connsiteY1" fmla="*/ 204946 h 203200"/>
                  <a:gd name="connsiteX2" fmla="*/ 44291 w 342900"/>
                  <a:gd name="connsiteY2" fmla="*/ 204946 h 203200"/>
                  <a:gd name="connsiteX3" fmla="*/ 2381 w 342900"/>
                  <a:gd name="connsiteY3" fmla="*/ 163037 h 203200"/>
                  <a:gd name="connsiteX4" fmla="*/ 2381 w 342900"/>
                  <a:gd name="connsiteY4" fmla="*/ 44291 h 203200"/>
                  <a:gd name="connsiteX5" fmla="*/ 44291 w 342900"/>
                  <a:gd name="connsiteY5" fmla="*/ 2381 h 203200"/>
                  <a:gd name="connsiteX6" fmla="*/ 304641 w 342900"/>
                  <a:gd name="connsiteY6" fmla="*/ 2381 h 203200"/>
                  <a:gd name="connsiteX7" fmla="*/ 346551 w 342900"/>
                  <a:gd name="connsiteY7" fmla="*/ 44291 h 203200"/>
                  <a:gd name="connsiteX8" fmla="*/ 346551 w 342900"/>
                  <a:gd name="connsiteY8" fmla="*/ 163037 h 20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900" h="203200">
                    <a:moveTo>
                      <a:pt x="346551" y="163037"/>
                    </a:moveTo>
                    <a:cubicBezTo>
                      <a:pt x="346551" y="186531"/>
                      <a:pt x="327501" y="204946"/>
                      <a:pt x="304641" y="204946"/>
                    </a:cubicBezTo>
                    <a:lnTo>
                      <a:pt x="44291" y="204946"/>
                    </a:lnTo>
                    <a:cubicBezTo>
                      <a:pt x="20796" y="204946"/>
                      <a:pt x="2381" y="185896"/>
                      <a:pt x="2381" y="163037"/>
                    </a:cubicBezTo>
                    <a:lnTo>
                      <a:pt x="2381" y="44291"/>
                    </a:lnTo>
                    <a:cubicBezTo>
                      <a:pt x="2381" y="20796"/>
                      <a:pt x="21431" y="2381"/>
                      <a:pt x="44291" y="2381"/>
                    </a:cubicBezTo>
                    <a:lnTo>
                      <a:pt x="304641" y="2381"/>
                    </a:lnTo>
                    <a:cubicBezTo>
                      <a:pt x="328136" y="2381"/>
                      <a:pt x="346551" y="21431"/>
                      <a:pt x="346551" y="44291"/>
                    </a:cubicBezTo>
                    <a:lnTo>
                      <a:pt x="346551" y="163037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5E43E486-71D0-48AA-B1F8-46DC02597ED9}"/>
                  </a:ext>
                </a:extLst>
              </p:cNvPr>
              <p:cNvSpPr/>
              <p:nvPr/>
            </p:nvSpPr>
            <p:spPr>
              <a:xfrm>
                <a:off x="7375684" y="3843179"/>
                <a:ext cx="184150" cy="184150"/>
              </a:xfrm>
              <a:custGeom>
                <a:avLst/>
                <a:gdLst>
                  <a:gd name="connsiteX0" fmla="*/ 187801 w 184150"/>
                  <a:gd name="connsiteY0" fmla="*/ 95091 h 184150"/>
                  <a:gd name="connsiteX1" fmla="*/ 95091 w 184150"/>
                  <a:gd name="connsiteY1" fmla="*/ 187801 h 184150"/>
                  <a:gd name="connsiteX2" fmla="*/ 2381 w 184150"/>
                  <a:gd name="connsiteY2" fmla="*/ 95091 h 184150"/>
                  <a:gd name="connsiteX3" fmla="*/ 95091 w 184150"/>
                  <a:gd name="connsiteY3" fmla="*/ 2381 h 184150"/>
                  <a:gd name="connsiteX4" fmla="*/ 187801 w 184150"/>
                  <a:gd name="connsiteY4" fmla="*/ 95091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150" h="184150">
                    <a:moveTo>
                      <a:pt x="187801" y="95091"/>
                    </a:moveTo>
                    <a:cubicBezTo>
                      <a:pt x="187801" y="146526"/>
                      <a:pt x="146526" y="187801"/>
                      <a:pt x="95091" y="187801"/>
                    </a:cubicBezTo>
                    <a:cubicBezTo>
                      <a:pt x="43656" y="187801"/>
                      <a:pt x="2381" y="146526"/>
                      <a:pt x="2381" y="95091"/>
                    </a:cubicBezTo>
                    <a:cubicBezTo>
                      <a:pt x="2381" y="43656"/>
                      <a:pt x="43656" y="2381"/>
                      <a:pt x="95091" y="2381"/>
                    </a:cubicBezTo>
                    <a:cubicBezTo>
                      <a:pt x="145891" y="2381"/>
                      <a:pt x="187801" y="43656"/>
                      <a:pt x="187801" y="95091"/>
                    </a:cubicBezTo>
                    <a:close/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D43FA984-D11F-4504-B2FF-CAB69CED818F}"/>
                  </a:ext>
                </a:extLst>
              </p:cNvPr>
              <p:cNvSpPr/>
              <p:nvPr/>
            </p:nvSpPr>
            <p:spPr>
              <a:xfrm>
                <a:off x="8184038" y="3843814"/>
                <a:ext cx="184150" cy="184150"/>
              </a:xfrm>
              <a:custGeom>
                <a:avLst/>
                <a:gdLst>
                  <a:gd name="connsiteX0" fmla="*/ 187802 w 184150"/>
                  <a:gd name="connsiteY0" fmla="*/ 95091 h 184150"/>
                  <a:gd name="connsiteX1" fmla="*/ 95092 w 184150"/>
                  <a:gd name="connsiteY1" fmla="*/ 187801 h 184150"/>
                  <a:gd name="connsiteX2" fmla="*/ 2381 w 184150"/>
                  <a:gd name="connsiteY2" fmla="*/ 95091 h 184150"/>
                  <a:gd name="connsiteX3" fmla="*/ 95092 w 184150"/>
                  <a:gd name="connsiteY3" fmla="*/ 2381 h 184150"/>
                  <a:gd name="connsiteX4" fmla="*/ 187802 w 184150"/>
                  <a:gd name="connsiteY4" fmla="*/ 95091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150" h="184150">
                    <a:moveTo>
                      <a:pt x="187802" y="95091"/>
                    </a:moveTo>
                    <a:cubicBezTo>
                      <a:pt x="187802" y="146526"/>
                      <a:pt x="146527" y="187801"/>
                      <a:pt x="95092" y="187801"/>
                    </a:cubicBezTo>
                    <a:cubicBezTo>
                      <a:pt x="43656" y="187801"/>
                      <a:pt x="2381" y="146526"/>
                      <a:pt x="2381" y="95091"/>
                    </a:cubicBezTo>
                    <a:cubicBezTo>
                      <a:pt x="2381" y="43656"/>
                      <a:pt x="43656" y="2381"/>
                      <a:pt x="95092" y="2381"/>
                    </a:cubicBezTo>
                    <a:cubicBezTo>
                      <a:pt x="146527" y="2381"/>
                      <a:pt x="187802" y="43656"/>
                      <a:pt x="187802" y="95091"/>
                    </a:cubicBezTo>
                    <a:close/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C67E689E-0164-402F-BBE2-C48D538CEF2B}"/>
                  </a:ext>
                </a:extLst>
              </p:cNvPr>
              <p:cNvSpPr/>
              <p:nvPr/>
            </p:nvSpPr>
            <p:spPr>
              <a:xfrm>
                <a:off x="7406322" y="3479483"/>
                <a:ext cx="857250" cy="317500"/>
              </a:xfrm>
              <a:custGeom>
                <a:avLst/>
                <a:gdLst>
                  <a:gd name="connsiteX0" fmla="*/ 165418 w 857250"/>
                  <a:gd name="connsiteY0" fmla="*/ 32702 h 317500"/>
                  <a:gd name="connsiteX1" fmla="*/ 857568 w 857250"/>
                  <a:gd name="connsiteY1" fmla="*/ 32702 h 317500"/>
                  <a:gd name="connsiteX2" fmla="*/ 857568 w 857250"/>
                  <a:gd name="connsiteY2" fmla="*/ 4763 h 317500"/>
                  <a:gd name="connsiteX3" fmla="*/ 160972 w 857250"/>
                  <a:gd name="connsiteY3" fmla="*/ 4763 h 317500"/>
                  <a:gd name="connsiteX4" fmla="*/ 4763 w 857250"/>
                  <a:gd name="connsiteY4" fmla="*/ 160972 h 317500"/>
                  <a:gd name="connsiteX5" fmla="*/ 160972 w 857250"/>
                  <a:gd name="connsiteY5" fmla="*/ 317183 h 317500"/>
                  <a:gd name="connsiteX6" fmla="*/ 857568 w 857250"/>
                  <a:gd name="connsiteY6" fmla="*/ 317183 h 317500"/>
                  <a:gd name="connsiteX7" fmla="*/ 857568 w 857250"/>
                  <a:gd name="connsiteY7" fmla="*/ 289242 h 317500"/>
                  <a:gd name="connsiteX8" fmla="*/ 165418 w 857250"/>
                  <a:gd name="connsiteY8" fmla="*/ 289242 h 317500"/>
                  <a:gd name="connsiteX9" fmla="*/ 32703 w 857250"/>
                  <a:gd name="connsiteY9" fmla="*/ 160972 h 317500"/>
                  <a:gd name="connsiteX10" fmla="*/ 165418 w 857250"/>
                  <a:gd name="connsiteY10" fmla="*/ 32702 h 317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57250" h="317500">
                    <a:moveTo>
                      <a:pt x="165418" y="32702"/>
                    </a:moveTo>
                    <a:lnTo>
                      <a:pt x="857568" y="32702"/>
                    </a:lnTo>
                    <a:lnTo>
                      <a:pt x="857568" y="4763"/>
                    </a:lnTo>
                    <a:lnTo>
                      <a:pt x="160972" y="4763"/>
                    </a:lnTo>
                    <a:cubicBezTo>
                      <a:pt x="74613" y="4763"/>
                      <a:pt x="4763" y="74613"/>
                      <a:pt x="4763" y="160972"/>
                    </a:cubicBezTo>
                    <a:cubicBezTo>
                      <a:pt x="4763" y="247333"/>
                      <a:pt x="74613" y="317183"/>
                      <a:pt x="160972" y="317183"/>
                    </a:cubicBezTo>
                    <a:lnTo>
                      <a:pt x="857568" y="317183"/>
                    </a:lnTo>
                    <a:lnTo>
                      <a:pt x="857568" y="289242"/>
                    </a:lnTo>
                    <a:lnTo>
                      <a:pt x="165418" y="289242"/>
                    </a:lnTo>
                    <a:cubicBezTo>
                      <a:pt x="92393" y="289242"/>
                      <a:pt x="32703" y="231458"/>
                      <a:pt x="32703" y="160972"/>
                    </a:cubicBezTo>
                    <a:cubicBezTo>
                      <a:pt x="32068" y="90488"/>
                      <a:pt x="91758" y="32702"/>
                      <a:pt x="165418" y="32702"/>
                    </a:cubicBezTo>
                    <a:close/>
                  </a:path>
                </a:pathLst>
              </a:custGeom>
              <a:solidFill>
                <a:srgbClr val="F5C3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D7FE52BE-6073-4A0D-9FD6-FB8D51EE3116}"/>
                  </a:ext>
                </a:extLst>
              </p:cNvPr>
              <p:cNvSpPr/>
              <p:nvPr/>
            </p:nvSpPr>
            <p:spPr>
              <a:xfrm>
                <a:off x="7434263" y="3507422"/>
                <a:ext cx="831850" cy="260350"/>
              </a:xfrm>
              <a:custGeom>
                <a:avLst/>
                <a:gdLst>
                  <a:gd name="connsiteX0" fmla="*/ 766128 w 831850"/>
                  <a:gd name="connsiteY0" fmla="*/ 133033 h 260350"/>
                  <a:gd name="connsiteX1" fmla="*/ 829628 w 831850"/>
                  <a:gd name="connsiteY1" fmla="*/ 8573 h 260350"/>
                  <a:gd name="connsiteX2" fmla="*/ 829628 w 831850"/>
                  <a:gd name="connsiteY2" fmla="*/ 4763 h 260350"/>
                  <a:gd name="connsiteX3" fmla="*/ 137478 w 831850"/>
                  <a:gd name="connsiteY3" fmla="*/ 4763 h 260350"/>
                  <a:gd name="connsiteX4" fmla="*/ 4763 w 831850"/>
                  <a:gd name="connsiteY4" fmla="*/ 133033 h 260350"/>
                  <a:gd name="connsiteX5" fmla="*/ 137478 w 831850"/>
                  <a:gd name="connsiteY5" fmla="*/ 261303 h 260350"/>
                  <a:gd name="connsiteX6" fmla="*/ 829628 w 831850"/>
                  <a:gd name="connsiteY6" fmla="*/ 261303 h 260350"/>
                  <a:gd name="connsiteX7" fmla="*/ 829628 w 831850"/>
                  <a:gd name="connsiteY7" fmla="*/ 256858 h 260350"/>
                  <a:gd name="connsiteX8" fmla="*/ 766128 w 831850"/>
                  <a:gd name="connsiteY8" fmla="*/ 133033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1850" h="260350">
                    <a:moveTo>
                      <a:pt x="766128" y="133033"/>
                    </a:moveTo>
                    <a:cubicBezTo>
                      <a:pt x="766128" y="82233"/>
                      <a:pt x="790893" y="36513"/>
                      <a:pt x="829628" y="8573"/>
                    </a:cubicBezTo>
                    <a:lnTo>
                      <a:pt x="829628" y="4763"/>
                    </a:lnTo>
                    <a:lnTo>
                      <a:pt x="137478" y="4763"/>
                    </a:lnTo>
                    <a:cubicBezTo>
                      <a:pt x="64453" y="4763"/>
                      <a:pt x="4763" y="62548"/>
                      <a:pt x="4763" y="133033"/>
                    </a:cubicBezTo>
                    <a:cubicBezTo>
                      <a:pt x="4763" y="203518"/>
                      <a:pt x="64453" y="261303"/>
                      <a:pt x="137478" y="261303"/>
                    </a:cubicBezTo>
                    <a:lnTo>
                      <a:pt x="829628" y="261303"/>
                    </a:lnTo>
                    <a:lnTo>
                      <a:pt x="829628" y="256858"/>
                    </a:lnTo>
                    <a:cubicBezTo>
                      <a:pt x="791528" y="229553"/>
                      <a:pt x="766128" y="184468"/>
                      <a:pt x="766128" y="1330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93A0EBB4-A294-4E3C-AB44-DA321CAE2942}"/>
                  </a:ext>
                </a:extLst>
              </p:cNvPr>
              <p:cNvSpPr/>
              <p:nvPr/>
            </p:nvSpPr>
            <p:spPr>
              <a:xfrm>
                <a:off x="7598093" y="3599497"/>
                <a:ext cx="152400" cy="260350"/>
              </a:xfrm>
              <a:custGeom>
                <a:avLst/>
                <a:gdLst>
                  <a:gd name="connsiteX0" fmla="*/ 148272 w 152400"/>
                  <a:gd name="connsiteY0" fmla="*/ 261303 h 260350"/>
                  <a:gd name="connsiteX1" fmla="*/ 81597 w 152400"/>
                  <a:gd name="connsiteY1" fmla="*/ 219393 h 260350"/>
                  <a:gd name="connsiteX2" fmla="*/ 4763 w 152400"/>
                  <a:gd name="connsiteY2" fmla="*/ 261303 h 260350"/>
                  <a:gd name="connsiteX3" fmla="*/ 4763 w 152400"/>
                  <a:gd name="connsiteY3" fmla="*/ 4763 h 260350"/>
                  <a:gd name="connsiteX4" fmla="*/ 148272 w 152400"/>
                  <a:gd name="connsiteY4" fmla="*/ 4763 h 26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400" h="260350">
                    <a:moveTo>
                      <a:pt x="148272" y="261303"/>
                    </a:moveTo>
                    <a:lnTo>
                      <a:pt x="81597" y="219393"/>
                    </a:lnTo>
                    <a:lnTo>
                      <a:pt x="4763" y="261303"/>
                    </a:lnTo>
                    <a:lnTo>
                      <a:pt x="4763" y="4763"/>
                    </a:lnTo>
                    <a:lnTo>
                      <a:pt x="148272" y="4763"/>
                    </a:lnTo>
                    <a:close/>
                  </a:path>
                </a:pathLst>
              </a:custGeom>
              <a:solidFill>
                <a:srgbClr val="F99B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8904F809-B33B-4A4D-AF2C-E7AAE75746A2}"/>
                  </a:ext>
                </a:extLst>
              </p:cNvPr>
              <p:cNvSpPr/>
              <p:nvPr/>
            </p:nvSpPr>
            <p:spPr>
              <a:xfrm>
                <a:off x="7527607" y="3281363"/>
                <a:ext cx="615950" cy="228600"/>
              </a:xfrm>
              <a:custGeom>
                <a:avLst/>
                <a:gdLst>
                  <a:gd name="connsiteX0" fmla="*/ 119698 w 615950"/>
                  <a:gd name="connsiteY0" fmla="*/ 25083 h 228600"/>
                  <a:gd name="connsiteX1" fmla="*/ 615633 w 615950"/>
                  <a:gd name="connsiteY1" fmla="*/ 25083 h 228600"/>
                  <a:gd name="connsiteX2" fmla="*/ 615633 w 615950"/>
                  <a:gd name="connsiteY2" fmla="*/ 4763 h 228600"/>
                  <a:gd name="connsiteX3" fmla="*/ 116523 w 615950"/>
                  <a:gd name="connsiteY3" fmla="*/ 4763 h 228600"/>
                  <a:gd name="connsiteX4" fmla="*/ 4763 w 615950"/>
                  <a:gd name="connsiteY4" fmla="*/ 116522 h 228600"/>
                  <a:gd name="connsiteX5" fmla="*/ 116523 w 615950"/>
                  <a:gd name="connsiteY5" fmla="*/ 228283 h 228600"/>
                  <a:gd name="connsiteX6" fmla="*/ 615633 w 615950"/>
                  <a:gd name="connsiteY6" fmla="*/ 228283 h 228600"/>
                  <a:gd name="connsiteX7" fmla="*/ 615633 w 615950"/>
                  <a:gd name="connsiteY7" fmla="*/ 207963 h 228600"/>
                  <a:gd name="connsiteX8" fmla="*/ 119698 w 615950"/>
                  <a:gd name="connsiteY8" fmla="*/ 207963 h 228600"/>
                  <a:gd name="connsiteX9" fmla="*/ 24448 w 615950"/>
                  <a:gd name="connsiteY9" fmla="*/ 115888 h 228600"/>
                  <a:gd name="connsiteX10" fmla="*/ 119698 w 615950"/>
                  <a:gd name="connsiteY10" fmla="*/ 25083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15950" h="228600">
                    <a:moveTo>
                      <a:pt x="119698" y="25083"/>
                    </a:moveTo>
                    <a:lnTo>
                      <a:pt x="615633" y="25083"/>
                    </a:lnTo>
                    <a:lnTo>
                      <a:pt x="615633" y="4763"/>
                    </a:lnTo>
                    <a:lnTo>
                      <a:pt x="116523" y="4763"/>
                    </a:lnTo>
                    <a:cubicBezTo>
                      <a:pt x="54928" y="4763"/>
                      <a:pt x="4763" y="54928"/>
                      <a:pt x="4763" y="116522"/>
                    </a:cubicBezTo>
                    <a:cubicBezTo>
                      <a:pt x="4763" y="178117"/>
                      <a:pt x="54928" y="228283"/>
                      <a:pt x="116523" y="228283"/>
                    </a:cubicBezTo>
                    <a:lnTo>
                      <a:pt x="615633" y="228283"/>
                    </a:lnTo>
                    <a:lnTo>
                      <a:pt x="615633" y="207963"/>
                    </a:lnTo>
                    <a:lnTo>
                      <a:pt x="119698" y="207963"/>
                    </a:lnTo>
                    <a:cubicBezTo>
                      <a:pt x="66993" y="207963"/>
                      <a:pt x="24448" y="166688"/>
                      <a:pt x="24448" y="115888"/>
                    </a:cubicBezTo>
                    <a:cubicBezTo>
                      <a:pt x="24448" y="65088"/>
                      <a:pt x="66993" y="25083"/>
                      <a:pt x="119698" y="25083"/>
                    </a:cubicBezTo>
                    <a:close/>
                  </a:path>
                </a:pathLst>
              </a:custGeom>
              <a:solidFill>
                <a:srgbClr val="1D9DB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777AD591-61F8-4923-883E-769C1E3DE0E2}"/>
                  </a:ext>
                </a:extLst>
              </p:cNvPr>
              <p:cNvSpPr/>
              <p:nvPr/>
            </p:nvSpPr>
            <p:spPr>
              <a:xfrm>
                <a:off x="7546657" y="3301683"/>
                <a:ext cx="596900" cy="190500"/>
              </a:xfrm>
              <a:custGeom>
                <a:avLst/>
                <a:gdLst>
                  <a:gd name="connsiteX0" fmla="*/ 550863 w 596900"/>
                  <a:gd name="connsiteY0" fmla="*/ 96838 h 190500"/>
                  <a:gd name="connsiteX1" fmla="*/ 595948 w 596900"/>
                  <a:gd name="connsiteY1" fmla="*/ 7938 h 190500"/>
                  <a:gd name="connsiteX2" fmla="*/ 595948 w 596900"/>
                  <a:gd name="connsiteY2" fmla="*/ 4763 h 190500"/>
                  <a:gd name="connsiteX3" fmla="*/ 100013 w 596900"/>
                  <a:gd name="connsiteY3" fmla="*/ 4763 h 190500"/>
                  <a:gd name="connsiteX4" fmla="*/ 4763 w 596900"/>
                  <a:gd name="connsiteY4" fmla="*/ 96838 h 190500"/>
                  <a:gd name="connsiteX5" fmla="*/ 100013 w 596900"/>
                  <a:gd name="connsiteY5" fmla="*/ 188913 h 190500"/>
                  <a:gd name="connsiteX6" fmla="*/ 595948 w 596900"/>
                  <a:gd name="connsiteY6" fmla="*/ 188913 h 190500"/>
                  <a:gd name="connsiteX7" fmla="*/ 595948 w 596900"/>
                  <a:gd name="connsiteY7" fmla="*/ 185738 h 190500"/>
                  <a:gd name="connsiteX8" fmla="*/ 550863 w 596900"/>
                  <a:gd name="connsiteY8" fmla="*/ 96838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6900" h="190500">
                    <a:moveTo>
                      <a:pt x="550863" y="96838"/>
                    </a:moveTo>
                    <a:cubicBezTo>
                      <a:pt x="550863" y="60008"/>
                      <a:pt x="568643" y="27622"/>
                      <a:pt x="595948" y="7938"/>
                    </a:cubicBezTo>
                    <a:lnTo>
                      <a:pt x="595948" y="4763"/>
                    </a:lnTo>
                    <a:lnTo>
                      <a:pt x="100013" y="4763"/>
                    </a:lnTo>
                    <a:cubicBezTo>
                      <a:pt x="47308" y="4763"/>
                      <a:pt x="4763" y="46038"/>
                      <a:pt x="4763" y="96838"/>
                    </a:cubicBezTo>
                    <a:cubicBezTo>
                      <a:pt x="4763" y="147638"/>
                      <a:pt x="47308" y="188913"/>
                      <a:pt x="100013" y="188913"/>
                    </a:cubicBezTo>
                    <a:lnTo>
                      <a:pt x="595948" y="188913"/>
                    </a:lnTo>
                    <a:lnTo>
                      <a:pt x="595948" y="185738"/>
                    </a:lnTo>
                    <a:cubicBezTo>
                      <a:pt x="568643" y="165417"/>
                      <a:pt x="550863" y="133667"/>
                      <a:pt x="550863" y="968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6B654768-6F0E-40F4-9D89-3002A52CB7F2}"/>
                  </a:ext>
                </a:extLst>
              </p:cNvPr>
              <p:cNvSpPr/>
              <p:nvPr/>
            </p:nvSpPr>
            <p:spPr>
              <a:xfrm>
                <a:off x="7664768" y="3367722"/>
                <a:ext cx="107950" cy="190500"/>
              </a:xfrm>
              <a:custGeom>
                <a:avLst/>
                <a:gdLst>
                  <a:gd name="connsiteX0" fmla="*/ 107632 w 107950"/>
                  <a:gd name="connsiteY0" fmla="*/ 188278 h 190500"/>
                  <a:gd name="connsiteX1" fmla="*/ 60007 w 107950"/>
                  <a:gd name="connsiteY1" fmla="*/ 158433 h 190500"/>
                  <a:gd name="connsiteX2" fmla="*/ 4763 w 107950"/>
                  <a:gd name="connsiteY2" fmla="*/ 188278 h 190500"/>
                  <a:gd name="connsiteX3" fmla="*/ 4763 w 107950"/>
                  <a:gd name="connsiteY3" fmla="*/ 4763 h 190500"/>
                  <a:gd name="connsiteX4" fmla="*/ 107632 w 107950"/>
                  <a:gd name="connsiteY4" fmla="*/ 4763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950" h="190500">
                    <a:moveTo>
                      <a:pt x="107632" y="188278"/>
                    </a:moveTo>
                    <a:lnTo>
                      <a:pt x="60007" y="158433"/>
                    </a:lnTo>
                    <a:lnTo>
                      <a:pt x="4763" y="188278"/>
                    </a:lnTo>
                    <a:lnTo>
                      <a:pt x="4763" y="4763"/>
                    </a:lnTo>
                    <a:lnTo>
                      <a:pt x="107632" y="4763"/>
                    </a:lnTo>
                    <a:close/>
                  </a:path>
                </a:pathLst>
              </a:custGeom>
              <a:solidFill>
                <a:srgbClr val="F99B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86B5D105-7CA6-468B-BEFC-0874DC7F17A3}"/>
                  </a:ext>
                </a:extLst>
              </p:cNvPr>
              <p:cNvSpPr/>
              <p:nvPr/>
            </p:nvSpPr>
            <p:spPr>
              <a:xfrm>
                <a:off x="8231188" y="5491163"/>
                <a:ext cx="2241550" cy="88900"/>
              </a:xfrm>
              <a:custGeom>
                <a:avLst/>
                <a:gdLst>
                  <a:gd name="connsiteX0" fmla="*/ 2191703 w 2241550"/>
                  <a:gd name="connsiteY0" fmla="*/ 54292 h 88900"/>
                  <a:gd name="connsiteX1" fmla="*/ 54293 w 2241550"/>
                  <a:gd name="connsiteY1" fmla="*/ 54292 h 88900"/>
                  <a:gd name="connsiteX2" fmla="*/ 4763 w 2241550"/>
                  <a:gd name="connsiteY2" fmla="*/ 4763 h 88900"/>
                  <a:gd name="connsiteX3" fmla="*/ 4763 w 2241550"/>
                  <a:gd name="connsiteY3" fmla="*/ 40322 h 88900"/>
                  <a:gd name="connsiteX4" fmla="*/ 54293 w 2241550"/>
                  <a:gd name="connsiteY4" fmla="*/ 89853 h 88900"/>
                  <a:gd name="connsiteX5" fmla="*/ 2191703 w 2241550"/>
                  <a:gd name="connsiteY5" fmla="*/ 89853 h 88900"/>
                  <a:gd name="connsiteX6" fmla="*/ 2241232 w 2241550"/>
                  <a:gd name="connsiteY6" fmla="*/ 40322 h 88900"/>
                  <a:gd name="connsiteX7" fmla="*/ 2241232 w 2241550"/>
                  <a:gd name="connsiteY7" fmla="*/ 4763 h 88900"/>
                  <a:gd name="connsiteX8" fmla="*/ 2191703 w 2241550"/>
                  <a:gd name="connsiteY8" fmla="*/ 54292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41550" h="88900">
                    <a:moveTo>
                      <a:pt x="2191703" y="54292"/>
                    </a:moveTo>
                    <a:lnTo>
                      <a:pt x="54293" y="54292"/>
                    </a:lnTo>
                    <a:cubicBezTo>
                      <a:pt x="26988" y="54292"/>
                      <a:pt x="4763" y="32067"/>
                      <a:pt x="4763" y="4763"/>
                    </a:cubicBezTo>
                    <a:lnTo>
                      <a:pt x="4763" y="40322"/>
                    </a:lnTo>
                    <a:cubicBezTo>
                      <a:pt x="4763" y="67628"/>
                      <a:pt x="26988" y="89853"/>
                      <a:pt x="54293" y="89853"/>
                    </a:cubicBezTo>
                    <a:lnTo>
                      <a:pt x="2191703" y="89853"/>
                    </a:lnTo>
                    <a:cubicBezTo>
                      <a:pt x="2219007" y="89853"/>
                      <a:pt x="2241232" y="67628"/>
                      <a:pt x="2241232" y="40322"/>
                    </a:cubicBezTo>
                    <a:lnTo>
                      <a:pt x="2241232" y="4763"/>
                    </a:lnTo>
                    <a:cubicBezTo>
                      <a:pt x="2241232" y="32067"/>
                      <a:pt x="2219007" y="54292"/>
                      <a:pt x="2191703" y="54292"/>
                    </a:cubicBezTo>
                    <a:close/>
                  </a:path>
                </a:pathLst>
              </a:custGeom>
              <a:solidFill>
                <a:srgbClr val="ABA9A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0A765A08-DD4F-4A3B-A529-D3D9FD481AFD}"/>
                  </a:ext>
                </a:extLst>
              </p:cNvPr>
              <p:cNvSpPr/>
              <p:nvPr/>
            </p:nvSpPr>
            <p:spPr>
              <a:xfrm>
                <a:off x="8231188" y="4693603"/>
                <a:ext cx="2241550" cy="850900"/>
              </a:xfrm>
              <a:custGeom>
                <a:avLst/>
                <a:gdLst>
                  <a:gd name="connsiteX0" fmla="*/ 2241232 w 2241550"/>
                  <a:gd name="connsiteY0" fmla="*/ 802322 h 850900"/>
                  <a:gd name="connsiteX1" fmla="*/ 2191703 w 2241550"/>
                  <a:gd name="connsiteY1" fmla="*/ 851852 h 850900"/>
                  <a:gd name="connsiteX2" fmla="*/ 54293 w 2241550"/>
                  <a:gd name="connsiteY2" fmla="*/ 851852 h 850900"/>
                  <a:gd name="connsiteX3" fmla="*/ 4763 w 2241550"/>
                  <a:gd name="connsiteY3" fmla="*/ 802322 h 850900"/>
                  <a:gd name="connsiteX4" fmla="*/ 4763 w 2241550"/>
                  <a:gd name="connsiteY4" fmla="*/ 54292 h 850900"/>
                  <a:gd name="connsiteX5" fmla="*/ 54293 w 2241550"/>
                  <a:gd name="connsiteY5" fmla="*/ 4763 h 850900"/>
                  <a:gd name="connsiteX6" fmla="*/ 2191703 w 2241550"/>
                  <a:gd name="connsiteY6" fmla="*/ 4763 h 850900"/>
                  <a:gd name="connsiteX7" fmla="*/ 2241232 w 2241550"/>
                  <a:gd name="connsiteY7" fmla="*/ 54292 h 850900"/>
                  <a:gd name="connsiteX8" fmla="*/ 2241232 w 2241550"/>
                  <a:gd name="connsiteY8" fmla="*/ 802322 h 850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41550" h="850900">
                    <a:moveTo>
                      <a:pt x="2241232" y="802322"/>
                    </a:moveTo>
                    <a:cubicBezTo>
                      <a:pt x="2241232" y="829627"/>
                      <a:pt x="2219007" y="851852"/>
                      <a:pt x="2191703" y="851852"/>
                    </a:cubicBezTo>
                    <a:lnTo>
                      <a:pt x="54293" y="851852"/>
                    </a:lnTo>
                    <a:cubicBezTo>
                      <a:pt x="26988" y="851852"/>
                      <a:pt x="4763" y="829627"/>
                      <a:pt x="4763" y="802322"/>
                    </a:cubicBezTo>
                    <a:lnTo>
                      <a:pt x="4763" y="54292"/>
                    </a:lnTo>
                    <a:cubicBezTo>
                      <a:pt x="4763" y="26988"/>
                      <a:pt x="26988" y="4763"/>
                      <a:pt x="54293" y="4763"/>
                    </a:cubicBezTo>
                    <a:lnTo>
                      <a:pt x="2191703" y="4763"/>
                    </a:lnTo>
                    <a:cubicBezTo>
                      <a:pt x="2219007" y="4763"/>
                      <a:pt x="2241232" y="26988"/>
                      <a:pt x="2241232" y="54292"/>
                    </a:cubicBezTo>
                    <a:lnTo>
                      <a:pt x="2241232" y="80232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4BE314D7-5979-4528-9FE3-B36277E93AD6}"/>
                  </a:ext>
                </a:extLst>
              </p:cNvPr>
              <p:cNvSpPr/>
              <p:nvPr/>
            </p:nvSpPr>
            <p:spPr>
              <a:xfrm>
                <a:off x="8385493" y="4985703"/>
                <a:ext cx="152400" cy="31750"/>
              </a:xfrm>
              <a:custGeom>
                <a:avLst/>
                <a:gdLst>
                  <a:gd name="connsiteX0" fmla="*/ 134302 w 152400"/>
                  <a:gd name="connsiteY0" fmla="*/ 18732 h 31750"/>
                  <a:gd name="connsiteX1" fmla="*/ 18732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2 w 152400"/>
                  <a:gd name="connsiteY4" fmla="*/ 32702 h 31750"/>
                  <a:gd name="connsiteX5" fmla="*/ 134302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2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2" y="18732"/>
                    </a:moveTo>
                    <a:lnTo>
                      <a:pt x="18732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2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272" y="12382"/>
                      <a:pt x="141922" y="18732"/>
                      <a:pt x="134302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F9ACF517-79E7-4761-9285-621EAA64CAD0}"/>
                  </a:ext>
                </a:extLst>
              </p:cNvPr>
              <p:cNvSpPr/>
              <p:nvPr/>
            </p:nvSpPr>
            <p:spPr>
              <a:xfrm>
                <a:off x="8385493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2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2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E69445EB-9A1E-4EB5-ACF4-8BED30B2EC4E}"/>
                  </a:ext>
                </a:extLst>
              </p:cNvPr>
              <p:cNvSpPr/>
              <p:nvPr/>
            </p:nvSpPr>
            <p:spPr>
              <a:xfrm>
                <a:off x="8582978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2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2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272" y="12382"/>
                      <a:pt x="141922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D6DC5B03-86F5-420E-9E60-EE2848B530C6}"/>
                  </a:ext>
                </a:extLst>
              </p:cNvPr>
              <p:cNvSpPr/>
              <p:nvPr/>
            </p:nvSpPr>
            <p:spPr>
              <a:xfrm>
                <a:off x="8582978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E67A31D4-8091-4CE8-9D92-DE0B34BE7BFF}"/>
                  </a:ext>
                </a:extLst>
              </p:cNvPr>
              <p:cNvSpPr/>
              <p:nvPr/>
            </p:nvSpPr>
            <p:spPr>
              <a:xfrm>
                <a:off x="8781097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3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3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272" y="12382"/>
                      <a:pt x="141922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404EA454-B44D-4F98-B26B-7DBED02541B5}"/>
                  </a:ext>
                </a:extLst>
              </p:cNvPr>
              <p:cNvSpPr/>
              <p:nvPr/>
            </p:nvSpPr>
            <p:spPr>
              <a:xfrm>
                <a:off x="8781097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7 h 158750"/>
                  <a:gd name="connsiteX2" fmla="*/ 18733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3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3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D242CD49-1899-4D9B-BDE3-2DCFB876188D}"/>
                  </a:ext>
                </a:extLst>
              </p:cNvPr>
              <p:cNvSpPr/>
              <p:nvPr/>
            </p:nvSpPr>
            <p:spPr>
              <a:xfrm>
                <a:off x="8978582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3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3 w 152400"/>
                  <a:gd name="connsiteY6" fmla="*/ 18732 h 31750"/>
                  <a:gd name="connsiteX7" fmla="*/ 148273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3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3" y="32702"/>
                      <a:pt x="148273" y="26352"/>
                      <a:pt x="148273" y="18732"/>
                    </a:cubicBezTo>
                    <a:lnTo>
                      <a:pt x="148273" y="4763"/>
                    </a:lnTo>
                    <a:cubicBezTo>
                      <a:pt x="148273" y="12382"/>
                      <a:pt x="141923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4AB31FFA-1A9F-420E-B595-5E6198B79631}"/>
                  </a:ext>
                </a:extLst>
              </p:cNvPr>
              <p:cNvSpPr/>
              <p:nvPr/>
            </p:nvSpPr>
            <p:spPr>
              <a:xfrm>
                <a:off x="8978582" y="4845367"/>
                <a:ext cx="152400" cy="158750"/>
              </a:xfrm>
              <a:custGeom>
                <a:avLst/>
                <a:gdLst>
                  <a:gd name="connsiteX0" fmla="*/ 148273 w 152400"/>
                  <a:gd name="connsiteY0" fmla="*/ 145098 h 158750"/>
                  <a:gd name="connsiteX1" fmla="*/ 134303 w 152400"/>
                  <a:gd name="connsiteY1" fmla="*/ 159067 h 158750"/>
                  <a:gd name="connsiteX2" fmla="*/ 18733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3 w 152400"/>
                  <a:gd name="connsiteY5" fmla="*/ 4763 h 158750"/>
                  <a:gd name="connsiteX6" fmla="*/ 134303 w 152400"/>
                  <a:gd name="connsiteY6" fmla="*/ 4763 h 158750"/>
                  <a:gd name="connsiteX7" fmla="*/ 148273 w 152400"/>
                  <a:gd name="connsiteY7" fmla="*/ 18733 h 158750"/>
                  <a:gd name="connsiteX8" fmla="*/ 148273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3" y="145098"/>
                    </a:moveTo>
                    <a:cubicBezTo>
                      <a:pt x="148273" y="152717"/>
                      <a:pt x="141923" y="159067"/>
                      <a:pt x="134303" y="159067"/>
                    </a:cubicBezTo>
                    <a:lnTo>
                      <a:pt x="18733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134303" y="4763"/>
                    </a:lnTo>
                    <a:cubicBezTo>
                      <a:pt x="141923" y="4763"/>
                      <a:pt x="148273" y="11113"/>
                      <a:pt x="148273" y="18733"/>
                    </a:cubicBezTo>
                    <a:lnTo>
                      <a:pt x="148273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48B9D555-50C8-4AD3-9AE8-72FD87B45D16}"/>
                  </a:ext>
                </a:extLst>
              </p:cNvPr>
              <p:cNvSpPr/>
              <p:nvPr/>
            </p:nvSpPr>
            <p:spPr>
              <a:xfrm>
                <a:off x="9176068" y="4985703"/>
                <a:ext cx="152400" cy="31750"/>
              </a:xfrm>
              <a:custGeom>
                <a:avLst/>
                <a:gdLst>
                  <a:gd name="connsiteX0" fmla="*/ 134302 w 152400"/>
                  <a:gd name="connsiteY0" fmla="*/ 18732 h 31750"/>
                  <a:gd name="connsiteX1" fmla="*/ 18732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2 w 152400"/>
                  <a:gd name="connsiteY4" fmla="*/ 32702 h 31750"/>
                  <a:gd name="connsiteX5" fmla="*/ 134302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2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2" y="18732"/>
                    </a:moveTo>
                    <a:lnTo>
                      <a:pt x="18732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2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907" y="12382"/>
                      <a:pt x="142557" y="18732"/>
                      <a:pt x="134302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B074E21F-697B-474D-9F16-1BBC90E04C2D}"/>
                  </a:ext>
                </a:extLst>
              </p:cNvPr>
              <p:cNvSpPr/>
              <p:nvPr/>
            </p:nvSpPr>
            <p:spPr>
              <a:xfrm>
                <a:off x="9176068" y="4845367"/>
                <a:ext cx="152400" cy="158750"/>
              </a:xfrm>
              <a:custGeom>
                <a:avLst/>
                <a:gdLst>
                  <a:gd name="connsiteX0" fmla="*/ 148907 w 152400"/>
                  <a:gd name="connsiteY0" fmla="*/ 145098 h 158750"/>
                  <a:gd name="connsiteX1" fmla="*/ 134938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907" y="145098"/>
                    </a:moveTo>
                    <a:cubicBezTo>
                      <a:pt x="148907" y="152717"/>
                      <a:pt x="142557" y="159067"/>
                      <a:pt x="134938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86973ED4-9FE5-4397-A10C-8C861066C06D}"/>
                  </a:ext>
                </a:extLst>
              </p:cNvPr>
              <p:cNvSpPr/>
              <p:nvPr/>
            </p:nvSpPr>
            <p:spPr>
              <a:xfrm>
                <a:off x="9374188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2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2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272" y="12382"/>
                      <a:pt x="141922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ED2D0998-A733-4DC1-AB9D-E41DB87784C3}"/>
                  </a:ext>
                </a:extLst>
              </p:cNvPr>
              <p:cNvSpPr/>
              <p:nvPr/>
            </p:nvSpPr>
            <p:spPr>
              <a:xfrm>
                <a:off x="9374188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156C4F2C-F866-493B-A30B-6CCF53A82775}"/>
                  </a:ext>
                </a:extLst>
              </p:cNvPr>
              <p:cNvSpPr/>
              <p:nvPr/>
            </p:nvSpPr>
            <p:spPr>
              <a:xfrm>
                <a:off x="9571672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3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3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272" y="12382"/>
                      <a:pt x="141922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D3777698-8F64-4359-855B-CD3B74CFC55F}"/>
                  </a:ext>
                </a:extLst>
              </p:cNvPr>
              <p:cNvSpPr/>
              <p:nvPr/>
            </p:nvSpPr>
            <p:spPr>
              <a:xfrm>
                <a:off x="9571672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7 h 158750"/>
                  <a:gd name="connsiteX2" fmla="*/ 18733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3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3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EB59EEF1-ED6B-4364-B6B1-C9CCFC7674E1}"/>
                  </a:ext>
                </a:extLst>
              </p:cNvPr>
              <p:cNvSpPr/>
              <p:nvPr/>
            </p:nvSpPr>
            <p:spPr>
              <a:xfrm>
                <a:off x="9769157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3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3 w 152400"/>
                  <a:gd name="connsiteY6" fmla="*/ 18732 h 31750"/>
                  <a:gd name="connsiteX7" fmla="*/ 148273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3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3" y="32702"/>
                      <a:pt x="148273" y="26352"/>
                      <a:pt x="148273" y="18732"/>
                    </a:cubicBezTo>
                    <a:lnTo>
                      <a:pt x="148273" y="4763"/>
                    </a:lnTo>
                    <a:cubicBezTo>
                      <a:pt x="148908" y="12382"/>
                      <a:pt x="142558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B0E6A44E-0246-454A-A65E-85821E4EEDA6}"/>
                  </a:ext>
                </a:extLst>
              </p:cNvPr>
              <p:cNvSpPr/>
              <p:nvPr/>
            </p:nvSpPr>
            <p:spPr>
              <a:xfrm>
                <a:off x="9769793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2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2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CC1CE3CA-EAE9-407B-BFA0-83ACEE6F504D}"/>
                  </a:ext>
                </a:extLst>
              </p:cNvPr>
              <p:cNvSpPr/>
              <p:nvPr/>
            </p:nvSpPr>
            <p:spPr>
              <a:xfrm>
                <a:off x="9967278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2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2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272" y="12382"/>
                      <a:pt x="141922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12E5A41A-9361-4B0C-B3E9-3B7898F466B1}"/>
                  </a:ext>
                </a:extLst>
              </p:cNvPr>
              <p:cNvSpPr/>
              <p:nvPr/>
            </p:nvSpPr>
            <p:spPr>
              <a:xfrm>
                <a:off x="9967278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66E0F6B8-D696-4A96-B8F3-48D5CC4E2DE6}"/>
                  </a:ext>
                </a:extLst>
              </p:cNvPr>
              <p:cNvSpPr/>
              <p:nvPr/>
            </p:nvSpPr>
            <p:spPr>
              <a:xfrm>
                <a:off x="10164763" y="4985703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2 h 31750"/>
                  <a:gd name="connsiteX1" fmla="*/ 18732 w 152400"/>
                  <a:gd name="connsiteY1" fmla="*/ 18732 h 31750"/>
                  <a:gd name="connsiteX2" fmla="*/ 4763 w 152400"/>
                  <a:gd name="connsiteY2" fmla="*/ 4763 h 31750"/>
                  <a:gd name="connsiteX3" fmla="*/ 4763 w 152400"/>
                  <a:gd name="connsiteY3" fmla="*/ 18732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2 h 31750"/>
                  <a:gd name="connsiteX7" fmla="*/ 148272 w 152400"/>
                  <a:gd name="connsiteY7" fmla="*/ 4763 h 31750"/>
                  <a:gd name="connsiteX8" fmla="*/ 134303 w 152400"/>
                  <a:gd name="connsiteY8" fmla="*/ 18732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2"/>
                    </a:moveTo>
                    <a:lnTo>
                      <a:pt x="18732" y="18732"/>
                    </a:lnTo>
                    <a:cubicBezTo>
                      <a:pt x="11113" y="18732"/>
                      <a:pt x="4763" y="12382"/>
                      <a:pt x="4763" y="4763"/>
                    </a:cubicBezTo>
                    <a:lnTo>
                      <a:pt x="4763" y="18732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2"/>
                    </a:cubicBezTo>
                    <a:lnTo>
                      <a:pt x="148272" y="4763"/>
                    </a:lnTo>
                    <a:cubicBezTo>
                      <a:pt x="148272" y="12382"/>
                      <a:pt x="141922" y="18732"/>
                      <a:pt x="134303" y="18732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C04EA747-E3CF-4854-BCEF-0A082E9AEF81}"/>
                  </a:ext>
                </a:extLst>
              </p:cNvPr>
              <p:cNvSpPr/>
              <p:nvPr/>
            </p:nvSpPr>
            <p:spPr>
              <a:xfrm>
                <a:off x="10164763" y="4845367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E00285B5-F52D-4B08-88E4-E73329B561D6}"/>
                  </a:ext>
                </a:extLst>
              </p:cNvPr>
              <p:cNvSpPr/>
              <p:nvPr/>
            </p:nvSpPr>
            <p:spPr>
              <a:xfrm>
                <a:off x="8385493" y="5184458"/>
                <a:ext cx="152400" cy="31750"/>
              </a:xfrm>
              <a:custGeom>
                <a:avLst/>
                <a:gdLst>
                  <a:gd name="connsiteX0" fmla="*/ 134302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2 h 31750"/>
                  <a:gd name="connsiteX5" fmla="*/ 134302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2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2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2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2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AB550C4A-67C2-46CC-B89E-4367273CE913}"/>
                  </a:ext>
                </a:extLst>
              </p:cNvPr>
              <p:cNvSpPr/>
              <p:nvPr/>
            </p:nvSpPr>
            <p:spPr>
              <a:xfrm>
                <a:off x="8385493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2 w 152400"/>
                  <a:gd name="connsiteY1" fmla="*/ 159068 h 158750"/>
                  <a:gd name="connsiteX2" fmla="*/ 18732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2" y="159068"/>
                    </a:cubicBezTo>
                    <a:lnTo>
                      <a:pt x="18732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263731BD-A9C1-461F-85E4-EA70D212EA6C}"/>
                  </a:ext>
                </a:extLst>
              </p:cNvPr>
              <p:cNvSpPr/>
              <p:nvPr/>
            </p:nvSpPr>
            <p:spPr>
              <a:xfrm>
                <a:off x="8582978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519BE57C-0107-42CD-B0B6-1BAA774013CA}"/>
                  </a:ext>
                </a:extLst>
              </p:cNvPr>
              <p:cNvSpPr/>
              <p:nvPr/>
            </p:nvSpPr>
            <p:spPr>
              <a:xfrm>
                <a:off x="8582978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8 h 158750"/>
                  <a:gd name="connsiteX2" fmla="*/ 18732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3" y="159068"/>
                    </a:cubicBezTo>
                    <a:lnTo>
                      <a:pt x="18732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D9971507-6270-4334-8795-C40DE5818C90}"/>
                  </a:ext>
                </a:extLst>
              </p:cNvPr>
              <p:cNvSpPr/>
              <p:nvPr/>
            </p:nvSpPr>
            <p:spPr>
              <a:xfrm>
                <a:off x="8781097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3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3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BEFC8A22-D978-4C1C-8B0B-57F7085AD268}"/>
                  </a:ext>
                </a:extLst>
              </p:cNvPr>
              <p:cNvSpPr/>
              <p:nvPr/>
            </p:nvSpPr>
            <p:spPr>
              <a:xfrm>
                <a:off x="8781097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8 h 158750"/>
                  <a:gd name="connsiteX2" fmla="*/ 18733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3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3" y="159068"/>
                    </a:cubicBezTo>
                    <a:lnTo>
                      <a:pt x="18733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9DE68848-4FD3-491E-8297-B3DB2F2C2657}"/>
                  </a:ext>
                </a:extLst>
              </p:cNvPr>
              <p:cNvSpPr/>
              <p:nvPr/>
            </p:nvSpPr>
            <p:spPr>
              <a:xfrm>
                <a:off x="8978582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3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3 w 152400"/>
                  <a:gd name="connsiteY6" fmla="*/ 18733 h 31750"/>
                  <a:gd name="connsiteX7" fmla="*/ 148273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3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3" y="32702"/>
                      <a:pt x="148273" y="26352"/>
                      <a:pt x="148273" y="18733"/>
                    </a:cubicBezTo>
                    <a:lnTo>
                      <a:pt x="148273" y="4763"/>
                    </a:lnTo>
                    <a:cubicBezTo>
                      <a:pt x="148273" y="12383"/>
                      <a:pt x="141923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F4B0087E-B738-4137-B4D0-BA6AF3A03B13}"/>
                  </a:ext>
                </a:extLst>
              </p:cNvPr>
              <p:cNvSpPr/>
              <p:nvPr/>
            </p:nvSpPr>
            <p:spPr>
              <a:xfrm>
                <a:off x="8978582" y="5044122"/>
                <a:ext cx="152400" cy="158750"/>
              </a:xfrm>
              <a:custGeom>
                <a:avLst/>
                <a:gdLst>
                  <a:gd name="connsiteX0" fmla="*/ 148273 w 152400"/>
                  <a:gd name="connsiteY0" fmla="*/ 145098 h 158750"/>
                  <a:gd name="connsiteX1" fmla="*/ 134303 w 152400"/>
                  <a:gd name="connsiteY1" fmla="*/ 159068 h 158750"/>
                  <a:gd name="connsiteX2" fmla="*/ 18733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3 w 152400"/>
                  <a:gd name="connsiteY5" fmla="*/ 4763 h 158750"/>
                  <a:gd name="connsiteX6" fmla="*/ 134303 w 152400"/>
                  <a:gd name="connsiteY6" fmla="*/ 4763 h 158750"/>
                  <a:gd name="connsiteX7" fmla="*/ 148273 w 152400"/>
                  <a:gd name="connsiteY7" fmla="*/ 18733 h 158750"/>
                  <a:gd name="connsiteX8" fmla="*/ 148273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3" y="145098"/>
                    </a:moveTo>
                    <a:cubicBezTo>
                      <a:pt x="148273" y="152718"/>
                      <a:pt x="141923" y="159068"/>
                      <a:pt x="134303" y="159068"/>
                    </a:cubicBezTo>
                    <a:lnTo>
                      <a:pt x="18733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134303" y="4763"/>
                    </a:lnTo>
                    <a:cubicBezTo>
                      <a:pt x="141923" y="4763"/>
                      <a:pt x="148273" y="11113"/>
                      <a:pt x="148273" y="18733"/>
                    </a:cubicBezTo>
                    <a:lnTo>
                      <a:pt x="148273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4FA9E1CA-5E34-4E83-B2B6-01030B73ED51}"/>
                  </a:ext>
                </a:extLst>
              </p:cNvPr>
              <p:cNvSpPr/>
              <p:nvPr/>
            </p:nvSpPr>
            <p:spPr>
              <a:xfrm>
                <a:off x="9176068" y="5184458"/>
                <a:ext cx="152400" cy="31750"/>
              </a:xfrm>
              <a:custGeom>
                <a:avLst/>
                <a:gdLst>
                  <a:gd name="connsiteX0" fmla="*/ 134302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2 h 31750"/>
                  <a:gd name="connsiteX5" fmla="*/ 134302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2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2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2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907" y="12383"/>
                      <a:pt x="142557" y="18733"/>
                      <a:pt x="134302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A1907CB6-ABF5-4C67-9D40-BD5DC5C751C8}"/>
                  </a:ext>
                </a:extLst>
              </p:cNvPr>
              <p:cNvSpPr/>
              <p:nvPr/>
            </p:nvSpPr>
            <p:spPr>
              <a:xfrm>
                <a:off x="9176068" y="5044122"/>
                <a:ext cx="152400" cy="158750"/>
              </a:xfrm>
              <a:custGeom>
                <a:avLst/>
                <a:gdLst>
                  <a:gd name="connsiteX0" fmla="*/ 148907 w 152400"/>
                  <a:gd name="connsiteY0" fmla="*/ 145098 h 158750"/>
                  <a:gd name="connsiteX1" fmla="*/ 134938 w 152400"/>
                  <a:gd name="connsiteY1" fmla="*/ 159068 h 158750"/>
                  <a:gd name="connsiteX2" fmla="*/ 18732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907" y="145098"/>
                    </a:moveTo>
                    <a:cubicBezTo>
                      <a:pt x="148907" y="152718"/>
                      <a:pt x="142557" y="159068"/>
                      <a:pt x="134938" y="159068"/>
                    </a:cubicBezTo>
                    <a:lnTo>
                      <a:pt x="18732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CB57DEAE-43CE-4889-A028-260E7093DCDB}"/>
                  </a:ext>
                </a:extLst>
              </p:cNvPr>
              <p:cNvSpPr/>
              <p:nvPr/>
            </p:nvSpPr>
            <p:spPr>
              <a:xfrm>
                <a:off x="9374188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EFE22D41-A93B-48E3-A4F9-56114FC53F45}"/>
                  </a:ext>
                </a:extLst>
              </p:cNvPr>
              <p:cNvSpPr/>
              <p:nvPr/>
            </p:nvSpPr>
            <p:spPr>
              <a:xfrm>
                <a:off x="9374188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8 h 158750"/>
                  <a:gd name="connsiteX2" fmla="*/ 18732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3" y="159068"/>
                    </a:cubicBezTo>
                    <a:lnTo>
                      <a:pt x="18732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E5026A86-1971-4275-9E44-4E37E6201F14}"/>
                  </a:ext>
                </a:extLst>
              </p:cNvPr>
              <p:cNvSpPr/>
              <p:nvPr/>
            </p:nvSpPr>
            <p:spPr>
              <a:xfrm>
                <a:off x="9571672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3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3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C7EB03C0-1E24-4DCC-BC03-FF65E5054268}"/>
                  </a:ext>
                </a:extLst>
              </p:cNvPr>
              <p:cNvSpPr/>
              <p:nvPr/>
            </p:nvSpPr>
            <p:spPr>
              <a:xfrm>
                <a:off x="9571672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8 h 158750"/>
                  <a:gd name="connsiteX2" fmla="*/ 18733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3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3" y="159068"/>
                    </a:cubicBezTo>
                    <a:lnTo>
                      <a:pt x="18733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9EA1DEE3-29E8-49FE-8AAA-A05A3CB144B1}"/>
                  </a:ext>
                </a:extLst>
              </p:cNvPr>
              <p:cNvSpPr/>
              <p:nvPr/>
            </p:nvSpPr>
            <p:spPr>
              <a:xfrm>
                <a:off x="9769157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3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3 w 152400"/>
                  <a:gd name="connsiteY4" fmla="*/ 32702 h 31750"/>
                  <a:gd name="connsiteX5" fmla="*/ 134303 w 152400"/>
                  <a:gd name="connsiteY5" fmla="*/ 32702 h 31750"/>
                  <a:gd name="connsiteX6" fmla="*/ 148273 w 152400"/>
                  <a:gd name="connsiteY6" fmla="*/ 18733 h 31750"/>
                  <a:gd name="connsiteX7" fmla="*/ 148273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3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3" y="32702"/>
                    </a:cubicBezTo>
                    <a:lnTo>
                      <a:pt x="134303" y="32702"/>
                    </a:lnTo>
                    <a:cubicBezTo>
                      <a:pt x="141923" y="32702"/>
                      <a:pt x="148273" y="26352"/>
                      <a:pt x="148273" y="18733"/>
                    </a:cubicBezTo>
                    <a:lnTo>
                      <a:pt x="148273" y="4763"/>
                    </a:lnTo>
                    <a:cubicBezTo>
                      <a:pt x="148908" y="12383"/>
                      <a:pt x="142558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625D4CF0-A330-4AB2-AB2F-323CF9601E51}"/>
                  </a:ext>
                </a:extLst>
              </p:cNvPr>
              <p:cNvSpPr/>
              <p:nvPr/>
            </p:nvSpPr>
            <p:spPr>
              <a:xfrm>
                <a:off x="9769793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2 w 152400"/>
                  <a:gd name="connsiteY1" fmla="*/ 159068 h 158750"/>
                  <a:gd name="connsiteX2" fmla="*/ 18732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2" y="159068"/>
                    </a:cubicBezTo>
                    <a:lnTo>
                      <a:pt x="18732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05BBBBE5-9700-483F-89F4-9CEDBF30C177}"/>
                  </a:ext>
                </a:extLst>
              </p:cNvPr>
              <p:cNvSpPr/>
              <p:nvPr/>
            </p:nvSpPr>
            <p:spPr>
              <a:xfrm>
                <a:off x="9967278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E630B479-19DC-4C37-9D65-50607373F9B2}"/>
                  </a:ext>
                </a:extLst>
              </p:cNvPr>
              <p:cNvSpPr/>
              <p:nvPr/>
            </p:nvSpPr>
            <p:spPr>
              <a:xfrm>
                <a:off x="9967278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8 h 158750"/>
                  <a:gd name="connsiteX2" fmla="*/ 18732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3" y="159068"/>
                    </a:cubicBezTo>
                    <a:lnTo>
                      <a:pt x="18732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1B4BF1A7-007D-4F49-B658-55AFE8770783}"/>
                  </a:ext>
                </a:extLst>
              </p:cNvPr>
              <p:cNvSpPr/>
              <p:nvPr/>
            </p:nvSpPr>
            <p:spPr>
              <a:xfrm>
                <a:off x="10164763" y="5184458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2 h 31750"/>
                  <a:gd name="connsiteX5" fmla="*/ 134303 w 152400"/>
                  <a:gd name="connsiteY5" fmla="*/ 32702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2"/>
                      <a:pt x="11113" y="32702"/>
                      <a:pt x="18732" y="32702"/>
                    </a:cubicBezTo>
                    <a:lnTo>
                      <a:pt x="134303" y="32702"/>
                    </a:lnTo>
                    <a:cubicBezTo>
                      <a:pt x="141922" y="32702"/>
                      <a:pt x="148272" y="26352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023FCABB-A39A-40C8-9467-C53072D12352}"/>
                  </a:ext>
                </a:extLst>
              </p:cNvPr>
              <p:cNvSpPr/>
              <p:nvPr/>
            </p:nvSpPr>
            <p:spPr>
              <a:xfrm>
                <a:off x="10164763" y="5044122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8 h 158750"/>
                  <a:gd name="connsiteX1" fmla="*/ 134303 w 152400"/>
                  <a:gd name="connsiteY1" fmla="*/ 159068 h 158750"/>
                  <a:gd name="connsiteX2" fmla="*/ 18732 w 152400"/>
                  <a:gd name="connsiteY2" fmla="*/ 159068 h 158750"/>
                  <a:gd name="connsiteX3" fmla="*/ 4763 w 152400"/>
                  <a:gd name="connsiteY3" fmla="*/ 145098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8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8"/>
                    </a:moveTo>
                    <a:cubicBezTo>
                      <a:pt x="148272" y="152718"/>
                      <a:pt x="141922" y="159068"/>
                      <a:pt x="134303" y="159068"/>
                    </a:cubicBezTo>
                    <a:lnTo>
                      <a:pt x="18732" y="159068"/>
                    </a:lnTo>
                    <a:cubicBezTo>
                      <a:pt x="11113" y="159068"/>
                      <a:pt x="4763" y="152718"/>
                      <a:pt x="4763" y="145098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8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D68BA625-CF73-46DB-8026-A5CA5B08D681}"/>
                  </a:ext>
                </a:extLst>
              </p:cNvPr>
              <p:cNvSpPr/>
              <p:nvPr/>
            </p:nvSpPr>
            <p:spPr>
              <a:xfrm>
                <a:off x="8385493" y="5387022"/>
                <a:ext cx="152400" cy="31750"/>
              </a:xfrm>
              <a:custGeom>
                <a:avLst/>
                <a:gdLst>
                  <a:gd name="connsiteX0" fmla="*/ 134302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3 h 31750"/>
                  <a:gd name="connsiteX5" fmla="*/ 134302 w 152400"/>
                  <a:gd name="connsiteY5" fmla="*/ 32703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2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2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3"/>
                      <a:pt x="11113" y="32703"/>
                      <a:pt x="18732" y="32703"/>
                    </a:cubicBezTo>
                    <a:lnTo>
                      <a:pt x="134302" y="32703"/>
                    </a:lnTo>
                    <a:cubicBezTo>
                      <a:pt x="141922" y="32703"/>
                      <a:pt x="148272" y="26353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2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41EF1D7B-48A6-4459-9F18-B9EBBCF9BC2F}"/>
                  </a:ext>
                </a:extLst>
              </p:cNvPr>
              <p:cNvSpPr/>
              <p:nvPr/>
            </p:nvSpPr>
            <p:spPr>
              <a:xfrm>
                <a:off x="8385493" y="5246688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7 h 158750"/>
                  <a:gd name="connsiteX1" fmla="*/ 134302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7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7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7"/>
                    </a:moveTo>
                    <a:cubicBezTo>
                      <a:pt x="148272" y="152717"/>
                      <a:pt x="141922" y="159067"/>
                      <a:pt x="134302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7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7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F85AFDEA-FBC1-4C83-8C0A-49C976DE996B}"/>
                  </a:ext>
                </a:extLst>
              </p:cNvPr>
              <p:cNvSpPr/>
              <p:nvPr/>
            </p:nvSpPr>
            <p:spPr>
              <a:xfrm>
                <a:off x="8582978" y="5387022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3 h 31750"/>
                  <a:gd name="connsiteX5" fmla="*/ 134303 w 152400"/>
                  <a:gd name="connsiteY5" fmla="*/ 32703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3"/>
                      <a:pt x="11113" y="32703"/>
                      <a:pt x="18732" y="32703"/>
                    </a:cubicBezTo>
                    <a:lnTo>
                      <a:pt x="134303" y="32703"/>
                    </a:lnTo>
                    <a:cubicBezTo>
                      <a:pt x="141922" y="32703"/>
                      <a:pt x="148272" y="26353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F6AA438D-9B1D-42BA-8E90-FCDDDB0D17B5}"/>
                  </a:ext>
                </a:extLst>
              </p:cNvPr>
              <p:cNvSpPr/>
              <p:nvPr/>
            </p:nvSpPr>
            <p:spPr>
              <a:xfrm>
                <a:off x="8582978" y="5246688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7 h 158750"/>
                  <a:gd name="connsiteX1" fmla="*/ 134303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7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7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7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7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7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04002CD9-CAFE-439D-935C-E10209EF3B5A}"/>
                  </a:ext>
                </a:extLst>
              </p:cNvPr>
              <p:cNvSpPr/>
              <p:nvPr/>
            </p:nvSpPr>
            <p:spPr>
              <a:xfrm>
                <a:off x="8781097" y="5387022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3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3 w 152400"/>
                  <a:gd name="connsiteY4" fmla="*/ 32703 h 31750"/>
                  <a:gd name="connsiteX5" fmla="*/ 134303 w 152400"/>
                  <a:gd name="connsiteY5" fmla="*/ 32703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3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3"/>
                      <a:pt x="11113" y="32703"/>
                      <a:pt x="18733" y="32703"/>
                    </a:cubicBezTo>
                    <a:lnTo>
                      <a:pt x="134303" y="32703"/>
                    </a:lnTo>
                    <a:cubicBezTo>
                      <a:pt x="141922" y="32703"/>
                      <a:pt x="148272" y="26353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65FC2925-1E1C-4F07-B32D-B0B5DECC3DE7}"/>
                  </a:ext>
                </a:extLst>
              </p:cNvPr>
              <p:cNvSpPr/>
              <p:nvPr/>
            </p:nvSpPr>
            <p:spPr>
              <a:xfrm>
                <a:off x="8781097" y="5246688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7 h 158750"/>
                  <a:gd name="connsiteX1" fmla="*/ 134303 w 152400"/>
                  <a:gd name="connsiteY1" fmla="*/ 159067 h 158750"/>
                  <a:gd name="connsiteX2" fmla="*/ 18733 w 152400"/>
                  <a:gd name="connsiteY2" fmla="*/ 159067 h 158750"/>
                  <a:gd name="connsiteX3" fmla="*/ 4763 w 152400"/>
                  <a:gd name="connsiteY3" fmla="*/ 145097 h 158750"/>
                  <a:gd name="connsiteX4" fmla="*/ 4763 w 152400"/>
                  <a:gd name="connsiteY4" fmla="*/ 18733 h 158750"/>
                  <a:gd name="connsiteX5" fmla="*/ 18733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7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7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3" y="159067"/>
                    </a:lnTo>
                    <a:cubicBezTo>
                      <a:pt x="11113" y="159067"/>
                      <a:pt x="4763" y="152717"/>
                      <a:pt x="4763" y="145097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7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37681905-B038-4DAF-8D66-F62E562969C8}"/>
                  </a:ext>
                </a:extLst>
              </p:cNvPr>
              <p:cNvSpPr/>
              <p:nvPr/>
            </p:nvSpPr>
            <p:spPr>
              <a:xfrm>
                <a:off x="9769157" y="5387022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3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3 w 152400"/>
                  <a:gd name="connsiteY4" fmla="*/ 32703 h 31750"/>
                  <a:gd name="connsiteX5" fmla="*/ 134303 w 152400"/>
                  <a:gd name="connsiteY5" fmla="*/ 32703 h 31750"/>
                  <a:gd name="connsiteX6" fmla="*/ 148273 w 152400"/>
                  <a:gd name="connsiteY6" fmla="*/ 18733 h 31750"/>
                  <a:gd name="connsiteX7" fmla="*/ 148273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3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3"/>
                      <a:pt x="11113" y="32703"/>
                      <a:pt x="18733" y="32703"/>
                    </a:cubicBezTo>
                    <a:lnTo>
                      <a:pt x="134303" y="32703"/>
                    </a:lnTo>
                    <a:cubicBezTo>
                      <a:pt x="141923" y="32703"/>
                      <a:pt x="148273" y="26353"/>
                      <a:pt x="148273" y="18733"/>
                    </a:cubicBezTo>
                    <a:lnTo>
                      <a:pt x="148273" y="4763"/>
                    </a:lnTo>
                    <a:cubicBezTo>
                      <a:pt x="148908" y="12383"/>
                      <a:pt x="142558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2ACA55D7-DD4D-4AFD-98C6-F306CD052FE8}"/>
                  </a:ext>
                </a:extLst>
              </p:cNvPr>
              <p:cNvSpPr/>
              <p:nvPr/>
            </p:nvSpPr>
            <p:spPr>
              <a:xfrm>
                <a:off x="9769793" y="5246688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7 h 158750"/>
                  <a:gd name="connsiteX1" fmla="*/ 134302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7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2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7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7"/>
                    </a:moveTo>
                    <a:cubicBezTo>
                      <a:pt x="148272" y="152717"/>
                      <a:pt x="141922" y="159067"/>
                      <a:pt x="134302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7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2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7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6842ACC-0378-4140-9E8F-343DF74AD89E}"/>
                  </a:ext>
                </a:extLst>
              </p:cNvPr>
              <p:cNvSpPr/>
              <p:nvPr/>
            </p:nvSpPr>
            <p:spPr>
              <a:xfrm>
                <a:off x="9967278" y="5387022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3 h 31750"/>
                  <a:gd name="connsiteX5" fmla="*/ 134303 w 152400"/>
                  <a:gd name="connsiteY5" fmla="*/ 32703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3"/>
                      <a:pt x="11113" y="32703"/>
                      <a:pt x="18732" y="32703"/>
                    </a:cubicBezTo>
                    <a:lnTo>
                      <a:pt x="134303" y="32703"/>
                    </a:lnTo>
                    <a:cubicBezTo>
                      <a:pt x="141922" y="32703"/>
                      <a:pt x="148272" y="26353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F4112454-14CC-4FD7-A568-810479989812}"/>
                  </a:ext>
                </a:extLst>
              </p:cNvPr>
              <p:cNvSpPr/>
              <p:nvPr/>
            </p:nvSpPr>
            <p:spPr>
              <a:xfrm>
                <a:off x="9967278" y="5246688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7 h 158750"/>
                  <a:gd name="connsiteX1" fmla="*/ 134303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7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7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7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7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7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879CD7EB-A1A8-4AA9-AEEF-00D5F2A98F54}"/>
                  </a:ext>
                </a:extLst>
              </p:cNvPr>
              <p:cNvSpPr/>
              <p:nvPr/>
            </p:nvSpPr>
            <p:spPr>
              <a:xfrm>
                <a:off x="10164763" y="5387022"/>
                <a:ext cx="152400" cy="31750"/>
              </a:xfrm>
              <a:custGeom>
                <a:avLst/>
                <a:gdLst>
                  <a:gd name="connsiteX0" fmla="*/ 134303 w 152400"/>
                  <a:gd name="connsiteY0" fmla="*/ 18733 h 31750"/>
                  <a:gd name="connsiteX1" fmla="*/ 18732 w 152400"/>
                  <a:gd name="connsiteY1" fmla="*/ 18733 h 31750"/>
                  <a:gd name="connsiteX2" fmla="*/ 4763 w 152400"/>
                  <a:gd name="connsiteY2" fmla="*/ 4763 h 31750"/>
                  <a:gd name="connsiteX3" fmla="*/ 4763 w 152400"/>
                  <a:gd name="connsiteY3" fmla="*/ 18733 h 31750"/>
                  <a:gd name="connsiteX4" fmla="*/ 18732 w 152400"/>
                  <a:gd name="connsiteY4" fmla="*/ 32703 h 31750"/>
                  <a:gd name="connsiteX5" fmla="*/ 134303 w 152400"/>
                  <a:gd name="connsiteY5" fmla="*/ 32703 h 31750"/>
                  <a:gd name="connsiteX6" fmla="*/ 148272 w 152400"/>
                  <a:gd name="connsiteY6" fmla="*/ 18733 h 31750"/>
                  <a:gd name="connsiteX7" fmla="*/ 148272 w 152400"/>
                  <a:gd name="connsiteY7" fmla="*/ 4763 h 31750"/>
                  <a:gd name="connsiteX8" fmla="*/ 134303 w 15240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31750">
                    <a:moveTo>
                      <a:pt x="134303" y="18733"/>
                    </a:moveTo>
                    <a:lnTo>
                      <a:pt x="18732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3"/>
                      <a:pt x="11113" y="32703"/>
                      <a:pt x="18732" y="32703"/>
                    </a:cubicBezTo>
                    <a:lnTo>
                      <a:pt x="134303" y="32703"/>
                    </a:lnTo>
                    <a:cubicBezTo>
                      <a:pt x="141922" y="32703"/>
                      <a:pt x="148272" y="26353"/>
                      <a:pt x="148272" y="18733"/>
                    </a:cubicBezTo>
                    <a:lnTo>
                      <a:pt x="148272" y="4763"/>
                    </a:lnTo>
                    <a:cubicBezTo>
                      <a:pt x="148272" y="12383"/>
                      <a:pt x="141922" y="18733"/>
                      <a:pt x="13430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46D151D2-F256-4E9A-A639-E8A540E71471}"/>
                  </a:ext>
                </a:extLst>
              </p:cNvPr>
              <p:cNvSpPr/>
              <p:nvPr/>
            </p:nvSpPr>
            <p:spPr>
              <a:xfrm>
                <a:off x="10164763" y="5246688"/>
                <a:ext cx="152400" cy="158750"/>
              </a:xfrm>
              <a:custGeom>
                <a:avLst/>
                <a:gdLst>
                  <a:gd name="connsiteX0" fmla="*/ 148272 w 152400"/>
                  <a:gd name="connsiteY0" fmla="*/ 145097 h 158750"/>
                  <a:gd name="connsiteX1" fmla="*/ 134303 w 152400"/>
                  <a:gd name="connsiteY1" fmla="*/ 159067 h 158750"/>
                  <a:gd name="connsiteX2" fmla="*/ 18732 w 152400"/>
                  <a:gd name="connsiteY2" fmla="*/ 159067 h 158750"/>
                  <a:gd name="connsiteX3" fmla="*/ 4763 w 152400"/>
                  <a:gd name="connsiteY3" fmla="*/ 145097 h 158750"/>
                  <a:gd name="connsiteX4" fmla="*/ 4763 w 152400"/>
                  <a:gd name="connsiteY4" fmla="*/ 18733 h 158750"/>
                  <a:gd name="connsiteX5" fmla="*/ 18732 w 152400"/>
                  <a:gd name="connsiteY5" fmla="*/ 4763 h 158750"/>
                  <a:gd name="connsiteX6" fmla="*/ 134303 w 152400"/>
                  <a:gd name="connsiteY6" fmla="*/ 4763 h 158750"/>
                  <a:gd name="connsiteX7" fmla="*/ 148272 w 152400"/>
                  <a:gd name="connsiteY7" fmla="*/ 18733 h 158750"/>
                  <a:gd name="connsiteX8" fmla="*/ 148272 w 152400"/>
                  <a:gd name="connsiteY8" fmla="*/ 145097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400" h="158750">
                    <a:moveTo>
                      <a:pt x="148272" y="145097"/>
                    </a:moveTo>
                    <a:cubicBezTo>
                      <a:pt x="148272" y="152717"/>
                      <a:pt x="141922" y="159067"/>
                      <a:pt x="134303" y="159067"/>
                    </a:cubicBezTo>
                    <a:lnTo>
                      <a:pt x="18732" y="159067"/>
                    </a:lnTo>
                    <a:cubicBezTo>
                      <a:pt x="11113" y="159067"/>
                      <a:pt x="4763" y="152717"/>
                      <a:pt x="4763" y="145097"/>
                    </a:cubicBezTo>
                    <a:lnTo>
                      <a:pt x="4763" y="18733"/>
                    </a:lnTo>
                    <a:cubicBezTo>
                      <a:pt x="4763" y="11113"/>
                      <a:pt x="11113" y="4763"/>
                      <a:pt x="18732" y="4763"/>
                    </a:cubicBezTo>
                    <a:lnTo>
                      <a:pt x="134303" y="4763"/>
                    </a:lnTo>
                    <a:cubicBezTo>
                      <a:pt x="141922" y="4763"/>
                      <a:pt x="148272" y="11113"/>
                      <a:pt x="148272" y="18733"/>
                    </a:cubicBezTo>
                    <a:lnTo>
                      <a:pt x="148272" y="145097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E81D2CEE-A2DC-4537-A3EC-9A18F838B8C0}"/>
                  </a:ext>
                </a:extLst>
              </p:cNvPr>
              <p:cNvSpPr/>
              <p:nvPr/>
            </p:nvSpPr>
            <p:spPr>
              <a:xfrm>
                <a:off x="8974772" y="5378767"/>
                <a:ext cx="755650" cy="31750"/>
              </a:xfrm>
              <a:custGeom>
                <a:avLst/>
                <a:gdLst>
                  <a:gd name="connsiteX0" fmla="*/ 737553 w 755650"/>
                  <a:gd name="connsiteY0" fmla="*/ 18733 h 31750"/>
                  <a:gd name="connsiteX1" fmla="*/ 18733 w 755650"/>
                  <a:gd name="connsiteY1" fmla="*/ 18733 h 31750"/>
                  <a:gd name="connsiteX2" fmla="*/ 4763 w 755650"/>
                  <a:gd name="connsiteY2" fmla="*/ 4763 h 31750"/>
                  <a:gd name="connsiteX3" fmla="*/ 4763 w 755650"/>
                  <a:gd name="connsiteY3" fmla="*/ 18733 h 31750"/>
                  <a:gd name="connsiteX4" fmla="*/ 18733 w 755650"/>
                  <a:gd name="connsiteY4" fmla="*/ 32703 h 31750"/>
                  <a:gd name="connsiteX5" fmla="*/ 737553 w 755650"/>
                  <a:gd name="connsiteY5" fmla="*/ 32703 h 31750"/>
                  <a:gd name="connsiteX6" fmla="*/ 751522 w 755650"/>
                  <a:gd name="connsiteY6" fmla="*/ 18733 h 31750"/>
                  <a:gd name="connsiteX7" fmla="*/ 751522 w 755650"/>
                  <a:gd name="connsiteY7" fmla="*/ 4763 h 31750"/>
                  <a:gd name="connsiteX8" fmla="*/ 737553 w 755650"/>
                  <a:gd name="connsiteY8" fmla="*/ 18733 h 3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5650" h="31750">
                    <a:moveTo>
                      <a:pt x="737553" y="18733"/>
                    </a:moveTo>
                    <a:lnTo>
                      <a:pt x="18733" y="18733"/>
                    </a:lnTo>
                    <a:cubicBezTo>
                      <a:pt x="11113" y="18733"/>
                      <a:pt x="4763" y="12383"/>
                      <a:pt x="4763" y="4763"/>
                    </a:cubicBezTo>
                    <a:lnTo>
                      <a:pt x="4763" y="18733"/>
                    </a:lnTo>
                    <a:cubicBezTo>
                      <a:pt x="4763" y="26353"/>
                      <a:pt x="11113" y="32703"/>
                      <a:pt x="18733" y="32703"/>
                    </a:cubicBezTo>
                    <a:lnTo>
                      <a:pt x="737553" y="32703"/>
                    </a:lnTo>
                    <a:cubicBezTo>
                      <a:pt x="745172" y="32703"/>
                      <a:pt x="751522" y="26353"/>
                      <a:pt x="751522" y="18733"/>
                    </a:cubicBezTo>
                    <a:lnTo>
                      <a:pt x="751522" y="4763"/>
                    </a:lnTo>
                    <a:cubicBezTo>
                      <a:pt x="752158" y="12383"/>
                      <a:pt x="745808" y="18733"/>
                      <a:pt x="737553" y="18733"/>
                    </a:cubicBezTo>
                    <a:close/>
                  </a:path>
                </a:pathLst>
              </a:custGeom>
              <a:solidFill>
                <a:srgbClr val="A5A7A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D7749EA6-355C-41DD-B758-149172526B77}"/>
                  </a:ext>
                </a:extLst>
              </p:cNvPr>
              <p:cNvSpPr/>
              <p:nvPr/>
            </p:nvSpPr>
            <p:spPr>
              <a:xfrm>
                <a:off x="8975407" y="5242878"/>
                <a:ext cx="755650" cy="158750"/>
              </a:xfrm>
              <a:custGeom>
                <a:avLst/>
                <a:gdLst>
                  <a:gd name="connsiteX0" fmla="*/ 751523 w 755650"/>
                  <a:gd name="connsiteY0" fmla="*/ 140652 h 158750"/>
                  <a:gd name="connsiteX1" fmla="*/ 737553 w 755650"/>
                  <a:gd name="connsiteY1" fmla="*/ 154622 h 158750"/>
                  <a:gd name="connsiteX2" fmla="*/ 18733 w 755650"/>
                  <a:gd name="connsiteY2" fmla="*/ 154622 h 158750"/>
                  <a:gd name="connsiteX3" fmla="*/ 4763 w 755650"/>
                  <a:gd name="connsiteY3" fmla="*/ 140652 h 158750"/>
                  <a:gd name="connsiteX4" fmla="*/ 4763 w 755650"/>
                  <a:gd name="connsiteY4" fmla="*/ 18732 h 158750"/>
                  <a:gd name="connsiteX5" fmla="*/ 18733 w 755650"/>
                  <a:gd name="connsiteY5" fmla="*/ 4763 h 158750"/>
                  <a:gd name="connsiteX6" fmla="*/ 737553 w 755650"/>
                  <a:gd name="connsiteY6" fmla="*/ 4763 h 158750"/>
                  <a:gd name="connsiteX7" fmla="*/ 751523 w 755650"/>
                  <a:gd name="connsiteY7" fmla="*/ 18732 h 158750"/>
                  <a:gd name="connsiteX8" fmla="*/ 751523 w 755650"/>
                  <a:gd name="connsiteY8" fmla="*/ 140652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5650" h="158750">
                    <a:moveTo>
                      <a:pt x="751523" y="140652"/>
                    </a:moveTo>
                    <a:cubicBezTo>
                      <a:pt x="751523" y="148272"/>
                      <a:pt x="745173" y="154622"/>
                      <a:pt x="737553" y="154622"/>
                    </a:cubicBezTo>
                    <a:lnTo>
                      <a:pt x="18733" y="154622"/>
                    </a:lnTo>
                    <a:cubicBezTo>
                      <a:pt x="11113" y="154622"/>
                      <a:pt x="4763" y="148272"/>
                      <a:pt x="4763" y="140652"/>
                    </a:cubicBezTo>
                    <a:lnTo>
                      <a:pt x="4763" y="18732"/>
                    </a:lnTo>
                    <a:cubicBezTo>
                      <a:pt x="4763" y="11113"/>
                      <a:pt x="11113" y="4763"/>
                      <a:pt x="18733" y="4763"/>
                    </a:cubicBezTo>
                    <a:lnTo>
                      <a:pt x="737553" y="4763"/>
                    </a:lnTo>
                    <a:cubicBezTo>
                      <a:pt x="745173" y="4763"/>
                      <a:pt x="751523" y="11113"/>
                      <a:pt x="751523" y="18732"/>
                    </a:cubicBezTo>
                    <a:lnTo>
                      <a:pt x="751523" y="140652"/>
                    </a:lnTo>
                    <a:close/>
                  </a:path>
                </a:pathLst>
              </a:custGeom>
              <a:solidFill>
                <a:srgbClr val="D2D3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BBBC13B7-535D-4B10-9879-921BFD443AE1}"/>
                  </a:ext>
                </a:extLst>
              </p:cNvPr>
              <p:cNvSpPr/>
              <p:nvPr/>
            </p:nvSpPr>
            <p:spPr>
              <a:xfrm>
                <a:off x="8815388" y="3873183"/>
                <a:ext cx="812800" cy="869950"/>
              </a:xfrm>
              <a:custGeom>
                <a:avLst/>
                <a:gdLst>
                  <a:gd name="connsiteX0" fmla="*/ 800418 w 812800"/>
                  <a:gd name="connsiteY0" fmla="*/ 4763 h 869950"/>
                  <a:gd name="connsiteX1" fmla="*/ 214947 w 812800"/>
                  <a:gd name="connsiteY1" fmla="*/ 4763 h 869950"/>
                  <a:gd name="connsiteX2" fmla="*/ 135572 w 812800"/>
                  <a:gd name="connsiteY2" fmla="*/ 97472 h 869950"/>
                  <a:gd name="connsiteX3" fmla="*/ 209232 w 812800"/>
                  <a:gd name="connsiteY3" fmla="*/ 203517 h 869950"/>
                  <a:gd name="connsiteX4" fmla="*/ 282893 w 812800"/>
                  <a:gd name="connsiteY4" fmla="*/ 203517 h 869950"/>
                  <a:gd name="connsiteX5" fmla="*/ 333693 w 812800"/>
                  <a:gd name="connsiteY5" fmla="*/ 294322 h 869950"/>
                  <a:gd name="connsiteX6" fmla="*/ 240982 w 812800"/>
                  <a:gd name="connsiteY6" fmla="*/ 367983 h 869950"/>
                  <a:gd name="connsiteX7" fmla="*/ 82232 w 812800"/>
                  <a:gd name="connsiteY7" fmla="*/ 367983 h 869950"/>
                  <a:gd name="connsiteX8" fmla="*/ 6668 w 812800"/>
                  <a:gd name="connsiteY8" fmla="*/ 445452 h 869950"/>
                  <a:gd name="connsiteX9" fmla="*/ 4763 w 812800"/>
                  <a:gd name="connsiteY9" fmla="*/ 585152 h 869950"/>
                  <a:gd name="connsiteX10" fmla="*/ 86043 w 812800"/>
                  <a:gd name="connsiteY10" fmla="*/ 660717 h 869950"/>
                  <a:gd name="connsiteX11" fmla="*/ 529907 w 812800"/>
                  <a:gd name="connsiteY11" fmla="*/ 662622 h 869950"/>
                  <a:gd name="connsiteX12" fmla="*/ 584518 w 812800"/>
                  <a:gd name="connsiteY12" fmla="*/ 728663 h 869950"/>
                  <a:gd name="connsiteX13" fmla="*/ 584518 w 812800"/>
                  <a:gd name="connsiteY13" fmla="*/ 870267 h 869950"/>
                  <a:gd name="connsiteX14" fmla="*/ 618807 w 812800"/>
                  <a:gd name="connsiteY14" fmla="*/ 870267 h 869950"/>
                  <a:gd name="connsiteX15" fmla="*/ 618807 w 812800"/>
                  <a:gd name="connsiteY15" fmla="*/ 717233 h 869950"/>
                  <a:gd name="connsiteX16" fmla="*/ 541338 w 812800"/>
                  <a:gd name="connsiteY16" fmla="*/ 630238 h 869950"/>
                  <a:gd name="connsiteX17" fmla="*/ 91757 w 812800"/>
                  <a:gd name="connsiteY17" fmla="*/ 628333 h 869950"/>
                  <a:gd name="connsiteX18" fmla="*/ 39053 w 812800"/>
                  <a:gd name="connsiteY18" fmla="*/ 571817 h 869950"/>
                  <a:gd name="connsiteX19" fmla="*/ 39053 w 812800"/>
                  <a:gd name="connsiteY19" fmla="*/ 454977 h 869950"/>
                  <a:gd name="connsiteX20" fmla="*/ 99378 w 812800"/>
                  <a:gd name="connsiteY20" fmla="*/ 402272 h 869950"/>
                  <a:gd name="connsiteX21" fmla="*/ 282893 w 812800"/>
                  <a:gd name="connsiteY21" fmla="*/ 398463 h 869950"/>
                  <a:gd name="connsiteX22" fmla="*/ 364172 w 812800"/>
                  <a:gd name="connsiteY22" fmla="*/ 326708 h 869950"/>
                  <a:gd name="connsiteX23" fmla="*/ 366078 w 812800"/>
                  <a:gd name="connsiteY23" fmla="*/ 249238 h 869950"/>
                  <a:gd name="connsiteX24" fmla="*/ 288607 w 812800"/>
                  <a:gd name="connsiteY24" fmla="*/ 171767 h 869950"/>
                  <a:gd name="connsiteX25" fmla="*/ 214947 w 812800"/>
                  <a:gd name="connsiteY25" fmla="*/ 169863 h 869950"/>
                  <a:gd name="connsiteX26" fmla="*/ 169863 w 812800"/>
                  <a:gd name="connsiteY26" fmla="*/ 105727 h 869950"/>
                  <a:gd name="connsiteX27" fmla="*/ 214947 w 812800"/>
                  <a:gd name="connsiteY27" fmla="*/ 39052 h 869950"/>
                  <a:gd name="connsiteX28" fmla="*/ 811847 w 812800"/>
                  <a:gd name="connsiteY28" fmla="*/ 37783 h 869950"/>
                  <a:gd name="connsiteX29" fmla="*/ 800418 w 812800"/>
                  <a:gd name="connsiteY29" fmla="*/ 4763 h 86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812800" h="869950">
                    <a:moveTo>
                      <a:pt x="800418" y="4763"/>
                    </a:moveTo>
                    <a:lnTo>
                      <a:pt x="214947" y="4763"/>
                    </a:lnTo>
                    <a:cubicBezTo>
                      <a:pt x="214947" y="4763"/>
                      <a:pt x="135572" y="23813"/>
                      <a:pt x="135572" y="97472"/>
                    </a:cubicBezTo>
                    <a:cubicBezTo>
                      <a:pt x="135572" y="171133"/>
                      <a:pt x="178753" y="203517"/>
                      <a:pt x="209232" y="203517"/>
                    </a:cubicBezTo>
                    <a:cubicBezTo>
                      <a:pt x="239713" y="203517"/>
                      <a:pt x="282893" y="203517"/>
                      <a:pt x="282893" y="203517"/>
                    </a:cubicBezTo>
                    <a:cubicBezTo>
                      <a:pt x="282893" y="203517"/>
                      <a:pt x="333693" y="214947"/>
                      <a:pt x="333693" y="294322"/>
                    </a:cubicBezTo>
                    <a:cubicBezTo>
                      <a:pt x="333693" y="373697"/>
                      <a:pt x="240982" y="367983"/>
                      <a:pt x="240982" y="367983"/>
                    </a:cubicBezTo>
                    <a:lnTo>
                      <a:pt x="82232" y="367983"/>
                    </a:lnTo>
                    <a:cubicBezTo>
                      <a:pt x="82232" y="367983"/>
                      <a:pt x="21907" y="377508"/>
                      <a:pt x="6668" y="445452"/>
                    </a:cubicBezTo>
                    <a:lnTo>
                      <a:pt x="4763" y="585152"/>
                    </a:lnTo>
                    <a:cubicBezTo>
                      <a:pt x="4763" y="585152"/>
                      <a:pt x="18097" y="647383"/>
                      <a:pt x="86043" y="660717"/>
                    </a:cubicBezTo>
                    <a:lnTo>
                      <a:pt x="529907" y="662622"/>
                    </a:lnTo>
                    <a:cubicBezTo>
                      <a:pt x="529907" y="662622"/>
                      <a:pt x="584518" y="668338"/>
                      <a:pt x="584518" y="728663"/>
                    </a:cubicBezTo>
                    <a:cubicBezTo>
                      <a:pt x="584518" y="788988"/>
                      <a:pt x="584518" y="870267"/>
                      <a:pt x="584518" y="870267"/>
                    </a:cubicBezTo>
                    <a:lnTo>
                      <a:pt x="618807" y="870267"/>
                    </a:lnTo>
                    <a:lnTo>
                      <a:pt x="618807" y="717233"/>
                    </a:lnTo>
                    <a:cubicBezTo>
                      <a:pt x="618807" y="717233"/>
                      <a:pt x="614997" y="653097"/>
                      <a:pt x="541338" y="630238"/>
                    </a:cubicBezTo>
                    <a:lnTo>
                      <a:pt x="91757" y="628333"/>
                    </a:lnTo>
                    <a:cubicBezTo>
                      <a:pt x="91757" y="628333"/>
                      <a:pt x="39053" y="611188"/>
                      <a:pt x="39053" y="571817"/>
                    </a:cubicBezTo>
                    <a:lnTo>
                      <a:pt x="39053" y="454977"/>
                    </a:lnTo>
                    <a:cubicBezTo>
                      <a:pt x="39053" y="454977"/>
                      <a:pt x="48578" y="402272"/>
                      <a:pt x="99378" y="402272"/>
                    </a:cubicBezTo>
                    <a:lnTo>
                      <a:pt x="282893" y="398463"/>
                    </a:lnTo>
                    <a:cubicBezTo>
                      <a:pt x="282893" y="398463"/>
                      <a:pt x="343218" y="400367"/>
                      <a:pt x="364172" y="326708"/>
                    </a:cubicBezTo>
                    <a:lnTo>
                      <a:pt x="366078" y="249238"/>
                    </a:lnTo>
                    <a:cubicBezTo>
                      <a:pt x="366078" y="249238"/>
                      <a:pt x="350838" y="187008"/>
                      <a:pt x="288607" y="171767"/>
                    </a:cubicBezTo>
                    <a:lnTo>
                      <a:pt x="214947" y="169863"/>
                    </a:lnTo>
                    <a:cubicBezTo>
                      <a:pt x="214947" y="169863"/>
                      <a:pt x="167957" y="156527"/>
                      <a:pt x="169863" y="105727"/>
                    </a:cubicBezTo>
                    <a:cubicBezTo>
                      <a:pt x="169863" y="105727"/>
                      <a:pt x="166053" y="54292"/>
                      <a:pt x="214947" y="39052"/>
                    </a:cubicBezTo>
                    <a:lnTo>
                      <a:pt x="811847" y="37783"/>
                    </a:lnTo>
                    <a:lnTo>
                      <a:pt x="800418" y="4763"/>
                    </a:lnTo>
                    <a:close/>
                  </a:path>
                </a:pathLst>
              </a:custGeom>
              <a:solidFill>
                <a:srgbClr val="FE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6F6E95ED-901E-44D1-BBAC-3D7DED52386D}"/>
                  </a:ext>
                </a:extLst>
              </p:cNvPr>
              <p:cNvSpPr/>
              <p:nvPr/>
            </p:nvSpPr>
            <p:spPr>
              <a:xfrm>
                <a:off x="8120697" y="2462213"/>
                <a:ext cx="2374900" cy="1530350"/>
              </a:xfrm>
              <a:custGeom>
                <a:avLst/>
                <a:gdLst>
                  <a:gd name="connsiteX0" fmla="*/ 2375853 w 2374900"/>
                  <a:gd name="connsiteY0" fmla="*/ 1444942 h 1530350"/>
                  <a:gd name="connsiteX1" fmla="*/ 2292033 w 2374900"/>
                  <a:gd name="connsiteY1" fmla="*/ 1529397 h 1530350"/>
                  <a:gd name="connsiteX2" fmla="*/ 89218 w 2374900"/>
                  <a:gd name="connsiteY2" fmla="*/ 1529397 h 1530350"/>
                  <a:gd name="connsiteX3" fmla="*/ 4763 w 2374900"/>
                  <a:gd name="connsiteY3" fmla="*/ 1444942 h 1530350"/>
                  <a:gd name="connsiteX4" fmla="*/ 4763 w 2374900"/>
                  <a:gd name="connsiteY4" fmla="*/ 88583 h 1530350"/>
                  <a:gd name="connsiteX5" fmla="*/ 89218 w 2374900"/>
                  <a:gd name="connsiteY5" fmla="*/ 4763 h 1530350"/>
                  <a:gd name="connsiteX6" fmla="*/ 2292033 w 2374900"/>
                  <a:gd name="connsiteY6" fmla="*/ 4763 h 1530350"/>
                  <a:gd name="connsiteX7" fmla="*/ 2375853 w 2374900"/>
                  <a:gd name="connsiteY7" fmla="*/ 88583 h 1530350"/>
                  <a:gd name="connsiteX8" fmla="*/ 2375853 w 2374900"/>
                  <a:gd name="connsiteY8" fmla="*/ 1444942 h 153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74900" h="1530350">
                    <a:moveTo>
                      <a:pt x="2375853" y="1444942"/>
                    </a:moveTo>
                    <a:cubicBezTo>
                      <a:pt x="2375853" y="1491297"/>
                      <a:pt x="2337753" y="1529397"/>
                      <a:pt x="2292033" y="1529397"/>
                    </a:cubicBezTo>
                    <a:lnTo>
                      <a:pt x="89218" y="1529397"/>
                    </a:lnTo>
                    <a:cubicBezTo>
                      <a:pt x="42863" y="1529397"/>
                      <a:pt x="4763" y="1491297"/>
                      <a:pt x="4763" y="1444942"/>
                    </a:cubicBezTo>
                    <a:lnTo>
                      <a:pt x="4763" y="88583"/>
                    </a:lnTo>
                    <a:cubicBezTo>
                      <a:pt x="4763" y="42227"/>
                      <a:pt x="42863" y="4763"/>
                      <a:pt x="89218" y="4763"/>
                    </a:cubicBezTo>
                    <a:lnTo>
                      <a:pt x="2292033" y="4763"/>
                    </a:lnTo>
                    <a:cubicBezTo>
                      <a:pt x="2338388" y="4763"/>
                      <a:pt x="2375853" y="42863"/>
                      <a:pt x="2375853" y="88583"/>
                    </a:cubicBezTo>
                    <a:lnTo>
                      <a:pt x="2375853" y="1444942"/>
                    </a:lnTo>
                    <a:close/>
                  </a:path>
                </a:pathLst>
              </a:custGeom>
              <a:solidFill>
                <a:srgbClr val="41506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6490B0BA-1930-48A2-B3F0-3C43208F8891}"/>
                  </a:ext>
                </a:extLst>
              </p:cNvPr>
              <p:cNvSpPr/>
              <p:nvPr/>
            </p:nvSpPr>
            <p:spPr>
              <a:xfrm>
                <a:off x="9176068" y="2461578"/>
                <a:ext cx="247650" cy="1530350"/>
              </a:xfrm>
              <a:custGeom>
                <a:avLst/>
                <a:gdLst>
                  <a:gd name="connsiteX0" fmla="*/ 4763 w 247650"/>
                  <a:gd name="connsiteY0" fmla="*/ 4762 h 1530350"/>
                  <a:gd name="connsiteX1" fmla="*/ 246698 w 247650"/>
                  <a:gd name="connsiteY1" fmla="*/ 4762 h 1530350"/>
                  <a:gd name="connsiteX2" fmla="*/ 246698 w 247650"/>
                  <a:gd name="connsiteY2" fmla="*/ 1529398 h 1530350"/>
                  <a:gd name="connsiteX3" fmla="*/ 4763 w 247650"/>
                  <a:gd name="connsiteY3" fmla="*/ 1529398 h 153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50" h="1530350">
                    <a:moveTo>
                      <a:pt x="4763" y="4762"/>
                    </a:moveTo>
                    <a:lnTo>
                      <a:pt x="246698" y="4762"/>
                    </a:lnTo>
                    <a:lnTo>
                      <a:pt x="246698" y="1529398"/>
                    </a:lnTo>
                    <a:lnTo>
                      <a:pt x="4763" y="1529398"/>
                    </a:lnTo>
                    <a:close/>
                  </a:path>
                </a:pathLst>
              </a:custGeom>
              <a:solidFill>
                <a:srgbClr val="12192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7FD3647A-877C-40BF-80B0-FA80889073C6}"/>
                  </a:ext>
                </a:extLst>
              </p:cNvPr>
              <p:cNvSpPr/>
              <p:nvPr/>
            </p:nvSpPr>
            <p:spPr>
              <a:xfrm>
                <a:off x="8214678" y="2551113"/>
                <a:ext cx="2184400" cy="1358900"/>
              </a:xfrm>
              <a:custGeom>
                <a:avLst/>
                <a:gdLst>
                  <a:gd name="connsiteX0" fmla="*/ 4763 w 2184400"/>
                  <a:gd name="connsiteY0" fmla="*/ 4763 h 1358900"/>
                  <a:gd name="connsiteX1" fmla="*/ 2185353 w 2184400"/>
                  <a:gd name="connsiteY1" fmla="*/ 4763 h 1358900"/>
                  <a:gd name="connsiteX2" fmla="*/ 2185353 w 2184400"/>
                  <a:gd name="connsiteY2" fmla="*/ 1356042 h 1358900"/>
                  <a:gd name="connsiteX3" fmla="*/ 4763 w 2184400"/>
                  <a:gd name="connsiteY3" fmla="*/ 1356042 h 135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84400" h="1358900">
                    <a:moveTo>
                      <a:pt x="4763" y="4763"/>
                    </a:moveTo>
                    <a:lnTo>
                      <a:pt x="2185353" y="4763"/>
                    </a:lnTo>
                    <a:lnTo>
                      <a:pt x="2185353" y="1356042"/>
                    </a:lnTo>
                    <a:lnTo>
                      <a:pt x="4763" y="135604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B22178DF-6994-4FCE-A36B-17D6D34254AB}"/>
                  </a:ext>
                </a:extLst>
              </p:cNvPr>
              <p:cNvSpPr/>
              <p:nvPr/>
            </p:nvSpPr>
            <p:spPr>
              <a:xfrm>
                <a:off x="9902508" y="2608898"/>
                <a:ext cx="361950" cy="368300"/>
              </a:xfrm>
              <a:custGeom>
                <a:avLst/>
                <a:gdLst>
                  <a:gd name="connsiteX0" fmla="*/ 4762 w 361950"/>
                  <a:gd name="connsiteY0" fmla="*/ 4763 h 368300"/>
                  <a:gd name="connsiteX1" fmla="*/ 357187 w 361950"/>
                  <a:gd name="connsiteY1" fmla="*/ 4763 h 368300"/>
                  <a:gd name="connsiteX2" fmla="*/ 357187 w 361950"/>
                  <a:gd name="connsiteY2" fmla="*/ 367348 h 368300"/>
                  <a:gd name="connsiteX3" fmla="*/ 4762 w 361950"/>
                  <a:gd name="connsiteY3" fmla="*/ 367348 h 36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950" h="368300">
                    <a:moveTo>
                      <a:pt x="4762" y="4763"/>
                    </a:moveTo>
                    <a:lnTo>
                      <a:pt x="357187" y="4763"/>
                    </a:lnTo>
                    <a:lnTo>
                      <a:pt x="357187" y="367348"/>
                    </a:lnTo>
                    <a:lnTo>
                      <a:pt x="4762" y="367348"/>
                    </a:lnTo>
                    <a:close/>
                  </a:path>
                </a:pathLst>
              </a:custGeom>
              <a:solidFill>
                <a:srgbClr val="BEC6C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8ED7B4C3-EB87-48F9-BCE6-5F90BA3D1429}"/>
                  </a:ext>
                </a:extLst>
              </p:cNvPr>
              <p:cNvSpPr/>
              <p:nvPr/>
            </p:nvSpPr>
            <p:spPr>
              <a:xfrm>
                <a:off x="9308624" y="2553494"/>
                <a:ext cx="6350" cy="1352550"/>
              </a:xfrm>
              <a:custGeom>
                <a:avLst/>
                <a:gdLst>
                  <a:gd name="connsiteX0" fmla="*/ 2382 w 0"/>
                  <a:gd name="connsiteY0" fmla="*/ 2381 h 1352550"/>
                  <a:gd name="connsiteX1" fmla="*/ 2382 w 0"/>
                  <a:gd name="connsiteY1" fmla="*/ 1353661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352550">
                    <a:moveTo>
                      <a:pt x="2382" y="2381"/>
                    </a:moveTo>
                    <a:lnTo>
                      <a:pt x="2382" y="1353661"/>
                    </a:lnTo>
                  </a:path>
                </a:pathLst>
              </a:custGeom>
              <a:ln w="4763" cap="flat">
                <a:solidFill>
                  <a:srgbClr val="7E878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E1A3BF53-B107-4911-AA33-36E1917D764B}"/>
                  </a:ext>
                </a:extLst>
              </p:cNvPr>
              <p:cNvSpPr/>
              <p:nvPr/>
            </p:nvSpPr>
            <p:spPr>
              <a:xfrm>
                <a:off x="8346122" y="2638108"/>
                <a:ext cx="920750" cy="6350"/>
              </a:xfrm>
              <a:custGeom>
                <a:avLst/>
                <a:gdLst>
                  <a:gd name="connsiteX0" fmla="*/ 4762 w 920750"/>
                  <a:gd name="connsiteY0" fmla="*/ 4763 h 6350"/>
                  <a:gd name="connsiteX1" fmla="*/ 921068 w 92075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3"/>
                    </a:moveTo>
                    <a:lnTo>
                      <a:pt x="921068" y="4763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19619BA6-3984-4441-BA12-84037A168CF0}"/>
                  </a:ext>
                </a:extLst>
              </p:cNvPr>
              <p:cNvSpPr/>
              <p:nvPr/>
            </p:nvSpPr>
            <p:spPr>
              <a:xfrm>
                <a:off x="8346122" y="2742883"/>
                <a:ext cx="920750" cy="6350"/>
              </a:xfrm>
              <a:custGeom>
                <a:avLst/>
                <a:gdLst>
                  <a:gd name="connsiteX0" fmla="*/ 4762 w 920750"/>
                  <a:gd name="connsiteY0" fmla="*/ 4763 h 6350"/>
                  <a:gd name="connsiteX1" fmla="*/ 921068 w 92075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3"/>
                    </a:moveTo>
                    <a:lnTo>
                      <a:pt x="921068" y="4763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38287618-9FC8-4DE4-9F4C-E652393BAE15}"/>
                  </a:ext>
                </a:extLst>
              </p:cNvPr>
              <p:cNvSpPr/>
              <p:nvPr/>
            </p:nvSpPr>
            <p:spPr>
              <a:xfrm>
                <a:off x="8346122" y="2848293"/>
                <a:ext cx="920750" cy="6350"/>
              </a:xfrm>
              <a:custGeom>
                <a:avLst/>
                <a:gdLst>
                  <a:gd name="connsiteX0" fmla="*/ 4762 w 920750"/>
                  <a:gd name="connsiteY0" fmla="*/ 4762 h 6350"/>
                  <a:gd name="connsiteX1" fmla="*/ 921068 w 9207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2"/>
                    </a:moveTo>
                    <a:lnTo>
                      <a:pt x="921068" y="4762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CE956CFE-C61F-4357-BAB5-DD5492B0C0BB}"/>
                  </a:ext>
                </a:extLst>
              </p:cNvPr>
              <p:cNvSpPr/>
              <p:nvPr/>
            </p:nvSpPr>
            <p:spPr>
              <a:xfrm>
                <a:off x="8346122" y="2953068"/>
                <a:ext cx="920750" cy="6350"/>
              </a:xfrm>
              <a:custGeom>
                <a:avLst/>
                <a:gdLst>
                  <a:gd name="connsiteX0" fmla="*/ 4762 w 920750"/>
                  <a:gd name="connsiteY0" fmla="*/ 4762 h 6350"/>
                  <a:gd name="connsiteX1" fmla="*/ 921068 w 9207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2"/>
                    </a:moveTo>
                    <a:lnTo>
                      <a:pt x="921068" y="4762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4A7FF4A5-EE29-4BE7-85F6-960A480998AF}"/>
                  </a:ext>
                </a:extLst>
              </p:cNvPr>
              <p:cNvSpPr/>
              <p:nvPr/>
            </p:nvSpPr>
            <p:spPr>
              <a:xfrm>
                <a:off x="8346122" y="3058478"/>
                <a:ext cx="920750" cy="6350"/>
              </a:xfrm>
              <a:custGeom>
                <a:avLst/>
                <a:gdLst>
                  <a:gd name="connsiteX0" fmla="*/ 4762 w 920750"/>
                  <a:gd name="connsiteY0" fmla="*/ 4762 h 6350"/>
                  <a:gd name="connsiteX1" fmla="*/ 921068 w 9207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2"/>
                    </a:moveTo>
                    <a:lnTo>
                      <a:pt x="921068" y="4762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5ECD93FB-7D65-4FF2-A07E-015EF64E2595}"/>
                  </a:ext>
                </a:extLst>
              </p:cNvPr>
              <p:cNvSpPr/>
              <p:nvPr/>
            </p:nvSpPr>
            <p:spPr>
              <a:xfrm>
                <a:off x="8346122" y="3163888"/>
                <a:ext cx="920750" cy="6350"/>
              </a:xfrm>
              <a:custGeom>
                <a:avLst/>
                <a:gdLst>
                  <a:gd name="connsiteX0" fmla="*/ 4762 w 920750"/>
                  <a:gd name="connsiteY0" fmla="*/ 4763 h 6350"/>
                  <a:gd name="connsiteX1" fmla="*/ 921068 w 92075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3"/>
                    </a:moveTo>
                    <a:lnTo>
                      <a:pt x="921068" y="4763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A6594A0B-D6EF-49AE-8D49-C6942C454969}"/>
                  </a:ext>
                </a:extLst>
              </p:cNvPr>
              <p:cNvSpPr/>
              <p:nvPr/>
            </p:nvSpPr>
            <p:spPr>
              <a:xfrm>
                <a:off x="8346122" y="3268663"/>
                <a:ext cx="920750" cy="6350"/>
              </a:xfrm>
              <a:custGeom>
                <a:avLst/>
                <a:gdLst>
                  <a:gd name="connsiteX0" fmla="*/ 4762 w 920750"/>
                  <a:gd name="connsiteY0" fmla="*/ 4763 h 6350"/>
                  <a:gd name="connsiteX1" fmla="*/ 921068 w 92075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3"/>
                    </a:moveTo>
                    <a:lnTo>
                      <a:pt x="921068" y="4763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0774C4C1-F1AF-4535-A187-841A3AE3D4D6}"/>
                  </a:ext>
                </a:extLst>
              </p:cNvPr>
              <p:cNvSpPr/>
              <p:nvPr/>
            </p:nvSpPr>
            <p:spPr>
              <a:xfrm>
                <a:off x="8346122" y="3374073"/>
                <a:ext cx="920750" cy="6350"/>
              </a:xfrm>
              <a:custGeom>
                <a:avLst/>
                <a:gdLst>
                  <a:gd name="connsiteX0" fmla="*/ 4762 w 920750"/>
                  <a:gd name="connsiteY0" fmla="*/ 4762 h 6350"/>
                  <a:gd name="connsiteX1" fmla="*/ 921068 w 9207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2"/>
                    </a:moveTo>
                    <a:lnTo>
                      <a:pt x="921068" y="4762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8F8EAFB8-4962-4F60-9DE8-A0828FC236BE}"/>
                  </a:ext>
                </a:extLst>
              </p:cNvPr>
              <p:cNvSpPr/>
              <p:nvPr/>
            </p:nvSpPr>
            <p:spPr>
              <a:xfrm>
                <a:off x="8346122" y="3478848"/>
                <a:ext cx="920750" cy="6350"/>
              </a:xfrm>
              <a:custGeom>
                <a:avLst/>
                <a:gdLst>
                  <a:gd name="connsiteX0" fmla="*/ 4762 w 920750"/>
                  <a:gd name="connsiteY0" fmla="*/ 4762 h 6350"/>
                  <a:gd name="connsiteX1" fmla="*/ 921068 w 9207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2"/>
                    </a:moveTo>
                    <a:lnTo>
                      <a:pt x="921068" y="4762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DE6D4ABB-E3BB-4686-950F-98B272A51800}"/>
                  </a:ext>
                </a:extLst>
              </p:cNvPr>
              <p:cNvSpPr/>
              <p:nvPr/>
            </p:nvSpPr>
            <p:spPr>
              <a:xfrm>
                <a:off x="8346122" y="3584258"/>
                <a:ext cx="920750" cy="6350"/>
              </a:xfrm>
              <a:custGeom>
                <a:avLst/>
                <a:gdLst>
                  <a:gd name="connsiteX0" fmla="*/ 4762 w 920750"/>
                  <a:gd name="connsiteY0" fmla="*/ 4763 h 6350"/>
                  <a:gd name="connsiteX1" fmla="*/ 921068 w 92075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3"/>
                    </a:moveTo>
                    <a:lnTo>
                      <a:pt x="921068" y="4763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E5221377-FAA5-48FE-B862-478E9CEC35E7}"/>
                  </a:ext>
                </a:extLst>
              </p:cNvPr>
              <p:cNvSpPr/>
              <p:nvPr/>
            </p:nvSpPr>
            <p:spPr>
              <a:xfrm>
                <a:off x="8346122" y="3689667"/>
                <a:ext cx="920750" cy="6350"/>
              </a:xfrm>
              <a:custGeom>
                <a:avLst/>
                <a:gdLst>
                  <a:gd name="connsiteX0" fmla="*/ 4762 w 920750"/>
                  <a:gd name="connsiteY0" fmla="*/ 4762 h 6350"/>
                  <a:gd name="connsiteX1" fmla="*/ 921068 w 9207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0750" h="6350">
                    <a:moveTo>
                      <a:pt x="4762" y="4762"/>
                    </a:moveTo>
                    <a:lnTo>
                      <a:pt x="921068" y="4762"/>
                    </a:lnTo>
                  </a:path>
                </a:pathLst>
              </a:custGeom>
              <a:ln w="9525" cap="flat">
                <a:solidFill>
                  <a:srgbClr val="C8C8C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6D92A57C-5638-402C-86A9-AA80E33D6E5A}"/>
                  </a:ext>
                </a:extLst>
              </p:cNvPr>
              <p:cNvSpPr/>
              <p:nvPr/>
            </p:nvSpPr>
            <p:spPr>
              <a:xfrm>
                <a:off x="9349423" y="2638108"/>
                <a:ext cx="450850" cy="6350"/>
              </a:xfrm>
              <a:custGeom>
                <a:avLst/>
                <a:gdLst>
                  <a:gd name="connsiteX0" fmla="*/ 4762 w 450850"/>
                  <a:gd name="connsiteY0" fmla="*/ 4763 h 6350"/>
                  <a:gd name="connsiteX1" fmla="*/ 448628 w 45085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850" h="6350">
                    <a:moveTo>
                      <a:pt x="4762" y="4763"/>
                    </a:moveTo>
                    <a:lnTo>
                      <a:pt x="448628" y="4763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E3AD0F84-4976-4ADB-BF97-4112DD87FEE7}"/>
                  </a:ext>
                </a:extLst>
              </p:cNvPr>
              <p:cNvSpPr/>
              <p:nvPr/>
            </p:nvSpPr>
            <p:spPr>
              <a:xfrm>
                <a:off x="9349423" y="2742883"/>
                <a:ext cx="450850" cy="6350"/>
              </a:xfrm>
              <a:custGeom>
                <a:avLst/>
                <a:gdLst>
                  <a:gd name="connsiteX0" fmla="*/ 4762 w 450850"/>
                  <a:gd name="connsiteY0" fmla="*/ 4763 h 6350"/>
                  <a:gd name="connsiteX1" fmla="*/ 448628 w 45085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850" h="6350">
                    <a:moveTo>
                      <a:pt x="4762" y="4763"/>
                    </a:moveTo>
                    <a:lnTo>
                      <a:pt x="448628" y="4763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B8C1C8CD-EB29-4645-ADF0-DBFA45BA7BD8}"/>
                  </a:ext>
                </a:extLst>
              </p:cNvPr>
              <p:cNvSpPr/>
              <p:nvPr/>
            </p:nvSpPr>
            <p:spPr>
              <a:xfrm>
                <a:off x="9349423" y="2848293"/>
                <a:ext cx="450850" cy="6350"/>
              </a:xfrm>
              <a:custGeom>
                <a:avLst/>
                <a:gdLst>
                  <a:gd name="connsiteX0" fmla="*/ 4762 w 450850"/>
                  <a:gd name="connsiteY0" fmla="*/ 4762 h 6350"/>
                  <a:gd name="connsiteX1" fmla="*/ 448628 w 4508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850" h="6350">
                    <a:moveTo>
                      <a:pt x="4762" y="4762"/>
                    </a:moveTo>
                    <a:lnTo>
                      <a:pt x="448628" y="4762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88B78262-B542-4DCB-8D3D-956E8A0D7692}"/>
                  </a:ext>
                </a:extLst>
              </p:cNvPr>
              <p:cNvSpPr/>
              <p:nvPr/>
            </p:nvSpPr>
            <p:spPr>
              <a:xfrm>
                <a:off x="9349423" y="2953068"/>
                <a:ext cx="450850" cy="6350"/>
              </a:xfrm>
              <a:custGeom>
                <a:avLst/>
                <a:gdLst>
                  <a:gd name="connsiteX0" fmla="*/ 4762 w 450850"/>
                  <a:gd name="connsiteY0" fmla="*/ 4762 h 6350"/>
                  <a:gd name="connsiteX1" fmla="*/ 448628 w 45085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850" h="6350">
                    <a:moveTo>
                      <a:pt x="4762" y="4762"/>
                    </a:moveTo>
                    <a:lnTo>
                      <a:pt x="448628" y="4762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A1AFAAE6-57E9-4C29-9DF7-6C2BA79EB312}"/>
                  </a:ext>
                </a:extLst>
              </p:cNvPr>
              <p:cNvSpPr/>
              <p:nvPr/>
            </p:nvSpPr>
            <p:spPr>
              <a:xfrm>
                <a:off x="9349423" y="3058478"/>
                <a:ext cx="914400" cy="6350"/>
              </a:xfrm>
              <a:custGeom>
                <a:avLst/>
                <a:gdLst>
                  <a:gd name="connsiteX0" fmla="*/ 4762 w 914400"/>
                  <a:gd name="connsiteY0" fmla="*/ 4762 h 6350"/>
                  <a:gd name="connsiteX1" fmla="*/ 910272 w 91440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6350">
                    <a:moveTo>
                      <a:pt x="4762" y="4762"/>
                    </a:moveTo>
                    <a:lnTo>
                      <a:pt x="910272" y="4762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BC86C86C-1E3F-48C4-9D10-970329F6E376}"/>
                  </a:ext>
                </a:extLst>
              </p:cNvPr>
              <p:cNvSpPr/>
              <p:nvPr/>
            </p:nvSpPr>
            <p:spPr>
              <a:xfrm>
                <a:off x="9349423" y="3163888"/>
                <a:ext cx="914400" cy="6350"/>
              </a:xfrm>
              <a:custGeom>
                <a:avLst/>
                <a:gdLst>
                  <a:gd name="connsiteX0" fmla="*/ 4762 w 914400"/>
                  <a:gd name="connsiteY0" fmla="*/ 4763 h 6350"/>
                  <a:gd name="connsiteX1" fmla="*/ 910272 w 91440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6350">
                    <a:moveTo>
                      <a:pt x="4762" y="4763"/>
                    </a:moveTo>
                    <a:lnTo>
                      <a:pt x="910272" y="4763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753FC85F-27F2-4B3E-A2BE-87E560792868}"/>
                  </a:ext>
                </a:extLst>
              </p:cNvPr>
              <p:cNvSpPr/>
              <p:nvPr/>
            </p:nvSpPr>
            <p:spPr>
              <a:xfrm>
                <a:off x="9349423" y="3268663"/>
                <a:ext cx="914400" cy="6350"/>
              </a:xfrm>
              <a:custGeom>
                <a:avLst/>
                <a:gdLst>
                  <a:gd name="connsiteX0" fmla="*/ 4762 w 914400"/>
                  <a:gd name="connsiteY0" fmla="*/ 4763 h 6350"/>
                  <a:gd name="connsiteX1" fmla="*/ 910272 w 91440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6350">
                    <a:moveTo>
                      <a:pt x="4762" y="4763"/>
                    </a:moveTo>
                    <a:lnTo>
                      <a:pt x="910272" y="4763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392E84BE-0FE8-4164-B244-F8F61649181A}"/>
                  </a:ext>
                </a:extLst>
              </p:cNvPr>
              <p:cNvSpPr/>
              <p:nvPr/>
            </p:nvSpPr>
            <p:spPr>
              <a:xfrm>
                <a:off x="9349423" y="3374073"/>
                <a:ext cx="914400" cy="6350"/>
              </a:xfrm>
              <a:custGeom>
                <a:avLst/>
                <a:gdLst>
                  <a:gd name="connsiteX0" fmla="*/ 4762 w 914400"/>
                  <a:gd name="connsiteY0" fmla="*/ 4762 h 6350"/>
                  <a:gd name="connsiteX1" fmla="*/ 910272 w 91440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6350">
                    <a:moveTo>
                      <a:pt x="4762" y="4762"/>
                    </a:moveTo>
                    <a:lnTo>
                      <a:pt x="910272" y="4762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EC698EB2-FBB1-42A2-832C-944E69126202}"/>
                  </a:ext>
                </a:extLst>
              </p:cNvPr>
              <p:cNvSpPr/>
              <p:nvPr/>
            </p:nvSpPr>
            <p:spPr>
              <a:xfrm>
                <a:off x="9349423" y="3478848"/>
                <a:ext cx="914400" cy="6350"/>
              </a:xfrm>
              <a:custGeom>
                <a:avLst/>
                <a:gdLst>
                  <a:gd name="connsiteX0" fmla="*/ 4762 w 914400"/>
                  <a:gd name="connsiteY0" fmla="*/ 4762 h 6350"/>
                  <a:gd name="connsiteX1" fmla="*/ 910272 w 91440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6350">
                    <a:moveTo>
                      <a:pt x="4762" y="4762"/>
                    </a:moveTo>
                    <a:lnTo>
                      <a:pt x="910272" y="4762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1649FCC0-70D9-4A1A-B5E0-31C66099F72F}"/>
                  </a:ext>
                </a:extLst>
              </p:cNvPr>
              <p:cNvSpPr/>
              <p:nvPr/>
            </p:nvSpPr>
            <p:spPr>
              <a:xfrm>
                <a:off x="9349423" y="3584258"/>
                <a:ext cx="914400" cy="6350"/>
              </a:xfrm>
              <a:custGeom>
                <a:avLst/>
                <a:gdLst>
                  <a:gd name="connsiteX0" fmla="*/ 4762 w 914400"/>
                  <a:gd name="connsiteY0" fmla="*/ 4763 h 6350"/>
                  <a:gd name="connsiteX1" fmla="*/ 910272 w 914400"/>
                  <a:gd name="connsiteY1" fmla="*/ 4763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6350">
                    <a:moveTo>
                      <a:pt x="4762" y="4763"/>
                    </a:moveTo>
                    <a:lnTo>
                      <a:pt x="910272" y="4763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FCFA636F-F05E-4959-B54B-FC4EE3BFE5DF}"/>
                  </a:ext>
                </a:extLst>
              </p:cNvPr>
              <p:cNvSpPr/>
              <p:nvPr/>
            </p:nvSpPr>
            <p:spPr>
              <a:xfrm>
                <a:off x="9349423" y="3689667"/>
                <a:ext cx="914400" cy="6350"/>
              </a:xfrm>
              <a:custGeom>
                <a:avLst/>
                <a:gdLst>
                  <a:gd name="connsiteX0" fmla="*/ 4762 w 914400"/>
                  <a:gd name="connsiteY0" fmla="*/ 4762 h 6350"/>
                  <a:gd name="connsiteX1" fmla="*/ 910272 w 914400"/>
                  <a:gd name="connsiteY1" fmla="*/ 4762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400" h="6350">
                    <a:moveTo>
                      <a:pt x="4762" y="4762"/>
                    </a:moveTo>
                    <a:lnTo>
                      <a:pt x="910272" y="4762"/>
                    </a:lnTo>
                  </a:path>
                </a:pathLst>
              </a:custGeom>
              <a:ln w="9525" cap="flat">
                <a:solidFill>
                  <a:srgbClr val="BCC2C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6AC9619A-82ED-4A4F-B73B-F1EE45AFAAC7}"/>
                  </a:ext>
                </a:extLst>
              </p:cNvPr>
              <p:cNvSpPr/>
              <p:nvPr/>
            </p:nvSpPr>
            <p:spPr>
              <a:xfrm>
                <a:off x="8482647" y="2551113"/>
                <a:ext cx="165100" cy="1708150"/>
              </a:xfrm>
              <a:custGeom>
                <a:avLst/>
                <a:gdLst>
                  <a:gd name="connsiteX0" fmla="*/ 165418 w 165100"/>
                  <a:gd name="connsiteY0" fmla="*/ 1703388 h 1708150"/>
                  <a:gd name="connsiteX1" fmla="*/ 84772 w 165100"/>
                  <a:gd name="connsiteY1" fmla="*/ 1636713 h 1708150"/>
                  <a:gd name="connsiteX2" fmla="*/ 4763 w 165100"/>
                  <a:gd name="connsiteY2" fmla="*/ 1703388 h 1708150"/>
                  <a:gd name="connsiteX3" fmla="*/ 4763 w 165100"/>
                  <a:gd name="connsiteY3" fmla="*/ 4763 h 1708150"/>
                  <a:gd name="connsiteX4" fmla="*/ 165418 w 165100"/>
                  <a:gd name="connsiteY4" fmla="*/ 4763 h 170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100" h="1708150">
                    <a:moveTo>
                      <a:pt x="165418" y="1703388"/>
                    </a:moveTo>
                    <a:lnTo>
                      <a:pt x="84772" y="1636713"/>
                    </a:lnTo>
                    <a:lnTo>
                      <a:pt x="4763" y="1703388"/>
                    </a:lnTo>
                    <a:lnTo>
                      <a:pt x="4763" y="4763"/>
                    </a:lnTo>
                    <a:lnTo>
                      <a:pt x="165418" y="4763"/>
                    </a:lnTo>
                    <a:close/>
                  </a:path>
                </a:pathLst>
              </a:custGeom>
              <a:solidFill>
                <a:srgbClr val="FA57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359CAFB9-3315-49BB-8D72-E26CD720C723}"/>
                  </a:ext>
                </a:extLst>
              </p:cNvPr>
              <p:cNvSpPr/>
              <p:nvPr/>
            </p:nvSpPr>
            <p:spPr>
              <a:xfrm>
                <a:off x="8800782" y="2619692"/>
                <a:ext cx="495300" cy="234950"/>
              </a:xfrm>
              <a:custGeom>
                <a:avLst/>
                <a:gdLst>
                  <a:gd name="connsiteX0" fmla="*/ 4763 w 495300"/>
                  <a:gd name="connsiteY0" fmla="*/ 4763 h 234950"/>
                  <a:gd name="connsiteX1" fmla="*/ 4763 w 495300"/>
                  <a:gd name="connsiteY1" fmla="*/ 87948 h 234950"/>
                  <a:gd name="connsiteX2" fmla="*/ 496253 w 495300"/>
                  <a:gd name="connsiteY2" fmla="*/ 232093 h 234950"/>
                  <a:gd name="connsiteX3" fmla="*/ 496253 w 495300"/>
                  <a:gd name="connsiteY3" fmla="*/ 148908 h 234950"/>
                  <a:gd name="connsiteX4" fmla="*/ 4763 w 495300"/>
                  <a:gd name="connsiteY4" fmla="*/ 4763 h 234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300" h="234950">
                    <a:moveTo>
                      <a:pt x="4763" y="4763"/>
                    </a:moveTo>
                    <a:lnTo>
                      <a:pt x="4763" y="87948"/>
                    </a:lnTo>
                    <a:cubicBezTo>
                      <a:pt x="4763" y="87948"/>
                      <a:pt x="63818" y="235903"/>
                      <a:pt x="496253" y="232093"/>
                    </a:cubicBezTo>
                    <a:lnTo>
                      <a:pt x="496253" y="148908"/>
                    </a:lnTo>
                    <a:cubicBezTo>
                      <a:pt x="63818" y="152718"/>
                      <a:pt x="4763" y="4763"/>
                      <a:pt x="4763" y="4763"/>
                    </a:cubicBezTo>
                    <a:close/>
                  </a:path>
                </a:pathLst>
              </a:custGeom>
              <a:solidFill>
                <a:srgbClr val="4C59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667D9B74-447E-4126-A60D-D3B6DE364846}"/>
                  </a:ext>
                </a:extLst>
              </p:cNvPr>
              <p:cNvSpPr/>
              <p:nvPr/>
            </p:nvSpPr>
            <p:spPr>
              <a:xfrm>
                <a:off x="9292907" y="2623502"/>
                <a:ext cx="501650" cy="228600"/>
              </a:xfrm>
              <a:custGeom>
                <a:avLst/>
                <a:gdLst>
                  <a:gd name="connsiteX0" fmla="*/ 500063 w 501650"/>
                  <a:gd name="connsiteY0" fmla="*/ 4763 h 228600"/>
                  <a:gd name="connsiteX1" fmla="*/ 10478 w 501650"/>
                  <a:gd name="connsiteY1" fmla="*/ 145098 h 228600"/>
                  <a:gd name="connsiteX2" fmla="*/ 4763 w 501650"/>
                  <a:gd name="connsiteY2" fmla="*/ 145098 h 228600"/>
                  <a:gd name="connsiteX3" fmla="*/ 4763 w 501650"/>
                  <a:gd name="connsiteY3" fmla="*/ 228283 h 228600"/>
                  <a:gd name="connsiteX4" fmla="*/ 10478 w 501650"/>
                  <a:gd name="connsiteY4" fmla="*/ 228283 h 228600"/>
                  <a:gd name="connsiteX5" fmla="*/ 500698 w 501650"/>
                  <a:gd name="connsiteY5" fmla="*/ 86677 h 228600"/>
                  <a:gd name="connsiteX6" fmla="*/ 500063 w 501650"/>
                  <a:gd name="connsiteY6" fmla="*/ 4763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1650" h="228600">
                    <a:moveTo>
                      <a:pt x="500063" y="4763"/>
                    </a:moveTo>
                    <a:cubicBezTo>
                      <a:pt x="493078" y="19368"/>
                      <a:pt x="421323" y="140652"/>
                      <a:pt x="10478" y="145098"/>
                    </a:cubicBezTo>
                    <a:cubicBezTo>
                      <a:pt x="8573" y="145098"/>
                      <a:pt x="6668" y="145098"/>
                      <a:pt x="4763" y="145098"/>
                    </a:cubicBezTo>
                    <a:lnTo>
                      <a:pt x="4763" y="228283"/>
                    </a:lnTo>
                    <a:cubicBezTo>
                      <a:pt x="6668" y="228283"/>
                      <a:pt x="8573" y="228283"/>
                      <a:pt x="10478" y="228283"/>
                    </a:cubicBezTo>
                    <a:cubicBezTo>
                      <a:pt x="448628" y="223202"/>
                      <a:pt x="500698" y="86677"/>
                      <a:pt x="500698" y="86677"/>
                    </a:cubicBezTo>
                    <a:lnTo>
                      <a:pt x="500063" y="4763"/>
                    </a:lnTo>
                    <a:close/>
                  </a:path>
                </a:pathLst>
              </a:custGeom>
              <a:solidFill>
                <a:srgbClr val="67738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73C6F79E-4D84-4147-AAB6-236922B66831}"/>
                  </a:ext>
                </a:extLst>
              </p:cNvPr>
              <p:cNvSpPr/>
              <p:nvPr/>
            </p:nvSpPr>
            <p:spPr>
              <a:xfrm>
                <a:off x="8800782" y="2323783"/>
                <a:ext cx="495300" cy="444500"/>
              </a:xfrm>
              <a:custGeom>
                <a:avLst/>
                <a:gdLst>
                  <a:gd name="connsiteX0" fmla="*/ 4763 w 495300"/>
                  <a:gd name="connsiteY0" fmla="*/ 4763 h 444500"/>
                  <a:gd name="connsiteX1" fmla="*/ 4763 w 495300"/>
                  <a:gd name="connsiteY1" fmla="*/ 300672 h 444500"/>
                  <a:gd name="connsiteX2" fmla="*/ 496253 w 495300"/>
                  <a:gd name="connsiteY2" fmla="*/ 444817 h 444500"/>
                  <a:gd name="connsiteX3" fmla="*/ 494983 w 495300"/>
                  <a:gd name="connsiteY3" fmla="*/ 5397 h 444500"/>
                  <a:gd name="connsiteX4" fmla="*/ 4763 w 495300"/>
                  <a:gd name="connsiteY4" fmla="*/ 4763 h 44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300" h="444500">
                    <a:moveTo>
                      <a:pt x="4763" y="4763"/>
                    </a:moveTo>
                    <a:lnTo>
                      <a:pt x="4763" y="300672"/>
                    </a:lnTo>
                    <a:cubicBezTo>
                      <a:pt x="4763" y="300672"/>
                      <a:pt x="63818" y="448627"/>
                      <a:pt x="496253" y="444817"/>
                    </a:cubicBezTo>
                    <a:lnTo>
                      <a:pt x="494983" y="5397"/>
                    </a:lnTo>
                    <a:lnTo>
                      <a:pt x="4763" y="4763"/>
                    </a:lnTo>
                    <a:close/>
                  </a:path>
                </a:pathLst>
              </a:custGeom>
              <a:solidFill>
                <a:srgbClr val="6B77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C658F9F2-B44D-4B26-902B-9F6DAA134107}"/>
                  </a:ext>
                </a:extLst>
              </p:cNvPr>
              <p:cNvSpPr/>
              <p:nvPr/>
            </p:nvSpPr>
            <p:spPr>
              <a:xfrm>
                <a:off x="9291638" y="2324417"/>
                <a:ext cx="501650" cy="444500"/>
              </a:xfrm>
              <a:custGeom>
                <a:avLst/>
                <a:gdLst>
                  <a:gd name="connsiteX0" fmla="*/ 499428 w 501650"/>
                  <a:gd name="connsiteY0" fmla="*/ 5398 h 444500"/>
                  <a:gd name="connsiteX1" fmla="*/ 4763 w 501650"/>
                  <a:gd name="connsiteY1" fmla="*/ 4763 h 444500"/>
                  <a:gd name="connsiteX2" fmla="*/ 6032 w 501650"/>
                  <a:gd name="connsiteY2" fmla="*/ 444183 h 444500"/>
                  <a:gd name="connsiteX3" fmla="*/ 11747 w 501650"/>
                  <a:gd name="connsiteY3" fmla="*/ 444183 h 444500"/>
                  <a:gd name="connsiteX4" fmla="*/ 501968 w 501650"/>
                  <a:gd name="connsiteY4" fmla="*/ 302578 h 444500"/>
                  <a:gd name="connsiteX5" fmla="*/ 499428 w 501650"/>
                  <a:gd name="connsiteY5" fmla="*/ 5398 h 44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650" h="444500">
                    <a:moveTo>
                      <a:pt x="499428" y="5398"/>
                    </a:moveTo>
                    <a:lnTo>
                      <a:pt x="4763" y="4763"/>
                    </a:lnTo>
                    <a:lnTo>
                      <a:pt x="6032" y="444183"/>
                    </a:lnTo>
                    <a:cubicBezTo>
                      <a:pt x="7938" y="444183"/>
                      <a:pt x="9843" y="444183"/>
                      <a:pt x="11747" y="444183"/>
                    </a:cubicBezTo>
                    <a:cubicBezTo>
                      <a:pt x="449897" y="439103"/>
                      <a:pt x="501968" y="302578"/>
                      <a:pt x="501968" y="302578"/>
                    </a:cubicBezTo>
                    <a:lnTo>
                      <a:pt x="499428" y="5398"/>
                    </a:lnTo>
                    <a:close/>
                  </a:path>
                </a:pathLst>
              </a:custGeom>
              <a:solidFill>
                <a:srgbClr val="41506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F55A22D1-62B9-4971-8125-27A561DEB16D}"/>
                  </a:ext>
                </a:extLst>
              </p:cNvPr>
              <p:cNvSpPr/>
              <p:nvPr/>
            </p:nvSpPr>
            <p:spPr>
              <a:xfrm>
                <a:off x="8521382" y="2246313"/>
                <a:ext cx="1555750" cy="342900"/>
              </a:xfrm>
              <a:custGeom>
                <a:avLst/>
                <a:gdLst>
                  <a:gd name="connsiteX0" fmla="*/ 5398 w 1555750"/>
                  <a:gd name="connsiteY0" fmla="*/ 9842 h 342900"/>
                  <a:gd name="connsiteX1" fmla="*/ 4763 w 1555750"/>
                  <a:gd name="connsiteY1" fmla="*/ 32067 h 342900"/>
                  <a:gd name="connsiteX2" fmla="*/ 776288 w 1555750"/>
                  <a:gd name="connsiteY2" fmla="*/ 340677 h 342900"/>
                  <a:gd name="connsiteX3" fmla="*/ 1555433 w 1555750"/>
                  <a:gd name="connsiteY3" fmla="*/ 31433 h 342900"/>
                  <a:gd name="connsiteX4" fmla="*/ 1556068 w 1555750"/>
                  <a:gd name="connsiteY4" fmla="*/ 476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5750" h="342900">
                    <a:moveTo>
                      <a:pt x="5398" y="9842"/>
                    </a:moveTo>
                    <a:lnTo>
                      <a:pt x="4763" y="32067"/>
                    </a:lnTo>
                    <a:lnTo>
                      <a:pt x="776288" y="340677"/>
                    </a:lnTo>
                    <a:lnTo>
                      <a:pt x="1555433" y="31433"/>
                    </a:lnTo>
                    <a:lnTo>
                      <a:pt x="1556068" y="4763"/>
                    </a:lnTo>
                    <a:close/>
                  </a:path>
                </a:pathLst>
              </a:custGeom>
              <a:solidFill>
                <a:srgbClr val="0B26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ACB1BE53-D6A2-40D5-898F-87E5BF0AD359}"/>
                  </a:ext>
                </a:extLst>
              </p:cNvPr>
              <p:cNvSpPr/>
              <p:nvPr/>
            </p:nvSpPr>
            <p:spPr>
              <a:xfrm>
                <a:off x="8522018" y="1938338"/>
                <a:ext cx="774700" cy="622300"/>
              </a:xfrm>
              <a:custGeom>
                <a:avLst/>
                <a:gdLst>
                  <a:gd name="connsiteX0" fmla="*/ 4763 w 774700"/>
                  <a:gd name="connsiteY0" fmla="*/ 317817 h 622300"/>
                  <a:gd name="connsiteX1" fmla="*/ 775017 w 774700"/>
                  <a:gd name="connsiteY1" fmla="*/ 620713 h 622300"/>
                  <a:gd name="connsiteX2" fmla="*/ 773113 w 774700"/>
                  <a:gd name="connsiteY2" fmla="*/ 4763 h 622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4700" h="622300">
                    <a:moveTo>
                      <a:pt x="4763" y="317817"/>
                    </a:moveTo>
                    <a:lnTo>
                      <a:pt x="775017" y="620713"/>
                    </a:lnTo>
                    <a:lnTo>
                      <a:pt x="773113" y="4763"/>
                    </a:lnTo>
                    <a:close/>
                  </a:path>
                </a:pathLst>
              </a:custGeom>
              <a:solidFill>
                <a:srgbClr val="4C59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F172E6CF-5470-48D4-9321-2097FD269678}"/>
                  </a:ext>
                </a:extLst>
              </p:cNvPr>
              <p:cNvSpPr/>
              <p:nvPr/>
            </p:nvSpPr>
            <p:spPr>
              <a:xfrm>
                <a:off x="9290368" y="1937067"/>
                <a:ext cx="787400" cy="628650"/>
              </a:xfrm>
              <a:custGeom>
                <a:avLst/>
                <a:gdLst>
                  <a:gd name="connsiteX0" fmla="*/ 787082 w 787400"/>
                  <a:gd name="connsiteY0" fmla="*/ 314008 h 628650"/>
                  <a:gd name="connsiteX1" fmla="*/ 9207 w 787400"/>
                  <a:gd name="connsiteY1" fmla="*/ 4763 h 628650"/>
                  <a:gd name="connsiteX2" fmla="*/ 4763 w 787400"/>
                  <a:gd name="connsiteY2" fmla="*/ 6033 h 628650"/>
                  <a:gd name="connsiteX3" fmla="*/ 6667 w 787400"/>
                  <a:gd name="connsiteY3" fmla="*/ 621983 h 628650"/>
                  <a:gd name="connsiteX4" fmla="*/ 13017 w 787400"/>
                  <a:gd name="connsiteY4" fmla="*/ 624523 h 628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7400" h="628650">
                    <a:moveTo>
                      <a:pt x="787082" y="314008"/>
                    </a:moveTo>
                    <a:lnTo>
                      <a:pt x="9207" y="4763"/>
                    </a:lnTo>
                    <a:lnTo>
                      <a:pt x="4763" y="6033"/>
                    </a:lnTo>
                    <a:lnTo>
                      <a:pt x="6667" y="621983"/>
                    </a:lnTo>
                    <a:lnTo>
                      <a:pt x="13017" y="624523"/>
                    </a:lnTo>
                    <a:close/>
                  </a:path>
                </a:pathLst>
              </a:custGeom>
              <a:solidFill>
                <a:srgbClr val="67738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22C7BAFA-8840-4CC1-88C7-4A4DC343DC8B}"/>
                  </a:ext>
                </a:extLst>
              </p:cNvPr>
              <p:cNvSpPr/>
              <p:nvPr/>
            </p:nvSpPr>
            <p:spPr>
              <a:xfrm>
                <a:off x="9341168" y="2238692"/>
                <a:ext cx="419100" cy="908050"/>
              </a:xfrm>
              <a:custGeom>
                <a:avLst/>
                <a:gdLst>
                  <a:gd name="connsiteX0" fmla="*/ 366713 w 419100"/>
                  <a:gd name="connsiteY0" fmla="*/ 714693 h 908050"/>
                  <a:gd name="connsiteX1" fmla="*/ 397827 w 419100"/>
                  <a:gd name="connsiteY1" fmla="*/ 666433 h 908050"/>
                  <a:gd name="connsiteX2" fmla="*/ 353377 w 419100"/>
                  <a:gd name="connsiteY2" fmla="*/ 614363 h 908050"/>
                  <a:gd name="connsiteX3" fmla="*/ 352107 w 419100"/>
                  <a:gd name="connsiteY3" fmla="*/ 160973 h 908050"/>
                  <a:gd name="connsiteX4" fmla="*/ 20002 w 419100"/>
                  <a:gd name="connsiteY4" fmla="*/ 4763 h 908050"/>
                  <a:gd name="connsiteX5" fmla="*/ 4763 w 419100"/>
                  <a:gd name="connsiteY5" fmla="*/ 16828 h 908050"/>
                  <a:gd name="connsiteX6" fmla="*/ 332422 w 419100"/>
                  <a:gd name="connsiteY6" fmla="*/ 174308 h 908050"/>
                  <a:gd name="connsiteX7" fmla="*/ 334963 w 419100"/>
                  <a:gd name="connsiteY7" fmla="*/ 614998 h 908050"/>
                  <a:gd name="connsiteX8" fmla="*/ 293052 w 419100"/>
                  <a:gd name="connsiteY8" fmla="*/ 666433 h 908050"/>
                  <a:gd name="connsiteX9" fmla="*/ 327977 w 419100"/>
                  <a:gd name="connsiteY9" fmla="*/ 715963 h 908050"/>
                  <a:gd name="connsiteX10" fmla="*/ 276542 w 419100"/>
                  <a:gd name="connsiteY10" fmla="*/ 867728 h 908050"/>
                  <a:gd name="connsiteX11" fmla="*/ 346392 w 419100"/>
                  <a:gd name="connsiteY11" fmla="*/ 908368 h 908050"/>
                  <a:gd name="connsiteX12" fmla="*/ 416242 w 419100"/>
                  <a:gd name="connsiteY12" fmla="*/ 867728 h 908050"/>
                  <a:gd name="connsiteX13" fmla="*/ 366713 w 419100"/>
                  <a:gd name="connsiteY13" fmla="*/ 714693 h 90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9100" h="908050">
                    <a:moveTo>
                      <a:pt x="366713" y="714693"/>
                    </a:moveTo>
                    <a:cubicBezTo>
                      <a:pt x="385127" y="706438"/>
                      <a:pt x="397827" y="688023"/>
                      <a:pt x="397827" y="666433"/>
                    </a:cubicBezTo>
                    <a:cubicBezTo>
                      <a:pt x="397827" y="639763"/>
                      <a:pt x="378142" y="618173"/>
                      <a:pt x="353377" y="614363"/>
                    </a:cubicBezTo>
                    <a:lnTo>
                      <a:pt x="352107" y="160973"/>
                    </a:lnTo>
                    <a:lnTo>
                      <a:pt x="20002" y="4763"/>
                    </a:lnTo>
                    <a:lnTo>
                      <a:pt x="4763" y="16828"/>
                    </a:lnTo>
                    <a:lnTo>
                      <a:pt x="332422" y="174308"/>
                    </a:lnTo>
                    <a:lnTo>
                      <a:pt x="334963" y="614998"/>
                    </a:lnTo>
                    <a:cubicBezTo>
                      <a:pt x="310832" y="620078"/>
                      <a:pt x="293052" y="641033"/>
                      <a:pt x="293052" y="666433"/>
                    </a:cubicBezTo>
                    <a:cubicBezTo>
                      <a:pt x="293052" y="689293"/>
                      <a:pt x="307657" y="708343"/>
                      <a:pt x="327977" y="715963"/>
                    </a:cubicBezTo>
                    <a:cubicBezTo>
                      <a:pt x="307022" y="769303"/>
                      <a:pt x="276542" y="848043"/>
                      <a:pt x="276542" y="867728"/>
                    </a:cubicBezTo>
                    <a:cubicBezTo>
                      <a:pt x="276542" y="898843"/>
                      <a:pt x="307657" y="908368"/>
                      <a:pt x="346392" y="908368"/>
                    </a:cubicBezTo>
                    <a:cubicBezTo>
                      <a:pt x="385127" y="908368"/>
                      <a:pt x="416242" y="898843"/>
                      <a:pt x="416242" y="867728"/>
                    </a:cubicBezTo>
                    <a:cubicBezTo>
                      <a:pt x="415607" y="847408"/>
                      <a:pt x="387032" y="767398"/>
                      <a:pt x="366713" y="714693"/>
                    </a:cubicBezTo>
                    <a:close/>
                  </a:path>
                </a:pathLst>
              </a:custGeom>
              <a:solidFill>
                <a:srgbClr val="EF2F3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C4105D37-F384-419A-9187-96813093A345}"/>
                  </a:ext>
                </a:extLst>
              </p:cNvPr>
              <p:cNvSpPr/>
              <p:nvPr/>
            </p:nvSpPr>
            <p:spPr>
              <a:xfrm>
                <a:off x="9218613" y="2203767"/>
                <a:ext cx="158750" cy="82550"/>
              </a:xfrm>
              <a:custGeom>
                <a:avLst/>
                <a:gdLst>
                  <a:gd name="connsiteX0" fmla="*/ 154622 w 158750"/>
                  <a:gd name="connsiteY0" fmla="*/ 42228 h 82550"/>
                  <a:gd name="connsiteX1" fmla="*/ 79693 w 158750"/>
                  <a:gd name="connsiteY1" fmla="*/ 79693 h 82550"/>
                  <a:gd name="connsiteX2" fmla="*/ 4763 w 158750"/>
                  <a:gd name="connsiteY2" fmla="*/ 42228 h 82550"/>
                  <a:gd name="connsiteX3" fmla="*/ 79693 w 158750"/>
                  <a:gd name="connsiteY3" fmla="*/ 4763 h 82550"/>
                  <a:gd name="connsiteX4" fmla="*/ 154622 w 158750"/>
                  <a:gd name="connsiteY4" fmla="*/ 42228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750" h="82550">
                    <a:moveTo>
                      <a:pt x="154622" y="42228"/>
                    </a:moveTo>
                    <a:cubicBezTo>
                      <a:pt x="154622" y="62548"/>
                      <a:pt x="120968" y="79693"/>
                      <a:pt x="79693" y="79693"/>
                    </a:cubicBezTo>
                    <a:cubicBezTo>
                      <a:pt x="38418" y="79693"/>
                      <a:pt x="4763" y="63183"/>
                      <a:pt x="4763" y="42228"/>
                    </a:cubicBezTo>
                    <a:cubicBezTo>
                      <a:pt x="4763" y="21908"/>
                      <a:pt x="38418" y="4763"/>
                      <a:pt x="79693" y="4763"/>
                    </a:cubicBezTo>
                    <a:cubicBezTo>
                      <a:pt x="121603" y="5398"/>
                      <a:pt x="154622" y="21908"/>
                      <a:pt x="154622" y="42228"/>
                    </a:cubicBezTo>
                    <a:close/>
                  </a:path>
                </a:pathLst>
              </a:custGeom>
              <a:solidFill>
                <a:srgbClr val="0B2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7E0A4010-FD1F-4E90-BF54-1565123AF731}"/>
                  </a:ext>
                </a:extLst>
              </p:cNvPr>
              <p:cNvSpPr/>
              <p:nvPr/>
            </p:nvSpPr>
            <p:spPr>
              <a:xfrm>
                <a:off x="9219247" y="2182813"/>
                <a:ext cx="76200" cy="82550"/>
              </a:xfrm>
              <a:custGeom>
                <a:avLst/>
                <a:gdLst>
                  <a:gd name="connsiteX0" fmla="*/ 4763 w 76200"/>
                  <a:gd name="connsiteY0" fmla="*/ 42227 h 82550"/>
                  <a:gd name="connsiteX1" fmla="*/ 77153 w 76200"/>
                  <a:gd name="connsiteY1" fmla="*/ 79058 h 82550"/>
                  <a:gd name="connsiteX2" fmla="*/ 77153 w 76200"/>
                  <a:gd name="connsiteY2" fmla="*/ 4763 h 82550"/>
                  <a:gd name="connsiteX3" fmla="*/ 4763 w 76200"/>
                  <a:gd name="connsiteY3" fmla="*/ 42227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82550">
                    <a:moveTo>
                      <a:pt x="4763" y="42227"/>
                    </a:moveTo>
                    <a:cubicBezTo>
                      <a:pt x="4763" y="62548"/>
                      <a:pt x="36513" y="78423"/>
                      <a:pt x="77153" y="79058"/>
                    </a:cubicBezTo>
                    <a:lnTo>
                      <a:pt x="77153" y="4763"/>
                    </a:lnTo>
                    <a:cubicBezTo>
                      <a:pt x="36513" y="6033"/>
                      <a:pt x="4763" y="21908"/>
                      <a:pt x="4763" y="42227"/>
                    </a:cubicBezTo>
                    <a:close/>
                  </a:path>
                </a:pathLst>
              </a:custGeom>
              <a:solidFill>
                <a:srgbClr val="6B77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FCED1CF2-EDF6-4A14-987C-440D601BF307}"/>
                  </a:ext>
                </a:extLst>
              </p:cNvPr>
              <p:cNvSpPr/>
              <p:nvPr/>
            </p:nvSpPr>
            <p:spPr>
              <a:xfrm>
                <a:off x="9291638" y="2182813"/>
                <a:ext cx="82550" cy="82550"/>
              </a:xfrm>
              <a:custGeom>
                <a:avLst/>
                <a:gdLst>
                  <a:gd name="connsiteX0" fmla="*/ 7303 w 82550"/>
                  <a:gd name="connsiteY0" fmla="*/ 4763 h 82550"/>
                  <a:gd name="connsiteX1" fmla="*/ 4763 w 82550"/>
                  <a:gd name="connsiteY1" fmla="*/ 4763 h 82550"/>
                  <a:gd name="connsiteX2" fmla="*/ 4763 w 82550"/>
                  <a:gd name="connsiteY2" fmla="*/ 79058 h 82550"/>
                  <a:gd name="connsiteX3" fmla="*/ 7303 w 82550"/>
                  <a:gd name="connsiteY3" fmla="*/ 79058 h 82550"/>
                  <a:gd name="connsiteX4" fmla="*/ 82232 w 82550"/>
                  <a:gd name="connsiteY4" fmla="*/ 41592 h 82550"/>
                  <a:gd name="connsiteX5" fmla="*/ 7303 w 82550"/>
                  <a:gd name="connsiteY5" fmla="*/ 4763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2550" h="82550">
                    <a:moveTo>
                      <a:pt x="7303" y="4763"/>
                    </a:moveTo>
                    <a:cubicBezTo>
                      <a:pt x="6668" y="4763"/>
                      <a:pt x="5397" y="4763"/>
                      <a:pt x="4763" y="4763"/>
                    </a:cubicBezTo>
                    <a:lnTo>
                      <a:pt x="4763" y="79058"/>
                    </a:lnTo>
                    <a:cubicBezTo>
                      <a:pt x="5397" y="79058"/>
                      <a:pt x="6668" y="79058"/>
                      <a:pt x="7303" y="79058"/>
                    </a:cubicBezTo>
                    <a:cubicBezTo>
                      <a:pt x="48578" y="79058"/>
                      <a:pt x="82232" y="62548"/>
                      <a:pt x="82232" y="41592"/>
                    </a:cubicBezTo>
                    <a:cubicBezTo>
                      <a:pt x="81597" y="21908"/>
                      <a:pt x="48578" y="4763"/>
                      <a:pt x="7303" y="4763"/>
                    </a:cubicBezTo>
                    <a:close/>
                  </a:path>
                </a:pathLst>
              </a:custGeom>
              <a:solidFill>
                <a:srgbClr val="41506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7C33EBBA-0654-4274-A042-943F0904E228}"/>
                  </a:ext>
                </a:extLst>
              </p:cNvPr>
              <p:cNvSpPr/>
              <p:nvPr/>
            </p:nvSpPr>
            <p:spPr>
              <a:xfrm>
                <a:off x="10294303" y="4233863"/>
                <a:ext cx="196850" cy="114300"/>
              </a:xfrm>
              <a:custGeom>
                <a:avLst/>
                <a:gdLst>
                  <a:gd name="connsiteX0" fmla="*/ 88582 w 196850"/>
                  <a:gd name="connsiteY0" fmla="*/ 4763 h 114300"/>
                  <a:gd name="connsiteX1" fmla="*/ 4763 w 196850"/>
                  <a:gd name="connsiteY1" fmla="*/ 4763 h 114300"/>
                  <a:gd name="connsiteX2" fmla="*/ 4763 w 196850"/>
                  <a:gd name="connsiteY2" fmla="*/ 115253 h 114300"/>
                  <a:gd name="connsiteX3" fmla="*/ 194628 w 196850"/>
                  <a:gd name="connsiteY3" fmla="*/ 114617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850" h="114300">
                    <a:moveTo>
                      <a:pt x="88582" y="4763"/>
                    </a:moveTo>
                    <a:lnTo>
                      <a:pt x="4763" y="4763"/>
                    </a:lnTo>
                    <a:lnTo>
                      <a:pt x="4763" y="115253"/>
                    </a:lnTo>
                    <a:lnTo>
                      <a:pt x="194628" y="114617"/>
                    </a:lnTo>
                    <a:close/>
                  </a:path>
                </a:pathLst>
              </a:custGeom>
              <a:solidFill>
                <a:srgbClr val="41516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EECEAE31-A4F3-431C-B41C-762525EB5CE1}"/>
                  </a:ext>
                </a:extLst>
              </p:cNvPr>
              <p:cNvSpPr/>
              <p:nvPr/>
            </p:nvSpPr>
            <p:spPr>
              <a:xfrm>
                <a:off x="10110153" y="4233863"/>
                <a:ext cx="190500" cy="120650"/>
              </a:xfrm>
              <a:custGeom>
                <a:avLst/>
                <a:gdLst>
                  <a:gd name="connsiteX0" fmla="*/ 110172 w 190500"/>
                  <a:gd name="connsiteY0" fmla="*/ 4763 h 120650"/>
                  <a:gd name="connsiteX1" fmla="*/ 4763 w 190500"/>
                  <a:gd name="connsiteY1" fmla="*/ 115888 h 120650"/>
                  <a:gd name="connsiteX2" fmla="*/ 188913 w 190500"/>
                  <a:gd name="connsiteY2" fmla="*/ 115253 h 120650"/>
                  <a:gd name="connsiteX3" fmla="*/ 188913 w 190500"/>
                  <a:gd name="connsiteY3" fmla="*/ 4763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" h="120650">
                    <a:moveTo>
                      <a:pt x="110172" y="4763"/>
                    </a:moveTo>
                    <a:lnTo>
                      <a:pt x="4763" y="115888"/>
                    </a:lnTo>
                    <a:lnTo>
                      <a:pt x="188913" y="115253"/>
                    </a:lnTo>
                    <a:lnTo>
                      <a:pt x="188913" y="4763"/>
                    </a:lnTo>
                    <a:close/>
                  </a:path>
                </a:pathLst>
              </a:custGeom>
              <a:solidFill>
                <a:srgbClr val="5A66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B8FD946A-304A-4144-BA37-D7F73E3569D6}"/>
                  </a:ext>
                </a:extLst>
              </p:cNvPr>
              <p:cNvSpPr/>
              <p:nvPr/>
            </p:nvSpPr>
            <p:spPr>
              <a:xfrm>
                <a:off x="10294303" y="4132263"/>
                <a:ext cx="38100" cy="88900"/>
              </a:xfrm>
              <a:custGeom>
                <a:avLst/>
                <a:gdLst>
                  <a:gd name="connsiteX0" fmla="*/ 39053 w 38100"/>
                  <a:gd name="connsiteY0" fmla="*/ 4763 h 88900"/>
                  <a:gd name="connsiteX1" fmla="*/ 4763 w 38100"/>
                  <a:gd name="connsiteY1" fmla="*/ 4763 h 88900"/>
                  <a:gd name="connsiteX2" fmla="*/ 4763 w 38100"/>
                  <a:gd name="connsiteY2" fmla="*/ 86678 h 88900"/>
                  <a:gd name="connsiteX3" fmla="*/ 39053 w 38100"/>
                  <a:gd name="connsiteY3" fmla="*/ 86678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88900">
                    <a:moveTo>
                      <a:pt x="39053" y="4763"/>
                    </a:moveTo>
                    <a:lnTo>
                      <a:pt x="4763" y="4763"/>
                    </a:lnTo>
                    <a:lnTo>
                      <a:pt x="4763" y="86678"/>
                    </a:lnTo>
                    <a:lnTo>
                      <a:pt x="39053" y="86678"/>
                    </a:lnTo>
                    <a:close/>
                  </a:path>
                </a:pathLst>
              </a:custGeom>
              <a:solidFill>
                <a:srgbClr val="41516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E69E9859-CEAB-44A3-A453-FC2BD57CD8E7}"/>
                  </a:ext>
                </a:extLst>
              </p:cNvPr>
              <p:cNvSpPr/>
              <p:nvPr/>
            </p:nvSpPr>
            <p:spPr>
              <a:xfrm>
                <a:off x="10259378" y="4132263"/>
                <a:ext cx="44450" cy="88900"/>
              </a:xfrm>
              <a:custGeom>
                <a:avLst/>
                <a:gdLst>
                  <a:gd name="connsiteX0" fmla="*/ 4763 w 44450"/>
                  <a:gd name="connsiteY0" fmla="*/ 4763 h 88900"/>
                  <a:gd name="connsiteX1" fmla="*/ 4763 w 44450"/>
                  <a:gd name="connsiteY1" fmla="*/ 86678 h 88900"/>
                  <a:gd name="connsiteX2" fmla="*/ 39688 w 44450"/>
                  <a:gd name="connsiteY2" fmla="*/ 86678 h 88900"/>
                  <a:gd name="connsiteX3" fmla="*/ 39688 w 44450"/>
                  <a:gd name="connsiteY3" fmla="*/ 4763 h 88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450" h="88900">
                    <a:moveTo>
                      <a:pt x="4763" y="4763"/>
                    </a:moveTo>
                    <a:lnTo>
                      <a:pt x="4763" y="86678"/>
                    </a:lnTo>
                    <a:lnTo>
                      <a:pt x="39688" y="86678"/>
                    </a:lnTo>
                    <a:lnTo>
                      <a:pt x="39688" y="4763"/>
                    </a:lnTo>
                    <a:close/>
                  </a:path>
                </a:pathLst>
              </a:custGeom>
              <a:solidFill>
                <a:srgbClr val="5A66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00E28322-B1B5-408E-AE0C-B5DA91CA4769}"/>
                  </a:ext>
                </a:extLst>
              </p:cNvPr>
              <p:cNvSpPr/>
              <p:nvPr/>
            </p:nvSpPr>
            <p:spPr>
              <a:xfrm>
                <a:off x="9914572" y="3266758"/>
                <a:ext cx="762000" cy="762000"/>
              </a:xfrm>
              <a:custGeom>
                <a:avLst/>
                <a:gdLst>
                  <a:gd name="connsiteX0" fmla="*/ 762953 w 762000"/>
                  <a:gd name="connsiteY0" fmla="*/ 383858 h 762000"/>
                  <a:gd name="connsiteX1" fmla="*/ 383858 w 762000"/>
                  <a:gd name="connsiteY1" fmla="*/ 762952 h 762000"/>
                  <a:gd name="connsiteX2" fmla="*/ 4763 w 762000"/>
                  <a:gd name="connsiteY2" fmla="*/ 383858 h 762000"/>
                  <a:gd name="connsiteX3" fmla="*/ 383858 w 762000"/>
                  <a:gd name="connsiteY3" fmla="*/ 4763 h 762000"/>
                  <a:gd name="connsiteX4" fmla="*/ 762953 w 762000"/>
                  <a:gd name="connsiteY4" fmla="*/ 383858 h 76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000" h="762000">
                    <a:moveTo>
                      <a:pt x="762953" y="383858"/>
                    </a:moveTo>
                    <a:cubicBezTo>
                      <a:pt x="762953" y="593408"/>
                      <a:pt x="593408" y="762952"/>
                      <a:pt x="383858" y="762952"/>
                    </a:cubicBezTo>
                    <a:cubicBezTo>
                      <a:pt x="174943" y="762952"/>
                      <a:pt x="4763" y="593408"/>
                      <a:pt x="4763" y="383858"/>
                    </a:cubicBezTo>
                    <a:cubicBezTo>
                      <a:pt x="4763" y="174308"/>
                      <a:pt x="174308" y="4763"/>
                      <a:pt x="383858" y="4763"/>
                    </a:cubicBezTo>
                    <a:cubicBezTo>
                      <a:pt x="593408" y="4763"/>
                      <a:pt x="762953" y="174942"/>
                      <a:pt x="762953" y="383858"/>
                    </a:cubicBezTo>
                    <a:close/>
                  </a:path>
                </a:pathLst>
              </a:custGeom>
              <a:solidFill>
                <a:srgbClr val="2330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554D95CD-4AD6-4479-9F3B-11A4A35127B9}"/>
                  </a:ext>
                </a:extLst>
              </p:cNvPr>
              <p:cNvSpPr/>
              <p:nvPr/>
            </p:nvSpPr>
            <p:spPr>
              <a:xfrm>
                <a:off x="9842818" y="3191192"/>
                <a:ext cx="958850" cy="958850"/>
              </a:xfrm>
              <a:custGeom>
                <a:avLst/>
                <a:gdLst>
                  <a:gd name="connsiteX0" fmla="*/ 822007 w 958850"/>
                  <a:gd name="connsiteY0" fmla="*/ 122238 h 958850"/>
                  <a:gd name="connsiteX1" fmla="*/ 858838 w 958850"/>
                  <a:gd name="connsiteY1" fmla="*/ 83503 h 958850"/>
                  <a:gd name="connsiteX2" fmla="*/ 868997 w 958850"/>
                  <a:gd name="connsiteY2" fmla="*/ 84773 h 958850"/>
                  <a:gd name="connsiteX3" fmla="*/ 909002 w 958850"/>
                  <a:gd name="connsiteY3" fmla="*/ 44768 h 958850"/>
                  <a:gd name="connsiteX4" fmla="*/ 868997 w 958850"/>
                  <a:gd name="connsiteY4" fmla="*/ 4763 h 958850"/>
                  <a:gd name="connsiteX5" fmla="*/ 828992 w 958850"/>
                  <a:gd name="connsiteY5" fmla="*/ 44768 h 958850"/>
                  <a:gd name="connsiteX6" fmla="*/ 829627 w 958850"/>
                  <a:gd name="connsiteY6" fmla="*/ 50483 h 958850"/>
                  <a:gd name="connsiteX7" fmla="*/ 690563 w 958850"/>
                  <a:gd name="connsiteY7" fmla="*/ 192088 h 958850"/>
                  <a:gd name="connsiteX8" fmla="*/ 721677 w 958850"/>
                  <a:gd name="connsiteY8" fmla="*/ 227013 h 958850"/>
                  <a:gd name="connsiteX9" fmla="*/ 780097 w 958850"/>
                  <a:gd name="connsiteY9" fmla="*/ 165417 h 958850"/>
                  <a:gd name="connsiteX10" fmla="*/ 893127 w 958850"/>
                  <a:gd name="connsiteY10" fmla="*/ 458153 h 958850"/>
                  <a:gd name="connsiteX11" fmla="*/ 456247 w 958850"/>
                  <a:gd name="connsiteY11" fmla="*/ 895033 h 958850"/>
                  <a:gd name="connsiteX12" fmla="*/ 163513 w 958850"/>
                  <a:gd name="connsiteY12" fmla="*/ 782638 h 958850"/>
                  <a:gd name="connsiteX13" fmla="*/ 226377 w 958850"/>
                  <a:gd name="connsiteY13" fmla="*/ 722948 h 958850"/>
                  <a:gd name="connsiteX14" fmla="*/ 191452 w 958850"/>
                  <a:gd name="connsiteY14" fmla="*/ 692467 h 958850"/>
                  <a:gd name="connsiteX15" fmla="*/ 50482 w 958850"/>
                  <a:gd name="connsiteY15" fmla="*/ 831533 h 958850"/>
                  <a:gd name="connsiteX16" fmla="*/ 44767 w 958850"/>
                  <a:gd name="connsiteY16" fmla="*/ 830898 h 958850"/>
                  <a:gd name="connsiteX17" fmla="*/ 4763 w 958850"/>
                  <a:gd name="connsiteY17" fmla="*/ 870903 h 958850"/>
                  <a:gd name="connsiteX18" fmla="*/ 44767 w 958850"/>
                  <a:gd name="connsiteY18" fmla="*/ 910908 h 958850"/>
                  <a:gd name="connsiteX19" fmla="*/ 84772 w 958850"/>
                  <a:gd name="connsiteY19" fmla="*/ 870903 h 958850"/>
                  <a:gd name="connsiteX20" fmla="*/ 83502 w 958850"/>
                  <a:gd name="connsiteY20" fmla="*/ 860742 h 958850"/>
                  <a:gd name="connsiteX21" fmla="*/ 120332 w 958850"/>
                  <a:gd name="connsiteY21" fmla="*/ 825183 h 958850"/>
                  <a:gd name="connsiteX22" fmla="*/ 456882 w 958850"/>
                  <a:gd name="connsiteY22" fmla="*/ 956628 h 958850"/>
                  <a:gd name="connsiteX23" fmla="*/ 954722 w 958850"/>
                  <a:gd name="connsiteY23" fmla="*/ 458788 h 958850"/>
                  <a:gd name="connsiteX24" fmla="*/ 822007 w 958850"/>
                  <a:gd name="connsiteY24" fmla="*/ 122238 h 958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58850" h="958850">
                    <a:moveTo>
                      <a:pt x="822007" y="122238"/>
                    </a:moveTo>
                    <a:lnTo>
                      <a:pt x="858838" y="83503"/>
                    </a:lnTo>
                    <a:cubicBezTo>
                      <a:pt x="862013" y="84138"/>
                      <a:pt x="865822" y="84773"/>
                      <a:pt x="868997" y="84773"/>
                    </a:cubicBezTo>
                    <a:cubicBezTo>
                      <a:pt x="891222" y="84773"/>
                      <a:pt x="909002" y="66992"/>
                      <a:pt x="909002" y="44768"/>
                    </a:cubicBezTo>
                    <a:cubicBezTo>
                      <a:pt x="909002" y="22543"/>
                      <a:pt x="891222" y="4763"/>
                      <a:pt x="868997" y="4763"/>
                    </a:cubicBezTo>
                    <a:cubicBezTo>
                      <a:pt x="846772" y="4763"/>
                      <a:pt x="828992" y="22543"/>
                      <a:pt x="828992" y="44768"/>
                    </a:cubicBezTo>
                    <a:cubicBezTo>
                      <a:pt x="828992" y="46673"/>
                      <a:pt x="828992" y="48578"/>
                      <a:pt x="829627" y="50483"/>
                    </a:cubicBezTo>
                    <a:lnTo>
                      <a:pt x="690563" y="192088"/>
                    </a:lnTo>
                    <a:lnTo>
                      <a:pt x="721677" y="227013"/>
                    </a:lnTo>
                    <a:lnTo>
                      <a:pt x="780097" y="165417"/>
                    </a:lnTo>
                    <a:cubicBezTo>
                      <a:pt x="849947" y="242888"/>
                      <a:pt x="893127" y="345758"/>
                      <a:pt x="893127" y="458153"/>
                    </a:cubicBezTo>
                    <a:cubicBezTo>
                      <a:pt x="893127" y="699453"/>
                      <a:pt x="696913" y="895033"/>
                      <a:pt x="456247" y="895033"/>
                    </a:cubicBezTo>
                    <a:cubicBezTo>
                      <a:pt x="343852" y="895033"/>
                      <a:pt x="240982" y="852488"/>
                      <a:pt x="163513" y="782638"/>
                    </a:cubicBezTo>
                    <a:lnTo>
                      <a:pt x="226377" y="722948"/>
                    </a:lnTo>
                    <a:lnTo>
                      <a:pt x="191452" y="692467"/>
                    </a:lnTo>
                    <a:lnTo>
                      <a:pt x="50482" y="831533"/>
                    </a:lnTo>
                    <a:cubicBezTo>
                      <a:pt x="48577" y="831533"/>
                      <a:pt x="46672" y="830898"/>
                      <a:pt x="44767" y="830898"/>
                    </a:cubicBezTo>
                    <a:cubicBezTo>
                      <a:pt x="22542" y="830898"/>
                      <a:pt x="4763" y="848678"/>
                      <a:pt x="4763" y="870903"/>
                    </a:cubicBezTo>
                    <a:cubicBezTo>
                      <a:pt x="4763" y="893128"/>
                      <a:pt x="22542" y="910908"/>
                      <a:pt x="44767" y="910908"/>
                    </a:cubicBezTo>
                    <a:cubicBezTo>
                      <a:pt x="66992" y="910908"/>
                      <a:pt x="84772" y="893128"/>
                      <a:pt x="84772" y="870903"/>
                    </a:cubicBezTo>
                    <a:cubicBezTo>
                      <a:pt x="84772" y="867092"/>
                      <a:pt x="84138" y="863917"/>
                      <a:pt x="83502" y="860742"/>
                    </a:cubicBezTo>
                    <a:lnTo>
                      <a:pt x="120332" y="825183"/>
                    </a:lnTo>
                    <a:cubicBezTo>
                      <a:pt x="209232" y="906463"/>
                      <a:pt x="327342" y="956628"/>
                      <a:pt x="456882" y="956628"/>
                    </a:cubicBezTo>
                    <a:cubicBezTo>
                      <a:pt x="731202" y="956628"/>
                      <a:pt x="954722" y="733108"/>
                      <a:pt x="954722" y="458788"/>
                    </a:cubicBezTo>
                    <a:cubicBezTo>
                      <a:pt x="954088" y="329883"/>
                      <a:pt x="903922" y="211138"/>
                      <a:pt x="822007" y="122238"/>
                    </a:cubicBezTo>
                    <a:close/>
                  </a:path>
                </a:pathLst>
              </a:custGeom>
              <a:solidFill>
                <a:srgbClr val="2330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F3F805D1-9A88-4C47-9FDD-A50DF9DB3805}"/>
                  </a:ext>
                </a:extLst>
              </p:cNvPr>
              <p:cNvSpPr/>
              <p:nvPr/>
            </p:nvSpPr>
            <p:spPr>
              <a:xfrm>
                <a:off x="10215563" y="4205288"/>
                <a:ext cx="171450" cy="38100"/>
              </a:xfrm>
              <a:custGeom>
                <a:avLst/>
                <a:gdLst>
                  <a:gd name="connsiteX0" fmla="*/ 4763 w 171450"/>
                  <a:gd name="connsiteY0" fmla="*/ 4763 h 38100"/>
                  <a:gd name="connsiteX1" fmla="*/ 167322 w 171450"/>
                  <a:gd name="connsiteY1" fmla="*/ 4763 h 38100"/>
                  <a:gd name="connsiteX2" fmla="*/ 167322 w 171450"/>
                  <a:gd name="connsiteY2" fmla="*/ 33338 h 38100"/>
                  <a:gd name="connsiteX3" fmla="*/ 4763 w 171450"/>
                  <a:gd name="connsiteY3" fmla="*/ 33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50" h="38100">
                    <a:moveTo>
                      <a:pt x="4763" y="4763"/>
                    </a:moveTo>
                    <a:lnTo>
                      <a:pt x="167322" y="4763"/>
                    </a:lnTo>
                    <a:lnTo>
                      <a:pt x="167322" y="33338"/>
                    </a:lnTo>
                    <a:lnTo>
                      <a:pt x="4763" y="33338"/>
                    </a:lnTo>
                    <a:close/>
                  </a:path>
                </a:pathLst>
              </a:custGeom>
              <a:solidFill>
                <a:srgbClr val="2330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6" name="任意多边形: 形状 185">
                <a:extLst>
                  <a:ext uri="{FF2B5EF4-FFF2-40B4-BE49-F238E27FC236}">
                    <a16:creationId xmlns:a16="http://schemas.microsoft.com/office/drawing/2014/main" id="{BEAF51C7-5313-4E0D-B7CB-0CB1E99E4A16}"/>
                  </a:ext>
                </a:extLst>
              </p:cNvPr>
              <p:cNvSpPr/>
              <p:nvPr/>
            </p:nvSpPr>
            <p:spPr>
              <a:xfrm>
                <a:off x="10070148" y="4312603"/>
                <a:ext cx="457200" cy="69850"/>
              </a:xfrm>
              <a:custGeom>
                <a:avLst/>
                <a:gdLst>
                  <a:gd name="connsiteX0" fmla="*/ 4762 w 457200"/>
                  <a:gd name="connsiteY0" fmla="*/ 4763 h 69850"/>
                  <a:gd name="connsiteX1" fmla="*/ 453072 w 457200"/>
                  <a:gd name="connsiteY1" fmla="*/ 4763 h 69850"/>
                  <a:gd name="connsiteX2" fmla="*/ 453072 w 457200"/>
                  <a:gd name="connsiteY2" fmla="*/ 68898 h 69850"/>
                  <a:gd name="connsiteX3" fmla="*/ 4762 w 457200"/>
                  <a:gd name="connsiteY3" fmla="*/ 68898 h 69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200" h="69850">
                    <a:moveTo>
                      <a:pt x="4762" y="4763"/>
                    </a:moveTo>
                    <a:lnTo>
                      <a:pt x="453072" y="4763"/>
                    </a:lnTo>
                    <a:lnTo>
                      <a:pt x="453072" y="68898"/>
                    </a:lnTo>
                    <a:lnTo>
                      <a:pt x="4762" y="68898"/>
                    </a:lnTo>
                    <a:close/>
                  </a:path>
                </a:pathLst>
              </a:custGeom>
              <a:solidFill>
                <a:srgbClr val="23304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7" name="任意多边形: 形状 186">
                <a:extLst>
                  <a:ext uri="{FF2B5EF4-FFF2-40B4-BE49-F238E27FC236}">
                    <a16:creationId xmlns:a16="http://schemas.microsoft.com/office/drawing/2014/main" id="{43CBB96C-3CE9-4D33-8146-C89BBD7047B8}"/>
                  </a:ext>
                </a:extLst>
              </p:cNvPr>
              <p:cNvSpPr/>
              <p:nvPr/>
            </p:nvSpPr>
            <p:spPr>
              <a:xfrm>
                <a:off x="10152697" y="3834447"/>
                <a:ext cx="133350" cy="146050"/>
              </a:xfrm>
              <a:custGeom>
                <a:avLst/>
                <a:gdLst>
                  <a:gd name="connsiteX0" fmla="*/ 4763 w 133350"/>
                  <a:gd name="connsiteY0" fmla="*/ 36513 h 146050"/>
                  <a:gd name="connsiteX1" fmla="*/ 89853 w 133350"/>
                  <a:gd name="connsiteY1" fmla="*/ 141923 h 146050"/>
                  <a:gd name="connsiteX2" fmla="*/ 128588 w 133350"/>
                  <a:gd name="connsiteY2" fmla="*/ 146368 h 146050"/>
                  <a:gd name="connsiteX3" fmla="*/ 128588 w 133350"/>
                  <a:gd name="connsiteY3" fmla="*/ 4763 h 146050"/>
                  <a:gd name="connsiteX4" fmla="*/ 4763 w 133350"/>
                  <a:gd name="connsiteY4" fmla="*/ 36513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50" h="146050">
                    <a:moveTo>
                      <a:pt x="4763" y="36513"/>
                    </a:moveTo>
                    <a:cubicBezTo>
                      <a:pt x="30163" y="90488"/>
                      <a:pt x="63818" y="122873"/>
                      <a:pt x="89853" y="141923"/>
                    </a:cubicBezTo>
                    <a:cubicBezTo>
                      <a:pt x="102553" y="143828"/>
                      <a:pt x="115253" y="145733"/>
                      <a:pt x="128588" y="146368"/>
                    </a:cubicBezTo>
                    <a:lnTo>
                      <a:pt x="128588" y="4763"/>
                    </a:lnTo>
                    <a:cubicBezTo>
                      <a:pt x="79693" y="6668"/>
                      <a:pt x="37783" y="20638"/>
                      <a:pt x="4763" y="36513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8" name="任意多边形: 形状 187">
                <a:extLst>
                  <a:ext uri="{FF2B5EF4-FFF2-40B4-BE49-F238E27FC236}">
                    <a16:creationId xmlns:a16="http://schemas.microsoft.com/office/drawing/2014/main" id="{15FBF964-2384-4C4C-961E-F2B73142701B}"/>
                  </a:ext>
                </a:extLst>
              </p:cNvPr>
              <p:cNvSpPr/>
              <p:nvPr/>
            </p:nvSpPr>
            <p:spPr>
              <a:xfrm>
                <a:off x="10113328" y="3452813"/>
                <a:ext cx="171450" cy="184150"/>
              </a:xfrm>
              <a:custGeom>
                <a:avLst/>
                <a:gdLst>
                  <a:gd name="connsiteX0" fmla="*/ 167322 w 171450"/>
                  <a:gd name="connsiteY0" fmla="*/ 36513 h 184150"/>
                  <a:gd name="connsiteX1" fmla="*/ 37147 w 171450"/>
                  <a:gd name="connsiteY1" fmla="*/ 4763 h 184150"/>
                  <a:gd name="connsiteX2" fmla="*/ 4763 w 171450"/>
                  <a:gd name="connsiteY2" fmla="*/ 179388 h 184150"/>
                  <a:gd name="connsiteX3" fmla="*/ 166688 w 171450"/>
                  <a:gd name="connsiteY3" fmla="*/ 179388 h 184150"/>
                  <a:gd name="connsiteX4" fmla="*/ 166688 w 171450"/>
                  <a:gd name="connsiteY4" fmla="*/ 36513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0" h="184150">
                    <a:moveTo>
                      <a:pt x="167322" y="36513"/>
                    </a:moveTo>
                    <a:cubicBezTo>
                      <a:pt x="126682" y="34608"/>
                      <a:pt x="82867" y="25717"/>
                      <a:pt x="37147" y="4763"/>
                    </a:cubicBezTo>
                    <a:cubicBezTo>
                      <a:pt x="20638" y="49213"/>
                      <a:pt x="8572" y="106363"/>
                      <a:pt x="4763" y="179388"/>
                    </a:cubicBezTo>
                    <a:lnTo>
                      <a:pt x="166688" y="179388"/>
                    </a:lnTo>
                    <a:lnTo>
                      <a:pt x="166688" y="36513"/>
                    </a:ln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9" name="任意多边形: 形状 188">
                <a:extLst>
                  <a:ext uri="{FF2B5EF4-FFF2-40B4-BE49-F238E27FC236}">
                    <a16:creationId xmlns:a16="http://schemas.microsoft.com/office/drawing/2014/main" id="{513CB95C-15CD-4F7C-A747-42B7165B7877}"/>
                  </a:ext>
                </a:extLst>
              </p:cNvPr>
              <p:cNvSpPr/>
              <p:nvPr/>
            </p:nvSpPr>
            <p:spPr>
              <a:xfrm>
                <a:off x="10418763" y="3340417"/>
                <a:ext cx="88900" cy="76200"/>
              </a:xfrm>
              <a:custGeom>
                <a:avLst/>
                <a:gdLst>
                  <a:gd name="connsiteX0" fmla="*/ 84138 w 88900"/>
                  <a:gd name="connsiteY0" fmla="*/ 51117 h 76200"/>
                  <a:gd name="connsiteX1" fmla="*/ 4763 w 88900"/>
                  <a:gd name="connsiteY1" fmla="*/ 4763 h 76200"/>
                  <a:gd name="connsiteX2" fmla="*/ 43497 w 88900"/>
                  <a:gd name="connsiteY2" fmla="*/ 76517 h 76200"/>
                  <a:gd name="connsiteX3" fmla="*/ 84138 w 88900"/>
                  <a:gd name="connsiteY3" fmla="*/ 51117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00" h="76200">
                    <a:moveTo>
                      <a:pt x="84138" y="51117"/>
                    </a:moveTo>
                    <a:cubicBezTo>
                      <a:pt x="60007" y="32067"/>
                      <a:pt x="33338" y="16192"/>
                      <a:pt x="4763" y="4763"/>
                    </a:cubicBezTo>
                    <a:cubicBezTo>
                      <a:pt x="16193" y="22542"/>
                      <a:pt x="30163" y="46673"/>
                      <a:pt x="43497" y="76517"/>
                    </a:cubicBezTo>
                    <a:cubicBezTo>
                      <a:pt x="56832" y="68898"/>
                      <a:pt x="70803" y="60642"/>
                      <a:pt x="84138" y="51117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0" name="任意多边形: 形状 189">
                <a:extLst>
                  <a:ext uri="{FF2B5EF4-FFF2-40B4-BE49-F238E27FC236}">
                    <a16:creationId xmlns:a16="http://schemas.microsoft.com/office/drawing/2014/main" id="{7EB278A4-BFB7-4136-9D4F-DBA44B664229}"/>
                  </a:ext>
                </a:extLst>
              </p:cNvPr>
              <p:cNvSpPr/>
              <p:nvPr/>
            </p:nvSpPr>
            <p:spPr>
              <a:xfrm>
                <a:off x="10468293" y="3405822"/>
                <a:ext cx="158750" cy="228600"/>
              </a:xfrm>
              <a:custGeom>
                <a:avLst/>
                <a:gdLst>
                  <a:gd name="connsiteX0" fmla="*/ 44132 w 158750"/>
                  <a:gd name="connsiteY0" fmla="*/ 226378 h 228600"/>
                  <a:gd name="connsiteX1" fmla="*/ 159702 w 158750"/>
                  <a:gd name="connsiteY1" fmla="*/ 226378 h 228600"/>
                  <a:gd name="connsiteX2" fmla="*/ 56197 w 158750"/>
                  <a:gd name="connsiteY2" fmla="*/ 4763 h 228600"/>
                  <a:gd name="connsiteX3" fmla="*/ 4763 w 158750"/>
                  <a:gd name="connsiteY3" fmla="*/ 37148 h 228600"/>
                  <a:gd name="connsiteX4" fmla="*/ 44132 w 158750"/>
                  <a:gd name="connsiteY4" fmla="*/ 226378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750" h="228600">
                    <a:moveTo>
                      <a:pt x="44132" y="226378"/>
                    </a:moveTo>
                    <a:lnTo>
                      <a:pt x="159702" y="226378"/>
                    </a:lnTo>
                    <a:cubicBezTo>
                      <a:pt x="154622" y="139383"/>
                      <a:pt x="115888" y="61278"/>
                      <a:pt x="56197" y="4763"/>
                    </a:cubicBezTo>
                    <a:cubicBezTo>
                      <a:pt x="44132" y="13653"/>
                      <a:pt x="26988" y="25083"/>
                      <a:pt x="4763" y="37148"/>
                    </a:cubicBezTo>
                    <a:cubicBezTo>
                      <a:pt x="25717" y="87948"/>
                      <a:pt x="42227" y="152083"/>
                      <a:pt x="44132" y="226378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1" name="任意多边形: 形状 190">
                <a:extLst>
                  <a:ext uri="{FF2B5EF4-FFF2-40B4-BE49-F238E27FC236}">
                    <a16:creationId xmlns:a16="http://schemas.microsoft.com/office/drawing/2014/main" id="{3A81F114-3B48-498E-8409-5DF7024A6578}"/>
                  </a:ext>
                </a:extLst>
              </p:cNvPr>
              <p:cNvSpPr/>
              <p:nvPr/>
            </p:nvSpPr>
            <p:spPr>
              <a:xfrm>
                <a:off x="10310813" y="3833813"/>
                <a:ext cx="133350" cy="146050"/>
              </a:xfrm>
              <a:custGeom>
                <a:avLst/>
                <a:gdLst>
                  <a:gd name="connsiteX0" fmla="*/ 4763 w 133350"/>
                  <a:gd name="connsiteY0" fmla="*/ 146367 h 146050"/>
                  <a:gd name="connsiteX1" fmla="*/ 45403 w 133350"/>
                  <a:gd name="connsiteY1" fmla="*/ 141922 h 146050"/>
                  <a:gd name="connsiteX2" fmla="*/ 129857 w 133350"/>
                  <a:gd name="connsiteY2" fmla="*/ 37147 h 146050"/>
                  <a:gd name="connsiteX3" fmla="*/ 4763 w 133350"/>
                  <a:gd name="connsiteY3" fmla="*/ 4763 h 146050"/>
                  <a:gd name="connsiteX4" fmla="*/ 4763 w 133350"/>
                  <a:gd name="connsiteY4" fmla="*/ 146367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50" h="146050">
                    <a:moveTo>
                      <a:pt x="4763" y="146367"/>
                    </a:moveTo>
                    <a:cubicBezTo>
                      <a:pt x="18732" y="145733"/>
                      <a:pt x="32068" y="143828"/>
                      <a:pt x="45403" y="141922"/>
                    </a:cubicBezTo>
                    <a:cubicBezTo>
                      <a:pt x="71438" y="123508"/>
                      <a:pt x="104457" y="91122"/>
                      <a:pt x="129857" y="37147"/>
                    </a:cubicBezTo>
                    <a:cubicBezTo>
                      <a:pt x="85407" y="16192"/>
                      <a:pt x="43497" y="6667"/>
                      <a:pt x="4763" y="4763"/>
                    </a:cubicBezTo>
                    <a:lnTo>
                      <a:pt x="4763" y="146367"/>
                    </a:ln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2" name="任意多边形: 形状 191">
                <a:extLst>
                  <a:ext uri="{FF2B5EF4-FFF2-40B4-BE49-F238E27FC236}">
                    <a16:creationId xmlns:a16="http://schemas.microsoft.com/office/drawing/2014/main" id="{F242F02E-51D1-4B34-9016-22D96C513ADC}"/>
                  </a:ext>
                </a:extLst>
              </p:cNvPr>
              <p:cNvSpPr/>
              <p:nvPr/>
            </p:nvSpPr>
            <p:spPr>
              <a:xfrm>
                <a:off x="10310178" y="3662363"/>
                <a:ext cx="171450" cy="184150"/>
              </a:xfrm>
              <a:custGeom>
                <a:avLst/>
                <a:gdLst>
                  <a:gd name="connsiteX0" fmla="*/ 5397 w 171450"/>
                  <a:gd name="connsiteY0" fmla="*/ 147638 h 184150"/>
                  <a:gd name="connsiteX1" fmla="*/ 141288 w 171450"/>
                  <a:gd name="connsiteY1" fmla="*/ 183197 h 184150"/>
                  <a:gd name="connsiteX2" fmla="*/ 169863 w 171450"/>
                  <a:gd name="connsiteY2" fmla="*/ 4763 h 184150"/>
                  <a:gd name="connsiteX3" fmla="*/ 4763 w 171450"/>
                  <a:gd name="connsiteY3" fmla="*/ 4763 h 184150"/>
                  <a:gd name="connsiteX4" fmla="*/ 4763 w 171450"/>
                  <a:gd name="connsiteY4" fmla="*/ 147638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0" h="184150">
                    <a:moveTo>
                      <a:pt x="5397" y="147638"/>
                    </a:moveTo>
                    <a:cubicBezTo>
                      <a:pt x="58103" y="150813"/>
                      <a:pt x="104457" y="166053"/>
                      <a:pt x="141288" y="183197"/>
                    </a:cubicBezTo>
                    <a:cubicBezTo>
                      <a:pt x="158432" y="137478"/>
                      <a:pt x="170497" y="79058"/>
                      <a:pt x="169863" y="4763"/>
                    </a:cubicBezTo>
                    <a:lnTo>
                      <a:pt x="4763" y="4763"/>
                    </a:lnTo>
                    <a:lnTo>
                      <a:pt x="4763" y="147638"/>
                    </a:ln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3" name="任意多边形: 形状 192">
                <a:extLst>
                  <a:ext uri="{FF2B5EF4-FFF2-40B4-BE49-F238E27FC236}">
                    <a16:creationId xmlns:a16="http://schemas.microsoft.com/office/drawing/2014/main" id="{00B4E155-0450-4B5A-96EB-0CF9A1EB7133}"/>
                  </a:ext>
                </a:extLst>
              </p:cNvPr>
              <p:cNvSpPr/>
              <p:nvPr/>
            </p:nvSpPr>
            <p:spPr>
              <a:xfrm>
                <a:off x="10090468" y="3340417"/>
                <a:ext cx="88900" cy="76200"/>
              </a:xfrm>
              <a:custGeom>
                <a:avLst/>
                <a:gdLst>
                  <a:gd name="connsiteX0" fmla="*/ 84138 w 88900"/>
                  <a:gd name="connsiteY0" fmla="*/ 4763 h 76200"/>
                  <a:gd name="connsiteX1" fmla="*/ 4763 w 88900"/>
                  <a:gd name="connsiteY1" fmla="*/ 50483 h 76200"/>
                  <a:gd name="connsiteX2" fmla="*/ 44767 w 88900"/>
                  <a:gd name="connsiteY2" fmla="*/ 76517 h 76200"/>
                  <a:gd name="connsiteX3" fmla="*/ 84138 w 88900"/>
                  <a:gd name="connsiteY3" fmla="*/ 4763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00" h="76200">
                    <a:moveTo>
                      <a:pt x="84138" y="4763"/>
                    </a:moveTo>
                    <a:cubicBezTo>
                      <a:pt x="55563" y="16192"/>
                      <a:pt x="28892" y="32067"/>
                      <a:pt x="4763" y="50483"/>
                    </a:cubicBezTo>
                    <a:cubicBezTo>
                      <a:pt x="14922" y="58103"/>
                      <a:pt x="28257" y="66992"/>
                      <a:pt x="44767" y="76517"/>
                    </a:cubicBezTo>
                    <a:cubicBezTo>
                      <a:pt x="58102" y="46673"/>
                      <a:pt x="72072" y="22542"/>
                      <a:pt x="84138" y="4763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4" name="任意多边形: 形状 193">
                <a:extLst>
                  <a:ext uri="{FF2B5EF4-FFF2-40B4-BE49-F238E27FC236}">
                    <a16:creationId xmlns:a16="http://schemas.microsoft.com/office/drawing/2014/main" id="{9491CC1A-1EA2-4A2D-ADA8-6C580C4871D4}"/>
                  </a:ext>
                </a:extLst>
              </p:cNvPr>
              <p:cNvSpPr/>
              <p:nvPr/>
            </p:nvSpPr>
            <p:spPr>
              <a:xfrm>
                <a:off x="10112693" y="3661728"/>
                <a:ext cx="171450" cy="184150"/>
              </a:xfrm>
              <a:custGeom>
                <a:avLst/>
                <a:gdLst>
                  <a:gd name="connsiteX0" fmla="*/ 4763 w 171450"/>
                  <a:gd name="connsiteY0" fmla="*/ 4763 h 184150"/>
                  <a:gd name="connsiteX1" fmla="*/ 32702 w 171450"/>
                  <a:gd name="connsiteY1" fmla="*/ 181292 h 184150"/>
                  <a:gd name="connsiteX2" fmla="*/ 167322 w 171450"/>
                  <a:gd name="connsiteY2" fmla="*/ 147638 h 184150"/>
                  <a:gd name="connsiteX3" fmla="*/ 167322 w 171450"/>
                  <a:gd name="connsiteY3" fmla="*/ 4763 h 184150"/>
                  <a:gd name="connsiteX4" fmla="*/ 4763 w 171450"/>
                  <a:gd name="connsiteY4" fmla="*/ 4763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0" h="184150">
                    <a:moveTo>
                      <a:pt x="4763" y="4763"/>
                    </a:moveTo>
                    <a:cubicBezTo>
                      <a:pt x="4763" y="78422"/>
                      <a:pt x="15557" y="136207"/>
                      <a:pt x="32702" y="181292"/>
                    </a:cubicBezTo>
                    <a:cubicBezTo>
                      <a:pt x="79692" y="159067"/>
                      <a:pt x="125413" y="148907"/>
                      <a:pt x="167322" y="147638"/>
                    </a:cubicBezTo>
                    <a:lnTo>
                      <a:pt x="167322" y="4763"/>
                    </a:lnTo>
                    <a:lnTo>
                      <a:pt x="4763" y="4763"/>
                    </a:ln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5" name="任意多边形: 形状 194">
                <a:extLst>
                  <a:ext uri="{FF2B5EF4-FFF2-40B4-BE49-F238E27FC236}">
                    <a16:creationId xmlns:a16="http://schemas.microsoft.com/office/drawing/2014/main" id="{1E937BE7-1C3E-474D-B559-9DC46827295C}"/>
                  </a:ext>
                </a:extLst>
              </p:cNvPr>
              <p:cNvSpPr/>
              <p:nvPr/>
            </p:nvSpPr>
            <p:spPr>
              <a:xfrm>
                <a:off x="10310813" y="3316288"/>
                <a:ext cx="127000" cy="146050"/>
              </a:xfrm>
              <a:custGeom>
                <a:avLst/>
                <a:gdLst>
                  <a:gd name="connsiteX0" fmla="*/ 4763 w 127000"/>
                  <a:gd name="connsiteY0" fmla="*/ 143828 h 146050"/>
                  <a:gd name="connsiteX1" fmla="*/ 125413 w 127000"/>
                  <a:gd name="connsiteY1" fmla="*/ 113347 h 146050"/>
                  <a:gd name="connsiteX2" fmla="*/ 42863 w 127000"/>
                  <a:gd name="connsiteY2" fmla="*/ 8572 h 146050"/>
                  <a:gd name="connsiteX3" fmla="*/ 5397 w 127000"/>
                  <a:gd name="connsiteY3" fmla="*/ 4763 h 146050"/>
                  <a:gd name="connsiteX4" fmla="*/ 5397 w 127000"/>
                  <a:gd name="connsiteY4" fmla="*/ 143828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000" h="146050">
                    <a:moveTo>
                      <a:pt x="4763" y="143828"/>
                    </a:moveTo>
                    <a:cubicBezTo>
                      <a:pt x="42228" y="141922"/>
                      <a:pt x="82232" y="133033"/>
                      <a:pt x="125413" y="113347"/>
                    </a:cubicBezTo>
                    <a:cubicBezTo>
                      <a:pt x="101282" y="61278"/>
                      <a:pt x="70168" y="28892"/>
                      <a:pt x="42863" y="8572"/>
                    </a:cubicBezTo>
                    <a:cubicBezTo>
                      <a:pt x="30797" y="6667"/>
                      <a:pt x="18097" y="5397"/>
                      <a:pt x="5397" y="4763"/>
                    </a:cubicBezTo>
                    <a:lnTo>
                      <a:pt x="5397" y="143828"/>
                    </a:ln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455EB683-040F-4A7E-B928-8948FD63CBF5}"/>
                  </a:ext>
                </a:extLst>
              </p:cNvPr>
              <p:cNvSpPr/>
              <p:nvPr/>
            </p:nvSpPr>
            <p:spPr>
              <a:xfrm>
                <a:off x="10310813" y="3451542"/>
                <a:ext cx="171450" cy="184150"/>
              </a:xfrm>
              <a:custGeom>
                <a:avLst/>
                <a:gdLst>
                  <a:gd name="connsiteX0" fmla="*/ 4763 w 171450"/>
                  <a:gd name="connsiteY0" fmla="*/ 37148 h 184150"/>
                  <a:gd name="connsiteX1" fmla="*/ 4763 w 171450"/>
                  <a:gd name="connsiteY1" fmla="*/ 180658 h 184150"/>
                  <a:gd name="connsiteX2" fmla="*/ 168593 w 171450"/>
                  <a:gd name="connsiteY2" fmla="*/ 180658 h 184150"/>
                  <a:gd name="connsiteX3" fmla="*/ 135572 w 171450"/>
                  <a:gd name="connsiteY3" fmla="*/ 4763 h 184150"/>
                  <a:gd name="connsiteX4" fmla="*/ 4763 w 171450"/>
                  <a:gd name="connsiteY4" fmla="*/ 37148 h 18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50" h="184150">
                    <a:moveTo>
                      <a:pt x="4763" y="37148"/>
                    </a:moveTo>
                    <a:lnTo>
                      <a:pt x="4763" y="180658"/>
                    </a:lnTo>
                    <a:lnTo>
                      <a:pt x="168593" y="180658"/>
                    </a:lnTo>
                    <a:cubicBezTo>
                      <a:pt x="165418" y="106998"/>
                      <a:pt x="152718" y="49213"/>
                      <a:pt x="135572" y="4763"/>
                    </a:cubicBezTo>
                    <a:cubicBezTo>
                      <a:pt x="99378" y="20638"/>
                      <a:pt x="54928" y="34608"/>
                      <a:pt x="4763" y="37148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464EAF5D-BDDF-4518-B04E-A16DB466EFF3}"/>
                  </a:ext>
                </a:extLst>
              </p:cNvPr>
              <p:cNvSpPr/>
              <p:nvPr/>
            </p:nvSpPr>
            <p:spPr>
              <a:xfrm>
                <a:off x="10157143" y="3316288"/>
                <a:ext cx="127000" cy="146050"/>
              </a:xfrm>
              <a:custGeom>
                <a:avLst/>
                <a:gdLst>
                  <a:gd name="connsiteX0" fmla="*/ 123507 w 127000"/>
                  <a:gd name="connsiteY0" fmla="*/ 4763 h 146050"/>
                  <a:gd name="connsiteX1" fmla="*/ 87947 w 127000"/>
                  <a:gd name="connsiteY1" fmla="*/ 8572 h 146050"/>
                  <a:gd name="connsiteX2" fmla="*/ 4763 w 127000"/>
                  <a:gd name="connsiteY2" fmla="*/ 113983 h 146050"/>
                  <a:gd name="connsiteX3" fmla="*/ 123507 w 127000"/>
                  <a:gd name="connsiteY3" fmla="*/ 143828 h 146050"/>
                  <a:gd name="connsiteX4" fmla="*/ 123507 w 127000"/>
                  <a:gd name="connsiteY4" fmla="*/ 4763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000" h="146050">
                    <a:moveTo>
                      <a:pt x="123507" y="4763"/>
                    </a:moveTo>
                    <a:cubicBezTo>
                      <a:pt x="111442" y="5397"/>
                      <a:pt x="99377" y="6667"/>
                      <a:pt x="87947" y="8572"/>
                    </a:cubicBezTo>
                    <a:cubicBezTo>
                      <a:pt x="60007" y="28892"/>
                      <a:pt x="29527" y="61278"/>
                      <a:pt x="4763" y="113983"/>
                    </a:cubicBezTo>
                    <a:cubicBezTo>
                      <a:pt x="37147" y="128588"/>
                      <a:pt x="77788" y="141288"/>
                      <a:pt x="123507" y="143828"/>
                    </a:cubicBezTo>
                    <a:lnTo>
                      <a:pt x="123507" y="4763"/>
                    </a:ln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87F8B434-219E-4E1A-AC51-0D2CFABCD498}"/>
                  </a:ext>
                </a:extLst>
              </p:cNvPr>
              <p:cNvSpPr/>
              <p:nvPr/>
            </p:nvSpPr>
            <p:spPr>
              <a:xfrm>
                <a:off x="10089197" y="3876992"/>
                <a:ext cx="88900" cy="82550"/>
              </a:xfrm>
              <a:custGeom>
                <a:avLst/>
                <a:gdLst>
                  <a:gd name="connsiteX0" fmla="*/ 4763 w 88900"/>
                  <a:gd name="connsiteY0" fmla="*/ 32067 h 82550"/>
                  <a:gd name="connsiteX1" fmla="*/ 84138 w 88900"/>
                  <a:gd name="connsiteY1" fmla="*/ 79058 h 82550"/>
                  <a:gd name="connsiteX2" fmla="*/ 46672 w 88900"/>
                  <a:gd name="connsiteY2" fmla="*/ 4763 h 82550"/>
                  <a:gd name="connsiteX3" fmla="*/ 4763 w 88900"/>
                  <a:gd name="connsiteY3" fmla="*/ 32067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00" h="82550">
                    <a:moveTo>
                      <a:pt x="4763" y="32067"/>
                    </a:moveTo>
                    <a:cubicBezTo>
                      <a:pt x="28893" y="51117"/>
                      <a:pt x="55563" y="66992"/>
                      <a:pt x="84138" y="79058"/>
                    </a:cubicBezTo>
                    <a:cubicBezTo>
                      <a:pt x="69533" y="53658"/>
                      <a:pt x="56833" y="28892"/>
                      <a:pt x="46672" y="4763"/>
                    </a:cubicBezTo>
                    <a:cubicBezTo>
                      <a:pt x="29528" y="14288"/>
                      <a:pt x="14922" y="23813"/>
                      <a:pt x="4763" y="32067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9" name="任意多边形: 形状 198">
                <a:extLst>
                  <a:ext uri="{FF2B5EF4-FFF2-40B4-BE49-F238E27FC236}">
                    <a16:creationId xmlns:a16="http://schemas.microsoft.com/office/drawing/2014/main" id="{5BA06702-3192-4F30-B061-B568D2686E46}"/>
                  </a:ext>
                </a:extLst>
              </p:cNvPr>
              <p:cNvSpPr/>
              <p:nvPr/>
            </p:nvSpPr>
            <p:spPr>
              <a:xfrm>
                <a:off x="9964103" y="3661728"/>
                <a:ext cx="165100" cy="228600"/>
              </a:xfrm>
              <a:custGeom>
                <a:avLst/>
                <a:gdLst>
                  <a:gd name="connsiteX0" fmla="*/ 120967 w 165100"/>
                  <a:gd name="connsiteY0" fmla="*/ 4763 h 228600"/>
                  <a:gd name="connsiteX1" fmla="*/ 4763 w 165100"/>
                  <a:gd name="connsiteY1" fmla="*/ 4763 h 228600"/>
                  <a:gd name="connsiteX2" fmla="*/ 106363 w 165100"/>
                  <a:gd name="connsiteY2" fmla="*/ 227013 h 228600"/>
                  <a:gd name="connsiteX3" fmla="*/ 160338 w 165100"/>
                  <a:gd name="connsiteY3" fmla="*/ 192088 h 228600"/>
                  <a:gd name="connsiteX4" fmla="*/ 120967 w 165100"/>
                  <a:gd name="connsiteY4" fmla="*/ 4763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100" h="228600">
                    <a:moveTo>
                      <a:pt x="120967" y="4763"/>
                    </a:moveTo>
                    <a:lnTo>
                      <a:pt x="4763" y="4763"/>
                    </a:lnTo>
                    <a:cubicBezTo>
                      <a:pt x="9207" y="91757"/>
                      <a:pt x="47307" y="170497"/>
                      <a:pt x="106363" y="227013"/>
                    </a:cubicBezTo>
                    <a:cubicBezTo>
                      <a:pt x="124778" y="213677"/>
                      <a:pt x="142557" y="202247"/>
                      <a:pt x="160338" y="192088"/>
                    </a:cubicBezTo>
                    <a:cubicBezTo>
                      <a:pt x="134938" y="125413"/>
                      <a:pt x="123507" y="62547"/>
                      <a:pt x="120967" y="4763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任意多边形: 形状 199">
                <a:extLst>
                  <a:ext uri="{FF2B5EF4-FFF2-40B4-BE49-F238E27FC236}">
                    <a16:creationId xmlns:a16="http://schemas.microsoft.com/office/drawing/2014/main" id="{A40268DD-456C-4C88-861E-CD945BFB19EF}"/>
                  </a:ext>
                </a:extLst>
              </p:cNvPr>
              <p:cNvSpPr/>
              <p:nvPr/>
            </p:nvSpPr>
            <p:spPr>
              <a:xfrm>
                <a:off x="10420032" y="3876992"/>
                <a:ext cx="88900" cy="82550"/>
              </a:xfrm>
              <a:custGeom>
                <a:avLst/>
                <a:gdLst>
                  <a:gd name="connsiteX0" fmla="*/ 4763 w 88900"/>
                  <a:gd name="connsiteY0" fmla="*/ 79058 h 82550"/>
                  <a:gd name="connsiteX1" fmla="*/ 84773 w 88900"/>
                  <a:gd name="connsiteY1" fmla="*/ 31433 h 82550"/>
                  <a:gd name="connsiteX2" fmla="*/ 42228 w 88900"/>
                  <a:gd name="connsiteY2" fmla="*/ 4763 h 82550"/>
                  <a:gd name="connsiteX3" fmla="*/ 4763 w 88900"/>
                  <a:gd name="connsiteY3" fmla="*/ 79058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00" h="82550">
                    <a:moveTo>
                      <a:pt x="4763" y="79058"/>
                    </a:moveTo>
                    <a:cubicBezTo>
                      <a:pt x="33973" y="66992"/>
                      <a:pt x="60643" y="51117"/>
                      <a:pt x="84773" y="31433"/>
                    </a:cubicBezTo>
                    <a:cubicBezTo>
                      <a:pt x="70168" y="21273"/>
                      <a:pt x="56198" y="12383"/>
                      <a:pt x="42228" y="4763"/>
                    </a:cubicBezTo>
                    <a:cubicBezTo>
                      <a:pt x="31433" y="28892"/>
                      <a:pt x="19368" y="53658"/>
                      <a:pt x="4763" y="79058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1" name="任意多边形: 形状 200">
                <a:extLst>
                  <a:ext uri="{FF2B5EF4-FFF2-40B4-BE49-F238E27FC236}">
                    <a16:creationId xmlns:a16="http://schemas.microsoft.com/office/drawing/2014/main" id="{BD91993D-6BD7-4037-8A3B-9C74143DA408}"/>
                  </a:ext>
                </a:extLst>
              </p:cNvPr>
              <p:cNvSpPr/>
              <p:nvPr/>
            </p:nvSpPr>
            <p:spPr>
              <a:xfrm>
                <a:off x="10468293" y="3661728"/>
                <a:ext cx="165100" cy="228600"/>
              </a:xfrm>
              <a:custGeom>
                <a:avLst/>
                <a:gdLst>
                  <a:gd name="connsiteX0" fmla="*/ 160338 w 165100"/>
                  <a:gd name="connsiteY0" fmla="*/ 4763 h 228600"/>
                  <a:gd name="connsiteX1" fmla="*/ 44767 w 165100"/>
                  <a:gd name="connsiteY1" fmla="*/ 4763 h 228600"/>
                  <a:gd name="connsiteX2" fmla="*/ 4763 w 165100"/>
                  <a:gd name="connsiteY2" fmla="*/ 193992 h 228600"/>
                  <a:gd name="connsiteX3" fmla="*/ 58102 w 165100"/>
                  <a:gd name="connsiteY3" fmla="*/ 227647 h 228600"/>
                  <a:gd name="connsiteX4" fmla="*/ 160338 w 165100"/>
                  <a:gd name="connsiteY4" fmla="*/ 4763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100" h="228600">
                    <a:moveTo>
                      <a:pt x="160338" y="4763"/>
                    </a:moveTo>
                    <a:lnTo>
                      <a:pt x="44767" y="4763"/>
                    </a:lnTo>
                    <a:cubicBezTo>
                      <a:pt x="42863" y="63182"/>
                      <a:pt x="30797" y="126682"/>
                      <a:pt x="4763" y="193992"/>
                    </a:cubicBezTo>
                    <a:cubicBezTo>
                      <a:pt x="28257" y="206057"/>
                      <a:pt x="46038" y="218757"/>
                      <a:pt x="58102" y="227647"/>
                    </a:cubicBezTo>
                    <a:cubicBezTo>
                      <a:pt x="117157" y="171132"/>
                      <a:pt x="155892" y="92392"/>
                      <a:pt x="160338" y="4763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31300742-29C3-4CE3-A23E-FE5F59FB6E7A}"/>
                  </a:ext>
                </a:extLst>
              </p:cNvPr>
              <p:cNvSpPr/>
              <p:nvPr/>
            </p:nvSpPr>
            <p:spPr>
              <a:xfrm>
                <a:off x="9964738" y="3406458"/>
                <a:ext cx="158750" cy="228600"/>
              </a:xfrm>
              <a:custGeom>
                <a:avLst/>
                <a:gdLst>
                  <a:gd name="connsiteX0" fmla="*/ 159068 w 158750"/>
                  <a:gd name="connsiteY0" fmla="*/ 37783 h 228600"/>
                  <a:gd name="connsiteX1" fmla="*/ 107632 w 158750"/>
                  <a:gd name="connsiteY1" fmla="*/ 4763 h 228600"/>
                  <a:gd name="connsiteX2" fmla="*/ 4763 w 158750"/>
                  <a:gd name="connsiteY2" fmla="*/ 225742 h 228600"/>
                  <a:gd name="connsiteX3" fmla="*/ 120968 w 158750"/>
                  <a:gd name="connsiteY3" fmla="*/ 225742 h 228600"/>
                  <a:gd name="connsiteX4" fmla="*/ 159068 w 158750"/>
                  <a:gd name="connsiteY4" fmla="*/ 37783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750" h="228600">
                    <a:moveTo>
                      <a:pt x="159068" y="37783"/>
                    </a:moveTo>
                    <a:cubicBezTo>
                      <a:pt x="141922" y="28258"/>
                      <a:pt x="124778" y="17463"/>
                      <a:pt x="107632" y="4763"/>
                    </a:cubicBezTo>
                    <a:cubicBezTo>
                      <a:pt x="47943" y="61277"/>
                      <a:pt x="9843" y="138747"/>
                      <a:pt x="4763" y="225742"/>
                    </a:cubicBezTo>
                    <a:lnTo>
                      <a:pt x="120968" y="225742"/>
                    </a:lnTo>
                    <a:cubicBezTo>
                      <a:pt x="122238" y="152083"/>
                      <a:pt x="138747" y="88583"/>
                      <a:pt x="159068" y="37783"/>
                    </a:cubicBezTo>
                    <a:close/>
                  </a:path>
                </a:pathLst>
              </a:custGeom>
              <a:solidFill>
                <a:srgbClr val="01BE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任意多边形: 形状 202">
                <a:extLst>
                  <a:ext uri="{FF2B5EF4-FFF2-40B4-BE49-F238E27FC236}">
                    <a16:creationId xmlns:a16="http://schemas.microsoft.com/office/drawing/2014/main" id="{B09F5DE8-3A93-4EFB-A23B-6755EC38D42C}"/>
                  </a:ext>
                </a:extLst>
              </p:cNvPr>
              <p:cNvSpPr/>
              <p:nvPr/>
            </p:nvSpPr>
            <p:spPr>
              <a:xfrm>
                <a:off x="9570403" y="3476308"/>
                <a:ext cx="31750" cy="69850"/>
              </a:xfrm>
              <a:custGeom>
                <a:avLst/>
                <a:gdLst>
                  <a:gd name="connsiteX0" fmla="*/ 4763 w 31750"/>
                  <a:gd name="connsiteY0" fmla="*/ 4763 h 69850"/>
                  <a:gd name="connsiteX1" fmla="*/ 32703 w 31750"/>
                  <a:gd name="connsiteY1" fmla="*/ 4763 h 69850"/>
                  <a:gd name="connsiteX2" fmla="*/ 32703 w 31750"/>
                  <a:gd name="connsiteY2" fmla="*/ 67628 h 69850"/>
                  <a:gd name="connsiteX3" fmla="*/ 4763 w 31750"/>
                  <a:gd name="connsiteY3" fmla="*/ 67628 h 69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50" h="69850">
                    <a:moveTo>
                      <a:pt x="4763" y="4763"/>
                    </a:moveTo>
                    <a:lnTo>
                      <a:pt x="32703" y="4763"/>
                    </a:lnTo>
                    <a:lnTo>
                      <a:pt x="32703" y="67628"/>
                    </a:lnTo>
                    <a:lnTo>
                      <a:pt x="4763" y="67628"/>
                    </a:lnTo>
                    <a:close/>
                  </a:path>
                </a:pathLst>
              </a:custGeom>
              <a:solidFill>
                <a:srgbClr val="41506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4" name="任意多边形: 形状 203">
                <a:extLst>
                  <a:ext uri="{FF2B5EF4-FFF2-40B4-BE49-F238E27FC236}">
                    <a16:creationId xmlns:a16="http://schemas.microsoft.com/office/drawing/2014/main" id="{8800CAC9-D056-4322-B377-9F5DDE5DDB05}"/>
                  </a:ext>
                </a:extLst>
              </p:cNvPr>
              <p:cNvSpPr/>
              <p:nvPr/>
            </p:nvSpPr>
            <p:spPr>
              <a:xfrm>
                <a:off x="9556432" y="3340417"/>
                <a:ext cx="31750" cy="158750"/>
              </a:xfrm>
              <a:custGeom>
                <a:avLst/>
                <a:gdLst>
                  <a:gd name="connsiteX0" fmla="*/ 4763 w 31750"/>
                  <a:gd name="connsiteY0" fmla="*/ 35242 h 158750"/>
                  <a:gd name="connsiteX1" fmla="*/ 4763 w 31750"/>
                  <a:gd name="connsiteY1" fmla="*/ 125413 h 158750"/>
                  <a:gd name="connsiteX2" fmla="*/ 32703 w 31750"/>
                  <a:gd name="connsiteY2" fmla="*/ 156528 h 158750"/>
                  <a:gd name="connsiteX3" fmla="*/ 32703 w 31750"/>
                  <a:gd name="connsiteY3" fmla="*/ 4763 h 158750"/>
                  <a:gd name="connsiteX4" fmla="*/ 4763 w 31750"/>
                  <a:gd name="connsiteY4" fmla="*/ 35242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50" h="158750">
                    <a:moveTo>
                      <a:pt x="4763" y="35242"/>
                    </a:moveTo>
                    <a:lnTo>
                      <a:pt x="4763" y="125413"/>
                    </a:lnTo>
                    <a:cubicBezTo>
                      <a:pt x="4763" y="142558"/>
                      <a:pt x="17463" y="156528"/>
                      <a:pt x="32703" y="156528"/>
                    </a:cubicBezTo>
                    <a:lnTo>
                      <a:pt x="32703" y="4763"/>
                    </a:lnTo>
                    <a:cubicBezTo>
                      <a:pt x="17463" y="4763"/>
                      <a:pt x="4763" y="18733"/>
                      <a:pt x="4763" y="35242"/>
                    </a:cubicBezTo>
                    <a:close/>
                  </a:path>
                </a:pathLst>
              </a:custGeom>
              <a:solidFill>
                <a:srgbClr val="66748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任意多边形: 形状 204">
                <a:extLst>
                  <a:ext uri="{FF2B5EF4-FFF2-40B4-BE49-F238E27FC236}">
                    <a16:creationId xmlns:a16="http://schemas.microsoft.com/office/drawing/2014/main" id="{015197ED-E07C-4FBA-8E34-2A0453FAECD2}"/>
                  </a:ext>
                </a:extLst>
              </p:cNvPr>
              <p:cNvSpPr/>
              <p:nvPr/>
            </p:nvSpPr>
            <p:spPr>
              <a:xfrm>
                <a:off x="9584372" y="3340417"/>
                <a:ext cx="31750" cy="158750"/>
              </a:xfrm>
              <a:custGeom>
                <a:avLst/>
                <a:gdLst>
                  <a:gd name="connsiteX0" fmla="*/ 4763 w 31750"/>
                  <a:gd name="connsiteY0" fmla="*/ 4763 h 158750"/>
                  <a:gd name="connsiteX1" fmla="*/ 4763 w 31750"/>
                  <a:gd name="connsiteY1" fmla="*/ 156528 h 158750"/>
                  <a:gd name="connsiteX2" fmla="*/ 32703 w 31750"/>
                  <a:gd name="connsiteY2" fmla="*/ 125413 h 158750"/>
                  <a:gd name="connsiteX3" fmla="*/ 32703 w 31750"/>
                  <a:gd name="connsiteY3" fmla="*/ 35242 h 158750"/>
                  <a:gd name="connsiteX4" fmla="*/ 4763 w 31750"/>
                  <a:gd name="connsiteY4" fmla="*/ 4763 h 15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50" h="158750">
                    <a:moveTo>
                      <a:pt x="4763" y="4763"/>
                    </a:moveTo>
                    <a:lnTo>
                      <a:pt x="4763" y="156528"/>
                    </a:lnTo>
                    <a:cubicBezTo>
                      <a:pt x="20003" y="156528"/>
                      <a:pt x="32703" y="142558"/>
                      <a:pt x="32703" y="125413"/>
                    </a:cubicBezTo>
                    <a:lnTo>
                      <a:pt x="32703" y="35242"/>
                    </a:lnTo>
                    <a:cubicBezTo>
                      <a:pt x="33338" y="18733"/>
                      <a:pt x="20638" y="4763"/>
                      <a:pt x="4763" y="4763"/>
                    </a:cubicBezTo>
                    <a:close/>
                  </a:path>
                </a:pathLst>
              </a:custGeom>
              <a:solidFill>
                <a:srgbClr val="57647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任意多边形: 形状 205">
                <a:extLst>
                  <a:ext uri="{FF2B5EF4-FFF2-40B4-BE49-F238E27FC236}">
                    <a16:creationId xmlns:a16="http://schemas.microsoft.com/office/drawing/2014/main" id="{97C2D11E-CD5A-4D98-96C9-6F778211E913}"/>
                  </a:ext>
                </a:extLst>
              </p:cNvPr>
              <p:cNvSpPr/>
              <p:nvPr/>
            </p:nvSpPr>
            <p:spPr>
              <a:xfrm>
                <a:off x="9436418" y="3527742"/>
                <a:ext cx="304800" cy="304800"/>
              </a:xfrm>
              <a:custGeom>
                <a:avLst/>
                <a:gdLst>
                  <a:gd name="connsiteX0" fmla="*/ 152717 w 304800"/>
                  <a:gd name="connsiteY0" fmla="*/ 4763 h 304800"/>
                  <a:gd name="connsiteX1" fmla="*/ 4763 w 304800"/>
                  <a:gd name="connsiteY1" fmla="*/ 152717 h 304800"/>
                  <a:gd name="connsiteX2" fmla="*/ 152717 w 304800"/>
                  <a:gd name="connsiteY2" fmla="*/ 300673 h 304800"/>
                  <a:gd name="connsiteX3" fmla="*/ 300672 w 304800"/>
                  <a:gd name="connsiteY3" fmla="*/ 152717 h 304800"/>
                  <a:gd name="connsiteX4" fmla="*/ 152717 w 304800"/>
                  <a:gd name="connsiteY4" fmla="*/ 4763 h 304800"/>
                  <a:gd name="connsiteX5" fmla="*/ 152717 w 304800"/>
                  <a:gd name="connsiteY5" fmla="*/ 266383 h 304800"/>
                  <a:gd name="connsiteX6" fmla="*/ 39052 w 304800"/>
                  <a:gd name="connsiteY6" fmla="*/ 152717 h 304800"/>
                  <a:gd name="connsiteX7" fmla="*/ 152717 w 304800"/>
                  <a:gd name="connsiteY7" fmla="*/ 39053 h 304800"/>
                  <a:gd name="connsiteX8" fmla="*/ 266382 w 304800"/>
                  <a:gd name="connsiteY8" fmla="*/ 152717 h 304800"/>
                  <a:gd name="connsiteX9" fmla="*/ 152717 w 304800"/>
                  <a:gd name="connsiteY9" fmla="*/ 266383 h 30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800" h="304800">
                    <a:moveTo>
                      <a:pt x="152717" y="4763"/>
                    </a:moveTo>
                    <a:cubicBezTo>
                      <a:pt x="70802" y="4763"/>
                      <a:pt x="4763" y="70803"/>
                      <a:pt x="4763" y="152717"/>
                    </a:cubicBezTo>
                    <a:cubicBezTo>
                      <a:pt x="4763" y="233998"/>
                      <a:pt x="70802" y="300673"/>
                      <a:pt x="152717" y="300673"/>
                    </a:cubicBezTo>
                    <a:cubicBezTo>
                      <a:pt x="234632" y="300673"/>
                      <a:pt x="300672" y="234633"/>
                      <a:pt x="300672" y="152717"/>
                    </a:cubicBezTo>
                    <a:cubicBezTo>
                      <a:pt x="300672" y="71438"/>
                      <a:pt x="234632" y="4763"/>
                      <a:pt x="152717" y="4763"/>
                    </a:cubicBezTo>
                    <a:close/>
                    <a:moveTo>
                      <a:pt x="152717" y="266383"/>
                    </a:moveTo>
                    <a:cubicBezTo>
                      <a:pt x="89852" y="266383"/>
                      <a:pt x="39052" y="215583"/>
                      <a:pt x="39052" y="152717"/>
                    </a:cubicBezTo>
                    <a:cubicBezTo>
                      <a:pt x="39052" y="89853"/>
                      <a:pt x="89852" y="39053"/>
                      <a:pt x="152717" y="39053"/>
                    </a:cubicBezTo>
                    <a:cubicBezTo>
                      <a:pt x="215582" y="39053"/>
                      <a:pt x="266382" y="89853"/>
                      <a:pt x="266382" y="152717"/>
                    </a:cubicBezTo>
                    <a:cubicBezTo>
                      <a:pt x="266382" y="215583"/>
                      <a:pt x="215582" y="266383"/>
                      <a:pt x="152717" y="266383"/>
                    </a:cubicBezTo>
                    <a:close/>
                  </a:path>
                </a:pathLst>
              </a:custGeom>
              <a:solidFill>
                <a:srgbClr val="53647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7" name="任意多边形: 形状 206">
                <a:extLst>
                  <a:ext uri="{FF2B5EF4-FFF2-40B4-BE49-F238E27FC236}">
                    <a16:creationId xmlns:a16="http://schemas.microsoft.com/office/drawing/2014/main" id="{F658C746-4C92-4902-B88F-C97E79C2E0CA}"/>
                  </a:ext>
                </a:extLst>
              </p:cNvPr>
              <p:cNvSpPr/>
              <p:nvPr/>
            </p:nvSpPr>
            <p:spPr>
              <a:xfrm>
                <a:off x="9366568" y="4004628"/>
                <a:ext cx="444500" cy="25400"/>
              </a:xfrm>
              <a:custGeom>
                <a:avLst/>
                <a:gdLst>
                  <a:gd name="connsiteX0" fmla="*/ 441007 w 444500"/>
                  <a:gd name="connsiteY0" fmla="*/ 13652 h 25400"/>
                  <a:gd name="connsiteX1" fmla="*/ 425767 w 444500"/>
                  <a:gd name="connsiteY1" fmla="*/ 22542 h 25400"/>
                  <a:gd name="connsiteX2" fmla="*/ 20002 w 444500"/>
                  <a:gd name="connsiteY2" fmla="*/ 22542 h 25400"/>
                  <a:gd name="connsiteX3" fmla="*/ 4763 w 444500"/>
                  <a:gd name="connsiteY3" fmla="*/ 13652 h 25400"/>
                  <a:gd name="connsiteX4" fmla="*/ 20002 w 444500"/>
                  <a:gd name="connsiteY4" fmla="*/ 4763 h 25400"/>
                  <a:gd name="connsiteX5" fmla="*/ 425767 w 444500"/>
                  <a:gd name="connsiteY5" fmla="*/ 4763 h 25400"/>
                  <a:gd name="connsiteX6" fmla="*/ 441007 w 444500"/>
                  <a:gd name="connsiteY6" fmla="*/ 13652 h 2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4500" h="25400">
                    <a:moveTo>
                      <a:pt x="441007" y="13652"/>
                    </a:moveTo>
                    <a:cubicBezTo>
                      <a:pt x="441007" y="18732"/>
                      <a:pt x="434022" y="22542"/>
                      <a:pt x="425767" y="22542"/>
                    </a:cubicBezTo>
                    <a:lnTo>
                      <a:pt x="20002" y="22542"/>
                    </a:lnTo>
                    <a:cubicBezTo>
                      <a:pt x="11747" y="22542"/>
                      <a:pt x="4763" y="18732"/>
                      <a:pt x="4763" y="13652"/>
                    </a:cubicBezTo>
                    <a:cubicBezTo>
                      <a:pt x="4763" y="8572"/>
                      <a:pt x="11747" y="4763"/>
                      <a:pt x="20002" y="4763"/>
                    </a:cubicBezTo>
                    <a:lnTo>
                      <a:pt x="425767" y="4763"/>
                    </a:lnTo>
                    <a:cubicBezTo>
                      <a:pt x="434022" y="4763"/>
                      <a:pt x="441007" y="8572"/>
                      <a:pt x="441007" y="13652"/>
                    </a:cubicBezTo>
                    <a:close/>
                  </a:path>
                </a:pathLst>
              </a:custGeom>
              <a:solidFill>
                <a:srgbClr val="52617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8" name="任意多边形: 形状 207">
                <a:extLst>
                  <a:ext uri="{FF2B5EF4-FFF2-40B4-BE49-F238E27FC236}">
                    <a16:creationId xmlns:a16="http://schemas.microsoft.com/office/drawing/2014/main" id="{47E29A40-F4DA-42C5-A564-9D2152CBDED1}"/>
                  </a:ext>
                </a:extLst>
              </p:cNvPr>
              <p:cNvSpPr/>
              <p:nvPr/>
            </p:nvSpPr>
            <p:spPr>
              <a:xfrm>
                <a:off x="9729153" y="4440872"/>
                <a:ext cx="25400" cy="76200"/>
              </a:xfrm>
              <a:custGeom>
                <a:avLst/>
                <a:gdLst>
                  <a:gd name="connsiteX0" fmla="*/ 20638 w 25400"/>
                  <a:gd name="connsiteY0" fmla="*/ 56198 h 76200"/>
                  <a:gd name="connsiteX1" fmla="*/ 13017 w 25400"/>
                  <a:gd name="connsiteY1" fmla="*/ 76518 h 76200"/>
                  <a:gd name="connsiteX2" fmla="*/ 4763 w 25400"/>
                  <a:gd name="connsiteY2" fmla="*/ 56198 h 76200"/>
                  <a:gd name="connsiteX3" fmla="*/ 4763 w 25400"/>
                  <a:gd name="connsiteY3" fmla="*/ 4763 h 76200"/>
                  <a:gd name="connsiteX4" fmla="*/ 20638 w 25400"/>
                  <a:gd name="connsiteY4" fmla="*/ 4763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76200">
                    <a:moveTo>
                      <a:pt x="20638" y="56198"/>
                    </a:moveTo>
                    <a:lnTo>
                      <a:pt x="13017" y="76518"/>
                    </a:lnTo>
                    <a:lnTo>
                      <a:pt x="4763" y="56198"/>
                    </a:lnTo>
                    <a:lnTo>
                      <a:pt x="4763" y="4763"/>
                    </a:lnTo>
                    <a:lnTo>
                      <a:pt x="20638" y="4763"/>
                    </a:lnTo>
                    <a:close/>
                  </a:path>
                </a:pathLst>
              </a:custGeom>
              <a:solidFill>
                <a:srgbClr val="6B71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9" name="任意多边形: 形状 208">
                <a:extLst>
                  <a:ext uri="{FF2B5EF4-FFF2-40B4-BE49-F238E27FC236}">
                    <a16:creationId xmlns:a16="http://schemas.microsoft.com/office/drawing/2014/main" id="{6A562C4F-CBE1-49C4-A5F3-87AE216E156A}"/>
                  </a:ext>
                </a:extLst>
              </p:cNvPr>
              <p:cNvSpPr/>
              <p:nvPr/>
            </p:nvSpPr>
            <p:spPr>
              <a:xfrm>
                <a:off x="9778048" y="4313873"/>
                <a:ext cx="19050" cy="69850"/>
              </a:xfrm>
              <a:custGeom>
                <a:avLst/>
                <a:gdLst>
                  <a:gd name="connsiteX0" fmla="*/ 4762 w 19050"/>
                  <a:gd name="connsiteY0" fmla="*/ 4762 h 69850"/>
                  <a:gd name="connsiteX1" fmla="*/ 18732 w 19050"/>
                  <a:gd name="connsiteY1" fmla="*/ 4762 h 69850"/>
                  <a:gd name="connsiteX2" fmla="*/ 18732 w 19050"/>
                  <a:gd name="connsiteY2" fmla="*/ 65722 h 69850"/>
                  <a:gd name="connsiteX3" fmla="*/ 4762 w 19050"/>
                  <a:gd name="connsiteY3" fmla="*/ 65722 h 69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69850">
                    <a:moveTo>
                      <a:pt x="4762" y="4762"/>
                    </a:moveTo>
                    <a:lnTo>
                      <a:pt x="18732" y="4762"/>
                    </a:lnTo>
                    <a:lnTo>
                      <a:pt x="18732" y="65722"/>
                    </a:lnTo>
                    <a:lnTo>
                      <a:pt x="4762" y="6572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0" name="任意多边形: 形状 209">
                <a:extLst>
                  <a:ext uri="{FF2B5EF4-FFF2-40B4-BE49-F238E27FC236}">
                    <a16:creationId xmlns:a16="http://schemas.microsoft.com/office/drawing/2014/main" id="{DFF05BB9-466D-4074-9BE5-DEAFA8980D00}"/>
                  </a:ext>
                </a:extLst>
              </p:cNvPr>
              <p:cNvSpPr/>
              <p:nvPr/>
            </p:nvSpPr>
            <p:spPr>
              <a:xfrm>
                <a:off x="9788843" y="4306253"/>
                <a:ext cx="12700" cy="82550"/>
              </a:xfrm>
              <a:custGeom>
                <a:avLst/>
                <a:gdLst>
                  <a:gd name="connsiteX0" fmla="*/ 11113 w 12700"/>
                  <a:gd name="connsiteY0" fmla="*/ 42863 h 82550"/>
                  <a:gd name="connsiteX1" fmla="*/ 7938 w 12700"/>
                  <a:gd name="connsiteY1" fmla="*/ 80963 h 82550"/>
                  <a:gd name="connsiteX2" fmla="*/ 4763 w 12700"/>
                  <a:gd name="connsiteY2" fmla="*/ 42863 h 82550"/>
                  <a:gd name="connsiteX3" fmla="*/ 7938 w 12700"/>
                  <a:gd name="connsiteY3" fmla="*/ 4763 h 82550"/>
                  <a:gd name="connsiteX4" fmla="*/ 11113 w 12700"/>
                  <a:gd name="connsiteY4" fmla="*/ 42863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00" h="82550">
                    <a:moveTo>
                      <a:pt x="11113" y="42863"/>
                    </a:moveTo>
                    <a:cubicBezTo>
                      <a:pt x="11113" y="63817"/>
                      <a:pt x="9842" y="80963"/>
                      <a:pt x="7938" y="80963"/>
                    </a:cubicBezTo>
                    <a:cubicBezTo>
                      <a:pt x="6032" y="80963"/>
                      <a:pt x="4763" y="63817"/>
                      <a:pt x="4763" y="42863"/>
                    </a:cubicBezTo>
                    <a:cubicBezTo>
                      <a:pt x="4763" y="21907"/>
                      <a:pt x="6032" y="4763"/>
                      <a:pt x="7938" y="4763"/>
                    </a:cubicBezTo>
                    <a:cubicBezTo>
                      <a:pt x="9842" y="4763"/>
                      <a:pt x="11113" y="21907"/>
                      <a:pt x="11113" y="42863"/>
                    </a:cubicBezTo>
                    <a:close/>
                  </a:path>
                </a:pathLst>
              </a:custGeom>
              <a:solidFill>
                <a:srgbClr val="E5E5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1" name="任意多边形: 形状 210">
                <a:extLst>
                  <a:ext uri="{FF2B5EF4-FFF2-40B4-BE49-F238E27FC236}">
                    <a16:creationId xmlns:a16="http://schemas.microsoft.com/office/drawing/2014/main" id="{3D192FCF-70C8-478A-B5F8-B775985B39C9}"/>
                  </a:ext>
                </a:extLst>
              </p:cNvPr>
              <p:cNvSpPr/>
              <p:nvPr/>
            </p:nvSpPr>
            <p:spPr>
              <a:xfrm>
                <a:off x="9586278" y="3730308"/>
                <a:ext cx="203200" cy="730250"/>
              </a:xfrm>
              <a:custGeom>
                <a:avLst/>
                <a:gdLst>
                  <a:gd name="connsiteX0" fmla="*/ 142557 w 203200"/>
                  <a:gd name="connsiteY0" fmla="*/ 725488 h 730250"/>
                  <a:gd name="connsiteX1" fmla="*/ 136842 w 203200"/>
                  <a:gd name="connsiteY1" fmla="*/ 599758 h 730250"/>
                  <a:gd name="connsiteX2" fmla="*/ 4763 w 203200"/>
                  <a:gd name="connsiteY2" fmla="*/ 30163 h 730250"/>
                  <a:gd name="connsiteX3" fmla="*/ 70167 w 203200"/>
                  <a:gd name="connsiteY3" fmla="*/ 4763 h 730250"/>
                  <a:gd name="connsiteX4" fmla="*/ 200342 w 203200"/>
                  <a:gd name="connsiteY4" fmla="*/ 580072 h 730250"/>
                  <a:gd name="connsiteX5" fmla="*/ 187007 w 203200"/>
                  <a:gd name="connsiteY5" fmla="*/ 725488 h 730250"/>
                  <a:gd name="connsiteX6" fmla="*/ 142557 w 203200"/>
                  <a:gd name="connsiteY6" fmla="*/ 725488 h 73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200" h="730250">
                    <a:moveTo>
                      <a:pt x="142557" y="725488"/>
                    </a:moveTo>
                    <a:lnTo>
                      <a:pt x="136842" y="599758"/>
                    </a:lnTo>
                    <a:lnTo>
                      <a:pt x="4763" y="30163"/>
                    </a:lnTo>
                    <a:lnTo>
                      <a:pt x="70167" y="4763"/>
                    </a:lnTo>
                    <a:lnTo>
                      <a:pt x="200342" y="580072"/>
                    </a:lnTo>
                    <a:cubicBezTo>
                      <a:pt x="200342" y="580072"/>
                      <a:pt x="204153" y="649922"/>
                      <a:pt x="187007" y="725488"/>
                    </a:cubicBezTo>
                    <a:lnTo>
                      <a:pt x="142557" y="725488"/>
                    </a:lnTo>
                    <a:close/>
                  </a:path>
                </a:pathLst>
              </a:custGeom>
              <a:solidFill>
                <a:srgbClr val="41506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0484D85A-29D1-4726-9468-76B957361969}"/>
                  </a:ext>
                </a:extLst>
              </p:cNvPr>
              <p:cNvSpPr/>
              <p:nvPr/>
            </p:nvSpPr>
            <p:spPr>
              <a:xfrm>
                <a:off x="9423082" y="4440872"/>
                <a:ext cx="25400" cy="76200"/>
              </a:xfrm>
              <a:custGeom>
                <a:avLst/>
                <a:gdLst>
                  <a:gd name="connsiteX0" fmla="*/ 4763 w 25400"/>
                  <a:gd name="connsiteY0" fmla="*/ 56198 h 76200"/>
                  <a:gd name="connsiteX1" fmla="*/ 12383 w 25400"/>
                  <a:gd name="connsiteY1" fmla="*/ 76518 h 76200"/>
                  <a:gd name="connsiteX2" fmla="*/ 20638 w 25400"/>
                  <a:gd name="connsiteY2" fmla="*/ 56198 h 76200"/>
                  <a:gd name="connsiteX3" fmla="*/ 20638 w 25400"/>
                  <a:gd name="connsiteY3" fmla="*/ 4763 h 76200"/>
                  <a:gd name="connsiteX4" fmla="*/ 4763 w 25400"/>
                  <a:gd name="connsiteY4" fmla="*/ 4763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400" h="76200">
                    <a:moveTo>
                      <a:pt x="4763" y="56198"/>
                    </a:moveTo>
                    <a:lnTo>
                      <a:pt x="12383" y="76518"/>
                    </a:lnTo>
                    <a:lnTo>
                      <a:pt x="20638" y="56198"/>
                    </a:lnTo>
                    <a:lnTo>
                      <a:pt x="20638" y="4763"/>
                    </a:lnTo>
                    <a:lnTo>
                      <a:pt x="4763" y="4763"/>
                    </a:lnTo>
                    <a:close/>
                  </a:path>
                </a:pathLst>
              </a:custGeom>
              <a:solidFill>
                <a:srgbClr val="6B718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任意多边形: 形状 212">
                <a:extLst>
                  <a:ext uri="{FF2B5EF4-FFF2-40B4-BE49-F238E27FC236}">
                    <a16:creationId xmlns:a16="http://schemas.microsoft.com/office/drawing/2014/main" id="{1C876A19-CC09-408F-AB89-916833F54016}"/>
                  </a:ext>
                </a:extLst>
              </p:cNvPr>
              <p:cNvSpPr/>
              <p:nvPr/>
            </p:nvSpPr>
            <p:spPr>
              <a:xfrm>
                <a:off x="9375458" y="4313873"/>
                <a:ext cx="19050" cy="69850"/>
              </a:xfrm>
              <a:custGeom>
                <a:avLst/>
                <a:gdLst>
                  <a:gd name="connsiteX0" fmla="*/ 4762 w 19050"/>
                  <a:gd name="connsiteY0" fmla="*/ 4762 h 69850"/>
                  <a:gd name="connsiteX1" fmla="*/ 18732 w 19050"/>
                  <a:gd name="connsiteY1" fmla="*/ 4762 h 69850"/>
                  <a:gd name="connsiteX2" fmla="*/ 18732 w 19050"/>
                  <a:gd name="connsiteY2" fmla="*/ 65722 h 69850"/>
                  <a:gd name="connsiteX3" fmla="*/ 4762 w 19050"/>
                  <a:gd name="connsiteY3" fmla="*/ 65722 h 69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69850">
                    <a:moveTo>
                      <a:pt x="4762" y="4762"/>
                    </a:moveTo>
                    <a:lnTo>
                      <a:pt x="18732" y="4762"/>
                    </a:lnTo>
                    <a:lnTo>
                      <a:pt x="18732" y="65722"/>
                    </a:lnTo>
                    <a:lnTo>
                      <a:pt x="4762" y="6572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任意多边形: 形状 213">
                <a:extLst>
                  <a:ext uri="{FF2B5EF4-FFF2-40B4-BE49-F238E27FC236}">
                    <a16:creationId xmlns:a16="http://schemas.microsoft.com/office/drawing/2014/main" id="{E076507B-9F9D-435A-AF0B-8DE1CA096F94}"/>
                  </a:ext>
                </a:extLst>
              </p:cNvPr>
              <p:cNvSpPr/>
              <p:nvPr/>
            </p:nvSpPr>
            <p:spPr>
              <a:xfrm>
                <a:off x="9372918" y="4306253"/>
                <a:ext cx="12700" cy="82550"/>
              </a:xfrm>
              <a:custGeom>
                <a:avLst/>
                <a:gdLst>
                  <a:gd name="connsiteX0" fmla="*/ 4763 w 12700"/>
                  <a:gd name="connsiteY0" fmla="*/ 42863 h 82550"/>
                  <a:gd name="connsiteX1" fmla="*/ 7938 w 12700"/>
                  <a:gd name="connsiteY1" fmla="*/ 80963 h 82550"/>
                  <a:gd name="connsiteX2" fmla="*/ 11113 w 12700"/>
                  <a:gd name="connsiteY2" fmla="*/ 42863 h 82550"/>
                  <a:gd name="connsiteX3" fmla="*/ 7938 w 12700"/>
                  <a:gd name="connsiteY3" fmla="*/ 4763 h 82550"/>
                  <a:gd name="connsiteX4" fmla="*/ 4763 w 12700"/>
                  <a:gd name="connsiteY4" fmla="*/ 42863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00" h="82550">
                    <a:moveTo>
                      <a:pt x="4763" y="42863"/>
                    </a:moveTo>
                    <a:cubicBezTo>
                      <a:pt x="4763" y="63817"/>
                      <a:pt x="6032" y="80963"/>
                      <a:pt x="7938" y="80963"/>
                    </a:cubicBezTo>
                    <a:cubicBezTo>
                      <a:pt x="9842" y="80963"/>
                      <a:pt x="11113" y="63817"/>
                      <a:pt x="11113" y="42863"/>
                    </a:cubicBezTo>
                    <a:cubicBezTo>
                      <a:pt x="11113" y="21907"/>
                      <a:pt x="9842" y="4763"/>
                      <a:pt x="7938" y="4763"/>
                    </a:cubicBezTo>
                    <a:cubicBezTo>
                      <a:pt x="6032" y="4763"/>
                      <a:pt x="4763" y="21907"/>
                      <a:pt x="4763" y="42863"/>
                    </a:cubicBezTo>
                    <a:close/>
                  </a:path>
                </a:pathLst>
              </a:custGeom>
              <a:solidFill>
                <a:srgbClr val="E5E5E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5" name="任意多边形: 形状 214">
                <a:extLst>
                  <a:ext uri="{FF2B5EF4-FFF2-40B4-BE49-F238E27FC236}">
                    <a16:creationId xmlns:a16="http://schemas.microsoft.com/office/drawing/2014/main" id="{CE2DB6F1-80E5-4857-9F52-B22C04F218CB}"/>
                  </a:ext>
                </a:extLst>
              </p:cNvPr>
              <p:cNvSpPr/>
              <p:nvPr/>
            </p:nvSpPr>
            <p:spPr>
              <a:xfrm>
                <a:off x="9385257" y="3730308"/>
                <a:ext cx="203200" cy="730250"/>
              </a:xfrm>
              <a:custGeom>
                <a:avLst/>
                <a:gdLst>
                  <a:gd name="connsiteX0" fmla="*/ 62908 w 203200"/>
                  <a:gd name="connsiteY0" fmla="*/ 725488 h 730250"/>
                  <a:gd name="connsiteX1" fmla="*/ 68623 w 203200"/>
                  <a:gd name="connsiteY1" fmla="*/ 599758 h 730250"/>
                  <a:gd name="connsiteX2" fmla="*/ 200703 w 203200"/>
                  <a:gd name="connsiteY2" fmla="*/ 30163 h 730250"/>
                  <a:gd name="connsiteX3" fmla="*/ 135298 w 203200"/>
                  <a:gd name="connsiteY3" fmla="*/ 4763 h 730250"/>
                  <a:gd name="connsiteX4" fmla="*/ 5123 w 203200"/>
                  <a:gd name="connsiteY4" fmla="*/ 580072 h 730250"/>
                  <a:gd name="connsiteX5" fmla="*/ 18458 w 203200"/>
                  <a:gd name="connsiteY5" fmla="*/ 725488 h 730250"/>
                  <a:gd name="connsiteX6" fmla="*/ 62908 w 203200"/>
                  <a:gd name="connsiteY6" fmla="*/ 725488 h 73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3200" h="730250">
                    <a:moveTo>
                      <a:pt x="62908" y="725488"/>
                    </a:moveTo>
                    <a:lnTo>
                      <a:pt x="68623" y="599758"/>
                    </a:lnTo>
                    <a:lnTo>
                      <a:pt x="200703" y="30163"/>
                    </a:lnTo>
                    <a:lnTo>
                      <a:pt x="135298" y="4763"/>
                    </a:lnTo>
                    <a:lnTo>
                      <a:pt x="5123" y="580072"/>
                    </a:lnTo>
                    <a:cubicBezTo>
                      <a:pt x="5123" y="580072"/>
                      <a:pt x="1313" y="649922"/>
                      <a:pt x="18458" y="725488"/>
                    </a:cubicBezTo>
                    <a:lnTo>
                      <a:pt x="62908" y="725488"/>
                    </a:lnTo>
                    <a:close/>
                  </a:path>
                </a:pathLst>
              </a:custGeom>
              <a:solidFill>
                <a:srgbClr val="41506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6" name="任意多边形: 形状 215">
                <a:extLst>
                  <a:ext uri="{FF2B5EF4-FFF2-40B4-BE49-F238E27FC236}">
                    <a16:creationId xmlns:a16="http://schemas.microsoft.com/office/drawing/2014/main" id="{A6F7840A-7638-4A58-BA11-95F70BC0D4FA}"/>
                  </a:ext>
                </a:extLst>
              </p:cNvPr>
              <p:cNvSpPr/>
              <p:nvPr/>
            </p:nvSpPr>
            <p:spPr>
              <a:xfrm>
                <a:off x="9534207" y="3731578"/>
                <a:ext cx="57150" cy="107950"/>
              </a:xfrm>
              <a:custGeom>
                <a:avLst/>
                <a:gdLst>
                  <a:gd name="connsiteX0" fmla="*/ 4763 w 57150"/>
                  <a:gd name="connsiteY0" fmla="*/ 54927 h 107950"/>
                  <a:gd name="connsiteX1" fmla="*/ 54928 w 57150"/>
                  <a:gd name="connsiteY1" fmla="*/ 105092 h 107950"/>
                  <a:gd name="connsiteX2" fmla="*/ 54928 w 57150"/>
                  <a:gd name="connsiteY2" fmla="*/ 4763 h 107950"/>
                  <a:gd name="connsiteX3" fmla="*/ 4763 w 57150"/>
                  <a:gd name="connsiteY3" fmla="*/ 54927 h 10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107950">
                    <a:moveTo>
                      <a:pt x="4763" y="54927"/>
                    </a:moveTo>
                    <a:cubicBezTo>
                      <a:pt x="4763" y="82867"/>
                      <a:pt x="26988" y="105092"/>
                      <a:pt x="54928" y="105092"/>
                    </a:cubicBezTo>
                    <a:lnTo>
                      <a:pt x="54928" y="4763"/>
                    </a:lnTo>
                    <a:cubicBezTo>
                      <a:pt x="26988" y="4763"/>
                      <a:pt x="4763" y="26988"/>
                      <a:pt x="4763" y="54927"/>
                    </a:cubicBezTo>
                    <a:close/>
                  </a:path>
                </a:pathLst>
              </a:custGeom>
              <a:solidFill>
                <a:srgbClr val="FDFEF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291DC990-B911-498B-8A3E-93D4F685C268}"/>
                  </a:ext>
                </a:extLst>
              </p:cNvPr>
              <p:cNvSpPr/>
              <p:nvPr/>
            </p:nvSpPr>
            <p:spPr>
              <a:xfrm>
                <a:off x="9584372" y="3731578"/>
                <a:ext cx="57150" cy="107950"/>
              </a:xfrm>
              <a:custGeom>
                <a:avLst/>
                <a:gdLst>
                  <a:gd name="connsiteX0" fmla="*/ 4763 w 57150"/>
                  <a:gd name="connsiteY0" fmla="*/ 4763 h 107950"/>
                  <a:gd name="connsiteX1" fmla="*/ 4763 w 57150"/>
                  <a:gd name="connsiteY1" fmla="*/ 105092 h 107950"/>
                  <a:gd name="connsiteX2" fmla="*/ 54928 w 57150"/>
                  <a:gd name="connsiteY2" fmla="*/ 54927 h 107950"/>
                  <a:gd name="connsiteX3" fmla="*/ 4763 w 57150"/>
                  <a:gd name="connsiteY3" fmla="*/ 4763 h 107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50" h="107950">
                    <a:moveTo>
                      <a:pt x="4763" y="4763"/>
                    </a:moveTo>
                    <a:lnTo>
                      <a:pt x="4763" y="105092"/>
                    </a:lnTo>
                    <a:cubicBezTo>
                      <a:pt x="32703" y="105092"/>
                      <a:pt x="54928" y="82867"/>
                      <a:pt x="54928" y="54927"/>
                    </a:cubicBezTo>
                    <a:cubicBezTo>
                      <a:pt x="54928" y="26988"/>
                      <a:pt x="32703" y="4763"/>
                      <a:pt x="4763" y="4763"/>
                    </a:cubicBezTo>
                    <a:close/>
                  </a:path>
                </a:pathLst>
              </a:custGeom>
              <a:solidFill>
                <a:srgbClr val="E5E6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4B90F975-E71B-415F-9CA7-C2039C232D4C}"/>
                  </a:ext>
                </a:extLst>
              </p:cNvPr>
              <p:cNvSpPr/>
              <p:nvPr/>
            </p:nvSpPr>
            <p:spPr>
              <a:xfrm>
                <a:off x="9569132" y="3951288"/>
                <a:ext cx="25400" cy="146050"/>
              </a:xfrm>
              <a:custGeom>
                <a:avLst/>
                <a:gdLst>
                  <a:gd name="connsiteX0" fmla="*/ 20003 w 25400"/>
                  <a:gd name="connsiteY0" fmla="*/ 4763 h 146050"/>
                  <a:gd name="connsiteX1" fmla="*/ 4763 w 25400"/>
                  <a:gd name="connsiteY1" fmla="*/ 20003 h 146050"/>
                  <a:gd name="connsiteX2" fmla="*/ 4763 w 25400"/>
                  <a:gd name="connsiteY2" fmla="*/ 127953 h 146050"/>
                  <a:gd name="connsiteX3" fmla="*/ 20003 w 25400"/>
                  <a:gd name="connsiteY3" fmla="*/ 143192 h 146050"/>
                  <a:gd name="connsiteX4" fmla="*/ 20638 w 25400"/>
                  <a:gd name="connsiteY4" fmla="*/ 143192 h 146050"/>
                  <a:gd name="connsiteX5" fmla="*/ 20638 w 25400"/>
                  <a:gd name="connsiteY5" fmla="*/ 4763 h 146050"/>
                  <a:gd name="connsiteX6" fmla="*/ 20003 w 25400"/>
                  <a:gd name="connsiteY6" fmla="*/ 4763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0" h="146050">
                    <a:moveTo>
                      <a:pt x="20003" y="4763"/>
                    </a:moveTo>
                    <a:cubicBezTo>
                      <a:pt x="11748" y="4763"/>
                      <a:pt x="4763" y="11747"/>
                      <a:pt x="4763" y="20003"/>
                    </a:cubicBezTo>
                    <a:lnTo>
                      <a:pt x="4763" y="127953"/>
                    </a:lnTo>
                    <a:cubicBezTo>
                      <a:pt x="4763" y="136208"/>
                      <a:pt x="11748" y="143192"/>
                      <a:pt x="20003" y="143192"/>
                    </a:cubicBezTo>
                    <a:lnTo>
                      <a:pt x="20638" y="143192"/>
                    </a:lnTo>
                    <a:lnTo>
                      <a:pt x="20638" y="4763"/>
                    </a:lnTo>
                    <a:lnTo>
                      <a:pt x="20003" y="4763"/>
                    </a:lnTo>
                    <a:close/>
                  </a:path>
                </a:pathLst>
              </a:custGeom>
              <a:solidFill>
                <a:srgbClr val="FDFEF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3363D027-B0DC-4103-B428-A197AAB275A4}"/>
                  </a:ext>
                </a:extLst>
              </p:cNvPr>
              <p:cNvSpPr/>
              <p:nvPr/>
            </p:nvSpPr>
            <p:spPr>
              <a:xfrm>
                <a:off x="9585007" y="3951288"/>
                <a:ext cx="25400" cy="146050"/>
              </a:xfrm>
              <a:custGeom>
                <a:avLst/>
                <a:gdLst>
                  <a:gd name="connsiteX0" fmla="*/ 5398 w 25400"/>
                  <a:gd name="connsiteY0" fmla="*/ 4763 h 146050"/>
                  <a:gd name="connsiteX1" fmla="*/ 4763 w 25400"/>
                  <a:gd name="connsiteY1" fmla="*/ 4763 h 146050"/>
                  <a:gd name="connsiteX2" fmla="*/ 4763 w 25400"/>
                  <a:gd name="connsiteY2" fmla="*/ 143828 h 146050"/>
                  <a:gd name="connsiteX3" fmla="*/ 5398 w 25400"/>
                  <a:gd name="connsiteY3" fmla="*/ 143828 h 146050"/>
                  <a:gd name="connsiteX4" fmla="*/ 20638 w 25400"/>
                  <a:gd name="connsiteY4" fmla="*/ 128588 h 146050"/>
                  <a:gd name="connsiteX5" fmla="*/ 20638 w 25400"/>
                  <a:gd name="connsiteY5" fmla="*/ 20638 h 146050"/>
                  <a:gd name="connsiteX6" fmla="*/ 5398 w 25400"/>
                  <a:gd name="connsiteY6" fmla="*/ 4763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400" h="146050">
                    <a:moveTo>
                      <a:pt x="5398" y="4763"/>
                    </a:moveTo>
                    <a:lnTo>
                      <a:pt x="4763" y="4763"/>
                    </a:lnTo>
                    <a:lnTo>
                      <a:pt x="4763" y="143828"/>
                    </a:lnTo>
                    <a:lnTo>
                      <a:pt x="5398" y="143828"/>
                    </a:lnTo>
                    <a:cubicBezTo>
                      <a:pt x="13653" y="143828"/>
                      <a:pt x="20638" y="136842"/>
                      <a:pt x="20638" y="128588"/>
                    </a:cubicBezTo>
                    <a:lnTo>
                      <a:pt x="20638" y="20638"/>
                    </a:lnTo>
                    <a:cubicBezTo>
                      <a:pt x="20638" y="11747"/>
                      <a:pt x="13653" y="4763"/>
                      <a:pt x="5398" y="4763"/>
                    </a:cubicBezTo>
                    <a:close/>
                  </a:path>
                </a:pathLst>
              </a:custGeom>
              <a:solidFill>
                <a:srgbClr val="E5E6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86615" y="3048625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87731" y="3943975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0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0/2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7905A6F9-6020-468A-AF19-DDF520DFC03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AA6F32AE-EEAE-4F51-90AE-17AD8E6C870D}"/>
              </a:ext>
            </a:extLst>
          </p:cNvPr>
          <p:cNvGrpSpPr/>
          <p:nvPr userDrawn="1"/>
        </p:nvGrpSpPr>
        <p:grpSpPr>
          <a:xfrm>
            <a:off x="3904879" y="1398699"/>
            <a:ext cx="4382243" cy="4396069"/>
            <a:chOff x="6292953" y="838518"/>
            <a:chExt cx="5545215" cy="5562710"/>
          </a:xfrm>
          <a:solidFill>
            <a:schemeClr val="accent2"/>
          </a:solidFill>
        </p:grpSpPr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740308E1-31B6-42A6-B119-B8667E8E3E63}"/>
                </a:ext>
              </a:extLst>
            </p:cNvPr>
            <p:cNvSpPr/>
            <p:nvPr/>
          </p:nvSpPr>
          <p:spPr>
            <a:xfrm>
              <a:off x="9135251" y="1387157"/>
              <a:ext cx="76200" cy="38100"/>
            </a:xfrm>
            <a:custGeom>
              <a:avLst/>
              <a:gdLst>
                <a:gd name="connsiteX0" fmla="*/ 72884 w 76200"/>
                <a:gd name="connsiteY0" fmla="*/ 4763 h 38100"/>
                <a:gd name="connsiteX1" fmla="*/ 4939 w 76200"/>
                <a:gd name="connsiteY1" fmla="*/ 18098 h 38100"/>
                <a:gd name="connsiteX2" fmla="*/ 23355 w 76200"/>
                <a:gd name="connsiteY2" fmla="*/ 16828 h 38100"/>
                <a:gd name="connsiteX3" fmla="*/ 72884 w 76200"/>
                <a:gd name="connsiteY3" fmla="*/ 476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38100">
                  <a:moveTo>
                    <a:pt x="72884" y="4763"/>
                  </a:moveTo>
                  <a:cubicBezTo>
                    <a:pt x="61455" y="13653"/>
                    <a:pt x="20180" y="67628"/>
                    <a:pt x="4939" y="18098"/>
                  </a:cubicBezTo>
                  <a:cubicBezTo>
                    <a:pt x="3034" y="12382"/>
                    <a:pt x="17005" y="18098"/>
                    <a:pt x="23355" y="16828"/>
                  </a:cubicBezTo>
                  <a:cubicBezTo>
                    <a:pt x="39230" y="13653"/>
                    <a:pt x="72884" y="4763"/>
                    <a:pt x="72884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45133AFB-FB45-4DDE-9209-7B2352B57045}"/>
                </a:ext>
              </a:extLst>
            </p:cNvPr>
            <p:cNvSpPr/>
            <p:nvPr/>
          </p:nvSpPr>
          <p:spPr>
            <a:xfrm>
              <a:off x="8408672" y="1081850"/>
              <a:ext cx="177800" cy="57150"/>
            </a:xfrm>
            <a:custGeom>
              <a:avLst/>
              <a:gdLst>
                <a:gd name="connsiteX0" fmla="*/ 178433 w 177800"/>
                <a:gd name="connsiteY0" fmla="*/ 5905 h 57150"/>
                <a:gd name="connsiteX1" fmla="*/ 109853 w 177800"/>
                <a:gd name="connsiteY1" fmla="*/ 31940 h 57150"/>
                <a:gd name="connsiteX2" fmla="*/ 125728 w 177800"/>
                <a:gd name="connsiteY2" fmla="*/ 33845 h 57150"/>
                <a:gd name="connsiteX3" fmla="*/ 59688 w 177800"/>
                <a:gd name="connsiteY3" fmla="*/ 52895 h 57150"/>
                <a:gd name="connsiteX4" fmla="*/ 29843 w 177800"/>
                <a:gd name="connsiteY4" fmla="*/ 45275 h 57150"/>
                <a:gd name="connsiteX5" fmla="*/ 5713 w 177800"/>
                <a:gd name="connsiteY5" fmla="*/ 42735 h 57150"/>
                <a:gd name="connsiteX6" fmla="*/ 178433 w 177800"/>
                <a:gd name="connsiteY6" fmla="*/ 590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800" h="57150">
                  <a:moveTo>
                    <a:pt x="178433" y="5905"/>
                  </a:moveTo>
                  <a:cubicBezTo>
                    <a:pt x="155573" y="14795"/>
                    <a:pt x="131443" y="20510"/>
                    <a:pt x="109853" y="31940"/>
                  </a:cubicBezTo>
                  <a:cubicBezTo>
                    <a:pt x="105408" y="34480"/>
                    <a:pt x="130173" y="31940"/>
                    <a:pt x="125728" y="33845"/>
                  </a:cubicBezTo>
                  <a:cubicBezTo>
                    <a:pt x="104773" y="42735"/>
                    <a:pt x="82548" y="50355"/>
                    <a:pt x="59688" y="52895"/>
                  </a:cubicBezTo>
                  <a:cubicBezTo>
                    <a:pt x="49528" y="54165"/>
                    <a:pt x="40003" y="47180"/>
                    <a:pt x="29843" y="45275"/>
                  </a:cubicBezTo>
                  <a:cubicBezTo>
                    <a:pt x="21588" y="44005"/>
                    <a:pt x="-2" y="48450"/>
                    <a:pt x="5713" y="42735"/>
                  </a:cubicBezTo>
                  <a:cubicBezTo>
                    <a:pt x="55243" y="-2350"/>
                    <a:pt x="117473" y="4635"/>
                    <a:pt x="178433" y="5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A04F24CD-0839-4B42-B113-87963434A054}"/>
                </a:ext>
              </a:extLst>
            </p:cNvPr>
            <p:cNvSpPr/>
            <p:nvPr/>
          </p:nvSpPr>
          <p:spPr>
            <a:xfrm>
              <a:off x="8283795" y="1090475"/>
              <a:ext cx="361950" cy="107950"/>
            </a:xfrm>
            <a:custGeom>
              <a:avLst/>
              <a:gdLst>
                <a:gd name="connsiteX0" fmla="*/ 355380 w 361950"/>
                <a:gd name="connsiteY0" fmla="*/ 52525 h 107950"/>
                <a:gd name="connsiteX1" fmla="*/ 323630 w 361950"/>
                <a:gd name="connsiteY1" fmla="*/ 100785 h 107950"/>
                <a:gd name="connsiteX2" fmla="*/ 179485 w 361950"/>
                <a:gd name="connsiteY2" fmla="*/ 74115 h 107950"/>
                <a:gd name="connsiteX3" fmla="*/ 102015 w 361950"/>
                <a:gd name="connsiteY3" fmla="*/ 100150 h 107950"/>
                <a:gd name="connsiteX4" fmla="*/ 90585 w 361950"/>
                <a:gd name="connsiteY4" fmla="*/ 72210 h 107950"/>
                <a:gd name="connsiteX5" fmla="*/ 4860 w 361950"/>
                <a:gd name="connsiteY5" fmla="*/ 94435 h 107950"/>
                <a:gd name="connsiteX6" fmla="*/ 20100 w 361950"/>
                <a:gd name="connsiteY6" fmla="*/ 92530 h 107950"/>
                <a:gd name="connsiteX7" fmla="*/ 44865 w 361950"/>
                <a:gd name="connsiteY7" fmla="*/ 76655 h 107950"/>
                <a:gd name="connsiteX8" fmla="*/ 48675 w 361950"/>
                <a:gd name="connsiteY8" fmla="*/ 40460 h 107950"/>
                <a:gd name="connsiteX9" fmla="*/ 73440 w 361950"/>
                <a:gd name="connsiteY9" fmla="*/ 42365 h 107950"/>
                <a:gd name="connsiteX10" fmla="*/ 112810 w 361950"/>
                <a:gd name="connsiteY10" fmla="*/ 38555 h 107950"/>
                <a:gd name="connsiteX11" fmla="*/ 75345 w 361950"/>
                <a:gd name="connsiteY11" fmla="*/ 67765 h 107950"/>
                <a:gd name="connsiteX12" fmla="*/ 113445 w 361950"/>
                <a:gd name="connsiteY12" fmla="*/ 66495 h 107950"/>
                <a:gd name="connsiteX13" fmla="*/ 145195 w 361950"/>
                <a:gd name="connsiteY13" fmla="*/ 50620 h 107950"/>
                <a:gd name="connsiteX14" fmla="*/ 159800 w 361950"/>
                <a:gd name="connsiteY14" fmla="*/ 39825 h 107950"/>
                <a:gd name="connsiteX15" fmla="*/ 211870 w 361950"/>
                <a:gd name="connsiteY15" fmla="*/ 34110 h 107950"/>
                <a:gd name="connsiteX16" fmla="*/ 241080 w 361950"/>
                <a:gd name="connsiteY16" fmla="*/ 30935 h 107950"/>
                <a:gd name="connsiteX17" fmla="*/ 195360 w 361950"/>
                <a:gd name="connsiteY17" fmla="*/ 56335 h 107950"/>
                <a:gd name="connsiteX18" fmla="*/ 258225 w 361950"/>
                <a:gd name="connsiteY18" fmla="*/ 27760 h 107950"/>
                <a:gd name="connsiteX19" fmla="*/ 293150 w 361950"/>
                <a:gd name="connsiteY19" fmla="*/ 31570 h 107950"/>
                <a:gd name="connsiteX20" fmla="*/ 325535 w 361950"/>
                <a:gd name="connsiteY20" fmla="*/ 4900 h 107950"/>
                <a:gd name="connsiteX21" fmla="*/ 360460 w 361950"/>
                <a:gd name="connsiteY21" fmla="*/ 24585 h 107950"/>
                <a:gd name="connsiteX22" fmla="*/ 318550 w 361950"/>
                <a:gd name="connsiteY22" fmla="*/ 48080 h 107950"/>
                <a:gd name="connsiteX23" fmla="*/ 355380 w 361950"/>
                <a:gd name="connsiteY23" fmla="*/ 52525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1950" h="107950">
                  <a:moveTo>
                    <a:pt x="355380" y="52525"/>
                  </a:moveTo>
                  <a:cubicBezTo>
                    <a:pt x="344585" y="69035"/>
                    <a:pt x="342680" y="98880"/>
                    <a:pt x="323630" y="100785"/>
                  </a:cubicBezTo>
                  <a:cubicBezTo>
                    <a:pt x="275370" y="107135"/>
                    <a:pt x="227745" y="82370"/>
                    <a:pt x="179485" y="74115"/>
                  </a:cubicBezTo>
                  <a:cubicBezTo>
                    <a:pt x="125510" y="64590"/>
                    <a:pt x="240445" y="102055"/>
                    <a:pt x="102015" y="100150"/>
                  </a:cubicBezTo>
                  <a:cubicBezTo>
                    <a:pt x="91855" y="100150"/>
                    <a:pt x="99475" y="76655"/>
                    <a:pt x="90585" y="72210"/>
                  </a:cubicBezTo>
                  <a:cubicBezTo>
                    <a:pt x="60105" y="55065"/>
                    <a:pt x="17560" y="141425"/>
                    <a:pt x="4860" y="94435"/>
                  </a:cubicBezTo>
                  <a:cubicBezTo>
                    <a:pt x="3590" y="89355"/>
                    <a:pt x="15020" y="95070"/>
                    <a:pt x="20100" y="92530"/>
                  </a:cubicBezTo>
                  <a:cubicBezTo>
                    <a:pt x="28990" y="88720"/>
                    <a:pt x="39785" y="85545"/>
                    <a:pt x="44865" y="76655"/>
                  </a:cubicBezTo>
                  <a:cubicBezTo>
                    <a:pt x="50580" y="65860"/>
                    <a:pt x="41055" y="49985"/>
                    <a:pt x="48675" y="40460"/>
                  </a:cubicBezTo>
                  <a:cubicBezTo>
                    <a:pt x="53755" y="34110"/>
                    <a:pt x="65185" y="42365"/>
                    <a:pt x="73440" y="42365"/>
                  </a:cubicBezTo>
                  <a:cubicBezTo>
                    <a:pt x="86775" y="41730"/>
                    <a:pt x="111540" y="25220"/>
                    <a:pt x="112810" y="38555"/>
                  </a:cubicBezTo>
                  <a:cubicBezTo>
                    <a:pt x="114080" y="54430"/>
                    <a:pt x="74710" y="51890"/>
                    <a:pt x="75345" y="67765"/>
                  </a:cubicBezTo>
                  <a:cubicBezTo>
                    <a:pt x="75980" y="80465"/>
                    <a:pt x="101380" y="69670"/>
                    <a:pt x="113445" y="66495"/>
                  </a:cubicBezTo>
                  <a:cubicBezTo>
                    <a:pt x="124875" y="63320"/>
                    <a:pt x="135035" y="56335"/>
                    <a:pt x="145195" y="50620"/>
                  </a:cubicBezTo>
                  <a:cubicBezTo>
                    <a:pt x="150275" y="47445"/>
                    <a:pt x="154085" y="41095"/>
                    <a:pt x="159800" y="39825"/>
                  </a:cubicBezTo>
                  <a:cubicBezTo>
                    <a:pt x="176945" y="35380"/>
                    <a:pt x="194725" y="36015"/>
                    <a:pt x="211870" y="34110"/>
                  </a:cubicBezTo>
                  <a:cubicBezTo>
                    <a:pt x="221395" y="32840"/>
                    <a:pt x="232190" y="27125"/>
                    <a:pt x="241080" y="30935"/>
                  </a:cubicBezTo>
                  <a:cubicBezTo>
                    <a:pt x="260765" y="37920"/>
                    <a:pt x="135035" y="92530"/>
                    <a:pt x="195360" y="56335"/>
                  </a:cubicBezTo>
                  <a:cubicBezTo>
                    <a:pt x="215045" y="44270"/>
                    <a:pt x="236000" y="33475"/>
                    <a:pt x="258225" y="27760"/>
                  </a:cubicBezTo>
                  <a:cubicBezTo>
                    <a:pt x="269655" y="25220"/>
                    <a:pt x="282355" y="35380"/>
                    <a:pt x="293150" y="31570"/>
                  </a:cubicBezTo>
                  <a:cubicBezTo>
                    <a:pt x="306485" y="27125"/>
                    <a:pt x="311565" y="6170"/>
                    <a:pt x="325535" y="4900"/>
                  </a:cubicBezTo>
                  <a:cubicBezTo>
                    <a:pt x="338870" y="3630"/>
                    <a:pt x="362365" y="11250"/>
                    <a:pt x="360460" y="24585"/>
                  </a:cubicBezTo>
                  <a:cubicBezTo>
                    <a:pt x="357920" y="40460"/>
                    <a:pt x="321725" y="32205"/>
                    <a:pt x="318550" y="48080"/>
                  </a:cubicBezTo>
                  <a:cubicBezTo>
                    <a:pt x="316645" y="59510"/>
                    <a:pt x="355380" y="52525"/>
                    <a:pt x="355380" y="52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EF65E001-B3FF-4AF0-8ED8-73620037E8B3}"/>
                </a:ext>
              </a:extLst>
            </p:cNvPr>
            <p:cNvSpPr/>
            <p:nvPr/>
          </p:nvSpPr>
          <p:spPr>
            <a:xfrm>
              <a:off x="9663161" y="1139834"/>
              <a:ext cx="95250" cy="44450"/>
            </a:xfrm>
            <a:custGeom>
              <a:avLst/>
              <a:gdLst>
                <a:gd name="connsiteX0" fmla="*/ 91074 w 95250"/>
                <a:gd name="connsiteY0" fmla="*/ 43806 h 44450"/>
                <a:gd name="connsiteX1" fmla="*/ 6620 w 95250"/>
                <a:gd name="connsiteY1" fmla="*/ 13961 h 44450"/>
                <a:gd name="connsiteX2" fmla="*/ 54880 w 95250"/>
                <a:gd name="connsiteY2" fmla="*/ 8246 h 44450"/>
                <a:gd name="connsiteX3" fmla="*/ 91074 w 95250"/>
                <a:gd name="connsiteY3" fmla="*/ 43806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44450">
                  <a:moveTo>
                    <a:pt x="91074" y="43806"/>
                  </a:moveTo>
                  <a:cubicBezTo>
                    <a:pt x="63134" y="33646"/>
                    <a:pt x="28209" y="34916"/>
                    <a:pt x="6620" y="13961"/>
                  </a:cubicBezTo>
                  <a:cubicBezTo>
                    <a:pt x="-4811" y="2531"/>
                    <a:pt x="39639" y="3166"/>
                    <a:pt x="54880" y="8246"/>
                  </a:cubicBezTo>
                  <a:cubicBezTo>
                    <a:pt x="70755" y="13961"/>
                    <a:pt x="91074" y="43806"/>
                    <a:pt x="91074" y="438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B7EC11DD-4834-4DEF-8CD4-A060F0A7722A}"/>
                </a:ext>
              </a:extLst>
            </p:cNvPr>
            <p:cNvSpPr/>
            <p:nvPr/>
          </p:nvSpPr>
          <p:spPr>
            <a:xfrm>
              <a:off x="8483918" y="1044893"/>
              <a:ext cx="50800" cy="12700"/>
            </a:xfrm>
            <a:custGeom>
              <a:avLst/>
              <a:gdLst>
                <a:gd name="connsiteX0" fmla="*/ 47307 w 50800"/>
                <a:gd name="connsiteY0" fmla="*/ 9207 h 12700"/>
                <a:gd name="connsiteX1" fmla="*/ 4763 w 50800"/>
                <a:gd name="connsiteY1" fmla="*/ 4763 h 12700"/>
                <a:gd name="connsiteX2" fmla="*/ 47307 w 50800"/>
                <a:gd name="connsiteY2" fmla="*/ 9207 h 12700"/>
                <a:gd name="connsiteX3" fmla="*/ 47307 w 50800"/>
                <a:gd name="connsiteY3" fmla="*/ 9207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12700">
                  <a:moveTo>
                    <a:pt x="47307" y="9207"/>
                  </a:moveTo>
                  <a:cubicBezTo>
                    <a:pt x="33338" y="7938"/>
                    <a:pt x="4763" y="4763"/>
                    <a:pt x="4763" y="4763"/>
                  </a:cubicBezTo>
                  <a:cubicBezTo>
                    <a:pt x="4763" y="4763"/>
                    <a:pt x="33338" y="7938"/>
                    <a:pt x="47307" y="9207"/>
                  </a:cubicBezTo>
                  <a:lnTo>
                    <a:pt x="47307" y="92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1D83D211-ED23-46C8-86A6-1E8F61EE8F3B}"/>
                </a:ext>
              </a:extLst>
            </p:cNvPr>
            <p:cNvSpPr/>
            <p:nvPr/>
          </p:nvSpPr>
          <p:spPr>
            <a:xfrm>
              <a:off x="8515939" y="1014316"/>
              <a:ext cx="25400" cy="12700"/>
            </a:xfrm>
            <a:custGeom>
              <a:avLst/>
              <a:gdLst>
                <a:gd name="connsiteX0" fmla="*/ 23541 w 25400"/>
                <a:gd name="connsiteY0" fmla="*/ 13114 h 12700"/>
                <a:gd name="connsiteX1" fmla="*/ 5126 w 25400"/>
                <a:gd name="connsiteY1" fmla="*/ 11209 h 12700"/>
                <a:gd name="connsiteX2" fmla="*/ 19096 w 25400"/>
                <a:gd name="connsiteY2" fmla="*/ 4859 h 12700"/>
                <a:gd name="connsiteX3" fmla="*/ 23541 w 25400"/>
                <a:gd name="connsiteY3" fmla="*/ 13114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2700">
                  <a:moveTo>
                    <a:pt x="23541" y="13114"/>
                  </a:moveTo>
                  <a:cubicBezTo>
                    <a:pt x="17191" y="12479"/>
                    <a:pt x="8301" y="16289"/>
                    <a:pt x="5126" y="11209"/>
                  </a:cubicBezTo>
                  <a:cubicBezTo>
                    <a:pt x="2586" y="6764"/>
                    <a:pt x="14016" y="4224"/>
                    <a:pt x="19096" y="4859"/>
                  </a:cubicBezTo>
                  <a:cubicBezTo>
                    <a:pt x="22271" y="4859"/>
                    <a:pt x="23541" y="13114"/>
                    <a:pt x="23541" y="131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3C44D26A-4DEE-42F8-9584-B73161697062}"/>
                </a:ext>
              </a:extLst>
            </p:cNvPr>
            <p:cNvSpPr/>
            <p:nvPr/>
          </p:nvSpPr>
          <p:spPr>
            <a:xfrm>
              <a:off x="9061768" y="1401305"/>
              <a:ext cx="133350" cy="146050"/>
            </a:xfrm>
            <a:custGeom>
              <a:avLst/>
              <a:gdLst>
                <a:gd name="connsiteX0" fmla="*/ 4763 w 133350"/>
                <a:gd name="connsiteY0" fmla="*/ 28080 h 146050"/>
                <a:gd name="connsiteX1" fmla="*/ 37782 w 133350"/>
                <a:gd name="connsiteY1" fmla="*/ 15380 h 146050"/>
                <a:gd name="connsiteX2" fmla="*/ 71438 w 133350"/>
                <a:gd name="connsiteY2" fmla="*/ 50305 h 146050"/>
                <a:gd name="connsiteX3" fmla="*/ 63182 w 133350"/>
                <a:gd name="connsiteY3" fmla="*/ 7125 h 146050"/>
                <a:gd name="connsiteX4" fmla="*/ 84138 w 133350"/>
                <a:gd name="connsiteY4" fmla="*/ 18555 h 146050"/>
                <a:gd name="connsiteX5" fmla="*/ 81597 w 133350"/>
                <a:gd name="connsiteY5" fmla="*/ 32525 h 146050"/>
                <a:gd name="connsiteX6" fmla="*/ 131127 w 133350"/>
                <a:gd name="connsiteY6" fmla="*/ 51575 h 146050"/>
                <a:gd name="connsiteX7" fmla="*/ 103822 w 133350"/>
                <a:gd name="connsiteY7" fmla="*/ 65545 h 146050"/>
                <a:gd name="connsiteX8" fmla="*/ 108267 w 133350"/>
                <a:gd name="connsiteY8" fmla="*/ 78880 h 146050"/>
                <a:gd name="connsiteX9" fmla="*/ 83502 w 133350"/>
                <a:gd name="connsiteY9" fmla="*/ 141110 h 146050"/>
                <a:gd name="connsiteX10" fmla="*/ 70167 w 133350"/>
                <a:gd name="connsiteY10" fmla="*/ 129045 h 146050"/>
                <a:gd name="connsiteX11" fmla="*/ 83502 w 133350"/>
                <a:gd name="connsiteY11" fmla="*/ 123965 h 146050"/>
                <a:gd name="connsiteX12" fmla="*/ 40322 w 133350"/>
                <a:gd name="connsiteY12" fmla="*/ 83960 h 146050"/>
                <a:gd name="connsiteX13" fmla="*/ 84138 w 133350"/>
                <a:gd name="connsiteY13" fmla="*/ 68085 h 146050"/>
                <a:gd name="connsiteX14" fmla="*/ 32702 w 133350"/>
                <a:gd name="connsiteY14" fmla="*/ 78245 h 146050"/>
                <a:gd name="connsiteX15" fmla="*/ 34607 w 133350"/>
                <a:gd name="connsiteY15" fmla="*/ 65545 h 146050"/>
                <a:gd name="connsiteX16" fmla="*/ 4763 w 133350"/>
                <a:gd name="connsiteY16" fmla="*/ 28080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3350" h="146050">
                  <a:moveTo>
                    <a:pt x="4763" y="28080"/>
                  </a:moveTo>
                  <a:cubicBezTo>
                    <a:pt x="15557" y="23635"/>
                    <a:pt x="26988" y="11570"/>
                    <a:pt x="37782" y="15380"/>
                  </a:cubicBezTo>
                  <a:cubicBezTo>
                    <a:pt x="53022" y="20460"/>
                    <a:pt x="55563" y="55385"/>
                    <a:pt x="71438" y="50305"/>
                  </a:cubicBezTo>
                  <a:cubicBezTo>
                    <a:pt x="85407" y="45860"/>
                    <a:pt x="57467" y="21095"/>
                    <a:pt x="63182" y="7125"/>
                  </a:cubicBezTo>
                  <a:cubicBezTo>
                    <a:pt x="66357" y="-495"/>
                    <a:pt x="79692" y="12205"/>
                    <a:pt x="84138" y="18555"/>
                  </a:cubicBezTo>
                  <a:cubicBezTo>
                    <a:pt x="86677" y="22365"/>
                    <a:pt x="77788" y="29350"/>
                    <a:pt x="81597" y="32525"/>
                  </a:cubicBezTo>
                  <a:cubicBezTo>
                    <a:pt x="96202" y="42685"/>
                    <a:pt x="121602" y="36970"/>
                    <a:pt x="131127" y="51575"/>
                  </a:cubicBezTo>
                  <a:cubicBezTo>
                    <a:pt x="136842" y="59830"/>
                    <a:pt x="110172" y="57925"/>
                    <a:pt x="103822" y="65545"/>
                  </a:cubicBezTo>
                  <a:cubicBezTo>
                    <a:pt x="100647" y="69355"/>
                    <a:pt x="109538" y="74435"/>
                    <a:pt x="108267" y="78880"/>
                  </a:cubicBezTo>
                  <a:cubicBezTo>
                    <a:pt x="102552" y="100470"/>
                    <a:pt x="96838" y="123330"/>
                    <a:pt x="83502" y="141110"/>
                  </a:cubicBezTo>
                  <a:cubicBezTo>
                    <a:pt x="79692" y="146190"/>
                    <a:pt x="70167" y="134760"/>
                    <a:pt x="70167" y="129045"/>
                  </a:cubicBezTo>
                  <a:cubicBezTo>
                    <a:pt x="70167" y="123965"/>
                    <a:pt x="87947" y="126505"/>
                    <a:pt x="83502" y="123965"/>
                  </a:cubicBezTo>
                  <a:cubicBezTo>
                    <a:pt x="75247" y="118250"/>
                    <a:pt x="16192" y="124600"/>
                    <a:pt x="40322" y="83960"/>
                  </a:cubicBezTo>
                  <a:cubicBezTo>
                    <a:pt x="47942" y="70625"/>
                    <a:pt x="96838" y="77610"/>
                    <a:pt x="84138" y="68085"/>
                  </a:cubicBezTo>
                  <a:cubicBezTo>
                    <a:pt x="70167" y="57925"/>
                    <a:pt x="49847" y="78880"/>
                    <a:pt x="32702" y="78245"/>
                  </a:cubicBezTo>
                  <a:cubicBezTo>
                    <a:pt x="28257" y="78245"/>
                    <a:pt x="36513" y="69355"/>
                    <a:pt x="34607" y="65545"/>
                  </a:cubicBezTo>
                  <a:cubicBezTo>
                    <a:pt x="26988" y="51575"/>
                    <a:pt x="4763" y="28080"/>
                    <a:pt x="4763" y="28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2EE8CE55-B85A-4300-889E-0B617A4363C2}"/>
                </a:ext>
              </a:extLst>
            </p:cNvPr>
            <p:cNvSpPr/>
            <p:nvPr/>
          </p:nvSpPr>
          <p:spPr>
            <a:xfrm>
              <a:off x="8489034" y="965413"/>
              <a:ext cx="50800" cy="25400"/>
            </a:xfrm>
            <a:custGeom>
              <a:avLst/>
              <a:gdLst>
                <a:gd name="connsiteX0" fmla="*/ 50447 w 50800"/>
                <a:gd name="connsiteY0" fmla="*/ 26457 h 25400"/>
                <a:gd name="connsiteX1" fmla="*/ 5361 w 50800"/>
                <a:gd name="connsiteY1" fmla="*/ 16297 h 25400"/>
                <a:gd name="connsiteX2" fmla="*/ 40922 w 50800"/>
                <a:gd name="connsiteY2" fmla="*/ 6137 h 25400"/>
                <a:gd name="connsiteX3" fmla="*/ 50447 w 50800"/>
                <a:gd name="connsiteY3" fmla="*/ 26457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25400">
                  <a:moveTo>
                    <a:pt x="50447" y="26457"/>
                  </a:moveTo>
                  <a:cubicBezTo>
                    <a:pt x="35207" y="23282"/>
                    <a:pt x="11711" y="30267"/>
                    <a:pt x="5361" y="16297"/>
                  </a:cubicBezTo>
                  <a:cubicBezTo>
                    <a:pt x="282" y="4867"/>
                    <a:pt x="28857" y="2962"/>
                    <a:pt x="40922" y="6137"/>
                  </a:cubicBezTo>
                  <a:cubicBezTo>
                    <a:pt x="48541" y="8042"/>
                    <a:pt x="50447" y="26457"/>
                    <a:pt x="50447" y="264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C67EDCC8-2296-451C-8B20-D4A556FD0075}"/>
                </a:ext>
              </a:extLst>
            </p:cNvPr>
            <p:cNvSpPr/>
            <p:nvPr/>
          </p:nvSpPr>
          <p:spPr>
            <a:xfrm>
              <a:off x="8338169" y="1057210"/>
              <a:ext cx="44450" cy="31750"/>
            </a:xfrm>
            <a:custGeom>
              <a:avLst/>
              <a:gdLst>
                <a:gd name="connsiteX0" fmla="*/ 44465 w 44450"/>
                <a:gd name="connsiteY0" fmla="*/ 17210 h 31750"/>
                <a:gd name="connsiteX1" fmla="*/ 22875 w 44450"/>
                <a:gd name="connsiteY1" fmla="*/ 31815 h 31750"/>
                <a:gd name="connsiteX2" fmla="*/ 6365 w 44450"/>
                <a:gd name="connsiteY2" fmla="*/ 8955 h 31750"/>
                <a:gd name="connsiteX3" fmla="*/ 43831 w 44450"/>
                <a:gd name="connsiteY3" fmla="*/ 10225 h 31750"/>
                <a:gd name="connsiteX4" fmla="*/ 44465 w 44450"/>
                <a:gd name="connsiteY4" fmla="*/ 17210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31750">
                  <a:moveTo>
                    <a:pt x="44465" y="17210"/>
                  </a:moveTo>
                  <a:cubicBezTo>
                    <a:pt x="37481" y="22290"/>
                    <a:pt x="31131" y="33720"/>
                    <a:pt x="22875" y="31815"/>
                  </a:cubicBezTo>
                  <a:cubicBezTo>
                    <a:pt x="13986" y="29910"/>
                    <a:pt x="15" y="15305"/>
                    <a:pt x="6365" y="8955"/>
                  </a:cubicBezTo>
                  <a:cubicBezTo>
                    <a:pt x="15256" y="65"/>
                    <a:pt x="31765" y="7685"/>
                    <a:pt x="43831" y="10225"/>
                  </a:cubicBezTo>
                  <a:cubicBezTo>
                    <a:pt x="45736" y="10860"/>
                    <a:pt x="43831" y="14670"/>
                    <a:pt x="44465" y="1721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8CFD98A7-4FC2-43EC-9DCC-3BB715026A87}"/>
                </a:ext>
              </a:extLst>
            </p:cNvPr>
            <p:cNvSpPr/>
            <p:nvPr/>
          </p:nvSpPr>
          <p:spPr>
            <a:xfrm>
              <a:off x="8227083" y="1086204"/>
              <a:ext cx="146050" cy="120650"/>
            </a:xfrm>
            <a:custGeom>
              <a:avLst/>
              <a:gdLst>
                <a:gd name="connsiteX0" fmla="*/ 118087 w 146050"/>
                <a:gd name="connsiteY0" fmla="*/ 32031 h 120650"/>
                <a:gd name="connsiteX1" fmla="*/ 88242 w 146050"/>
                <a:gd name="connsiteY1" fmla="*/ 50446 h 120650"/>
                <a:gd name="connsiteX2" fmla="*/ 43792 w 146050"/>
                <a:gd name="connsiteY2" fmla="*/ 59336 h 120650"/>
                <a:gd name="connsiteX3" fmla="*/ 32997 w 146050"/>
                <a:gd name="connsiteY3" fmla="*/ 110136 h 120650"/>
                <a:gd name="connsiteX4" fmla="*/ 13947 w 146050"/>
                <a:gd name="connsiteY4" fmla="*/ 119661 h 120650"/>
                <a:gd name="connsiteX5" fmla="*/ 106657 w 146050"/>
                <a:gd name="connsiteY5" fmla="*/ 28221 h 120650"/>
                <a:gd name="connsiteX6" fmla="*/ 142852 w 146050"/>
                <a:gd name="connsiteY6" fmla="*/ 5361 h 120650"/>
                <a:gd name="connsiteX7" fmla="*/ 118087 w 146050"/>
                <a:gd name="connsiteY7" fmla="*/ 32031 h 12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050" h="120650">
                  <a:moveTo>
                    <a:pt x="118087" y="32031"/>
                  </a:moveTo>
                  <a:cubicBezTo>
                    <a:pt x="107927" y="38381"/>
                    <a:pt x="99037" y="46001"/>
                    <a:pt x="88242" y="50446"/>
                  </a:cubicBezTo>
                  <a:cubicBezTo>
                    <a:pt x="74272" y="55526"/>
                    <a:pt x="53952" y="48541"/>
                    <a:pt x="43792" y="59336"/>
                  </a:cubicBezTo>
                  <a:cubicBezTo>
                    <a:pt x="31727" y="72036"/>
                    <a:pt x="40617" y="94261"/>
                    <a:pt x="32997" y="110136"/>
                  </a:cubicBezTo>
                  <a:cubicBezTo>
                    <a:pt x="29822" y="116486"/>
                    <a:pt x="15852" y="126011"/>
                    <a:pt x="13947" y="119661"/>
                  </a:cubicBezTo>
                  <a:cubicBezTo>
                    <a:pt x="-20343" y="16156"/>
                    <a:pt x="48237" y="54891"/>
                    <a:pt x="106657" y="28221"/>
                  </a:cubicBezTo>
                  <a:cubicBezTo>
                    <a:pt x="119992" y="22506"/>
                    <a:pt x="129517" y="916"/>
                    <a:pt x="142852" y="5361"/>
                  </a:cubicBezTo>
                  <a:cubicBezTo>
                    <a:pt x="154917" y="9171"/>
                    <a:pt x="118087" y="32031"/>
                    <a:pt x="118087" y="320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E94E0C37-3080-4B83-AA34-020FBE62D2E7}"/>
                </a:ext>
              </a:extLst>
            </p:cNvPr>
            <p:cNvSpPr/>
            <p:nvPr/>
          </p:nvSpPr>
          <p:spPr>
            <a:xfrm>
              <a:off x="8360897" y="987096"/>
              <a:ext cx="88900" cy="50800"/>
            </a:xfrm>
            <a:custGeom>
              <a:avLst/>
              <a:gdLst>
                <a:gd name="connsiteX0" fmla="*/ 80158 w 88900"/>
                <a:gd name="connsiteY0" fmla="*/ 29539 h 50800"/>
                <a:gd name="connsiteX1" fmla="*/ 5862 w 88900"/>
                <a:gd name="connsiteY1" fmla="*/ 31444 h 50800"/>
                <a:gd name="connsiteX2" fmla="*/ 30628 w 88900"/>
                <a:gd name="connsiteY2" fmla="*/ 36524 h 50800"/>
                <a:gd name="connsiteX3" fmla="*/ 87778 w 88900"/>
                <a:gd name="connsiteY3" fmla="*/ 4774 h 50800"/>
                <a:gd name="connsiteX4" fmla="*/ 80158 w 88900"/>
                <a:gd name="connsiteY4" fmla="*/ 29539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00" h="50800">
                  <a:moveTo>
                    <a:pt x="80158" y="29539"/>
                  </a:moveTo>
                  <a:cubicBezTo>
                    <a:pt x="46503" y="47319"/>
                    <a:pt x="42058" y="61289"/>
                    <a:pt x="5862" y="31444"/>
                  </a:cubicBezTo>
                  <a:cubicBezTo>
                    <a:pt x="-488" y="26364"/>
                    <a:pt x="22372" y="39064"/>
                    <a:pt x="30628" y="36524"/>
                  </a:cubicBezTo>
                  <a:cubicBezTo>
                    <a:pt x="50947" y="29539"/>
                    <a:pt x="66187" y="7949"/>
                    <a:pt x="87778" y="4774"/>
                  </a:cubicBezTo>
                  <a:cubicBezTo>
                    <a:pt x="96033" y="4139"/>
                    <a:pt x="80158" y="29539"/>
                    <a:pt x="80158" y="295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C7721488-67C8-4604-AF29-9A88D962FA77}"/>
                </a:ext>
              </a:extLst>
            </p:cNvPr>
            <p:cNvSpPr/>
            <p:nvPr/>
          </p:nvSpPr>
          <p:spPr>
            <a:xfrm>
              <a:off x="9621810" y="959271"/>
              <a:ext cx="88900" cy="44450"/>
            </a:xfrm>
            <a:custGeom>
              <a:avLst/>
              <a:gdLst>
                <a:gd name="connsiteX0" fmla="*/ 84165 w 88900"/>
                <a:gd name="connsiteY0" fmla="*/ 31964 h 44450"/>
                <a:gd name="connsiteX1" fmla="*/ 61940 w 88900"/>
                <a:gd name="connsiteY1" fmla="*/ 44029 h 44450"/>
                <a:gd name="connsiteX2" fmla="*/ 4790 w 88900"/>
                <a:gd name="connsiteY2" fmla="*/ 9739 h 44450"/>
                <a:gd name="connsiteX3" fmla="*/ 42890 w 88900"/>
                <a:gd name="connsiteY3" fmla="*/ 15454 h 44450"/>
                <a:gd name="connsiteX4" fmla="*/ 84165 w 88900"/>
                <a:gd name="connsiteY4" fmla="*/ 31964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900" h="44450">
                  <a:moveTo>
                    <a:pt x="84165" y="31964"/>
                  </a:moveTo>
                  <a:cubicBezTo>
                    <a:pt x="76546" y="35774"/>
                    <a:pt x="70196" y="42759"/>
                    <a:pt x="61940" y="44029"/>
                  </a:cubicBezTo>
                  <a:cubicBezTo>
                    <a:pt x="46065" y="45934"/>
                    <a:pt x="3521" y="19899"/>
                    <a:pt x="4790" y="9739"/>
                  </a:cubicBezTo>
                  <a:cubicBezTo>
                    <a:pt x="6060" y="-2961"/>
                    <a:pt x="30190" y="12279"/>
                    <a:pt x="42890" y="15454"/>
                  </a:cubicBezTo>
                  <a:cubicBezTo>
                    <a:pt x="56860" y="19899"/>
                    <a:pt x="84165" y="31964"/>
                    <a:pt x="84165" y="3196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FD876DB1-0DA4-4EE3-84F3-B71419C0B253}"/>
                </a:ext>
              </a:extLst>
            </p:cNvPr>
            <p:cNvSpPr/>
            <p:nvPr/>
          </p:nvSpPr>
          <p:spPr>
            <a:xfrm>
              <a:off x="9684073" y="1378775"/>
              <a:ext cx="82550" cy="177800"/>
            </a:xfrm>
            <a:custGeom>
              <a:avLst/>
              <a:gdLst>
                <a:gd name="connsiteX0" fmla="*/ 39046 w 82550"/>
                <a:gd name="connsiteY0" fmla="*/ 113475 h 177800"/>
                <a:gd name="connsiteX1" fmla="*/ 19361 w 82550"/>
                <a:gd name="connsiteY1" fmla="*/ 88710 h 177800"/>
                <a:gd name="connsiteX2" fmla="*/ 6661 w 82550"/>
                <a:gd name="connsiteY2" fmla="*/ 76010 h 177800"/>
                <a:gd name="connsiteX3" fmla="*/ 62542 w 82550"/>
                <a:gd name="connsiteY3" fmla="*/ 4890 h 177800"/>
                <a:gd name="connsiteX4" fmla="*/ 61271 w 82550"/>
                <a:gd name="connsiteY4" fmla="*/ 6795 h 177800"/>
                <a:gd name="connsiteX5" fmla="*/ 53652 w 82550"/>
                <a:gd name="connsiteY5" fmla="*/ 62040 h 177800"/>
                <a:gd name="connsiteX6" fmla="*/ 52382 w 82550"/>
                <a:gd name="connsiteY6" fmla="*/ 69660 h 177800"/>
                <a:gd name="connsiteX7" fmla="*/ 72067 w 82550"/>
                <a:gd name="connsiteY7" fmla="*/ 101410 h 177800"/>
                <a:gd name="connsiteX8" fmla="*/ 56827 w 82550"/>
                <a:gd name="connsiteY8" fmla="*/ 110300 h 177800"/>
                <a:gd name="connsiteX9" fmla="*/ 82227 w 82550"/>
                <a:gd name="connsiteY9" fmla="*/ 128715 h 177800"/>
                <a:gd name="connsiteX10" fmla="*/ 62542 w 82550"/>
                <a:gd name="connsiteY10" fmla="*/ 173800 h 177800"/>
                <a:gd name="connsiteX11" fmla="*/ 39046 w 82550"/>
                <a:gd name="connsiteY11" fmla="*/ 113475 h 17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550" h="177800">
                  <a:moveTo>
                    <a:pt x="39046" y="113475"/>
                  </a:moveTo>
                  <a:cubicBezTo>
                    <a:pt x="32696" y="105220"/>
                    <a:pt x="26346" y="96965"/>
                    <a:pt x="19361" y="88710"/>
                  </a:cubicBezTo>
                  <a:cubicBezTo>
                    <a:pt x="15552" y="84265"/>
                    <a:pt x="7932" y="81725"/>
                    <a:pt x="6661" y="76010"/>
                  </a:cubicBezTo>
                  <a:cubicBezTo>
                    <a:pt x="-4133" y="34100"/>
                    <a:pt x="33332" y="22670"/>
                    <a:pt x="62542" y="4890"/>
                  </a:cubicBezTo>
                  <a:cubicBezTo>
                    <a:pt x="63177" y="4255"/>
                    <a:pt x="61271" y="6160"/>
                    <a:pt x="61271" y="6795"/>
                  </a:cubicBezTo>
                  <a:cubicBezTo>
                    <a:pt x="58096" y="25210"/>
                    <a:pt x="56192" y="43625"/>
                    <a:pt x="53652" y="62040"/>
                  </a:cubicBezTo>
                  <a:cubicBezTo>
                    <a:pt x="53017" y="64580"/>
                    <a:pt x="51111" y="67120"/>
                    <a:pt x="52382" y="69660"/>
                  </a:cubicBezTo>
                  <a:cubicBezTo>
                    <a:pt x="57461" y="79820"/>
                    <a:pt x="75877" y="95695"/>
                    <a:pt x="72067" y="101410"/>
                  </a:cubicBezTo>
                  <a:cubicBezTo>
                    <a:pt x="68892" y="106490"/>
                    <a:pt x="54921" y="105220"/>
                    <a:pt x="56827" y="110300"/>
                  </a:cubicBezTo>
                  <a:cubicBezTo>
                    <a:pt x="60636" y="119825"/>
                    <a:pt x="81592" y="118555"/>
                    <a:pt x="82227" y="128715"/>
                  </a:cubicBezTo>
                  <a:cubicBezTo>
                    <a:pt x="83496" y="145225"/>
                    <a:pt x="77782" y="179515"/>
                    <a:pt x="62542" y="173800"/>
                  </a:cubicBezTo>
                  <a:cubicBezTo>
                    <a:pt x="41586" y="166815"/>
                    <a:pt x="39046" y="113475"/>
                    <a:pt x="39046" y="113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7B91CFF9-025F-451B-B7BE-9206642DEA92}"/>
                </a:ext>
              </a:extLst>
            </p:cNvPr>
            <p:cNvSpPr/>
            <p:nvPr/>
          </p:nvSpPr>
          <p:spPr>
            <a:xfrm>
              <a:off x="8259128" y="1046163"/>
              <a:ext cx="25400" cy="19050"/>
            </a:xfrm>
            <a:custGeom>
              <a:avLst/>
              <a:gdLst>
                <a:gd name="connsiteX0" fmla="*/ 4763 w 25400"/>
                <a:gd name="connsiteY0" fmla="*/ 19368 h 19050"/>
                <a:gd name="connsiteX1" fmla="*/ 23178 w 25400"/>
                <a:gd name="connsiteY1" fmla="*/ 4763 h 19050"/>
                <a:gd name="connsiteX2" fmla="*/ 4763 w 25400"/>
                <a:gd name="connsiteY2" fmla="*/ 19368 h 19050"/>
                <a:gd name="connsiteX3" fmla="*/ 4763 w 25400"/>
                <a:gd name="connsiteY3" fmla="*/ 1936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9050">
                  <a:moveTo>
                    <a:pt x="4763" y="19368"/>
                  </a:moveTo>
                  <a:cubicBezTo>
                    <a:pt x="10478" y="14288"/>
                    <a:pt x="23178" y="4763"/>
                    <a:pt x="23178" y="4763"/>
                  </a:cubicBezTo>
                  <a:cubicBezTo>
                    <a:pt x="23178" y="4763"/>
                    <a:pt x="10478" y="14923"/>
                    <a:pt x="4763" y="19368"/>
                  </a:cubicBezTo>
                  <a:lnTo>
                    <a:pt x="4763" y="193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D50B5F40-2B47-4DB6-ADAD-362C173F337B}"/>
                </a:ext>
              </a:extLst>
            </p:cNvPr>
            <p:cNvSpPr/>
            <p:nvPr/>
          </p:nvSpPr>
          <p:spPr>
            <a:xfrm>
              <a:off x="8139281" y="1113721"/>
              <a:ext cx="88900" cy="38100"/>
            </a:xfrm>
            <a:custGeom>
              <a:avLst/>
              <a:gdLst>
                <a:gd name="connsiteX0" fmla="*/ 85874 w 88900"/>
                <a:gd name="connsiteY0" fmla="*/ 6419 h 38100"/>
                <a:gd name="connsiteX1" fmla="*/ 7769 w 88900"/>
                <a:gd name="connsiteY1" fmla="*/ 38169 h 38100"/>
                <a:gd name="connsiteX2" fmla="*/ 30629 w 88900"/>
                <a:gd name="connsiteY2" fmla="*/ 13404 h 38100"/>
                <a:gd name="connsiteX3" fmla="*/ 85874 w 88900"/>
                <a:gd name="connsiteY3" fmla="*/ 641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00" h="38100">
                  <a:moveTo>
                    <a:pt x="85874" y="6419"/>
                  </a:moveTo>
                  <a:cubicBezTo>
                    <a:pt x="59838" y="17214"/>
                    <a:pt x="35709" y="34359"/>
                    <a:pt x="7769" y="38169"/>
                  </a:cubicBezTo>
                  <a:cubicBezTo>
                    <a:pt x="-3662" y="39439"/>
                    <a:pt x="20469" y="18484"/>
                    <a:pt x="30629" y="13404"/>
                  </a:cubicBezTo>
                  <a:cubicBezTo>
                    <a:pt x="52219" y="1974"/>
                    <a:pt x="66188" y="4514"/>
                    <a:pt x="85874" y="64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05EA1E78-28F3-45EE-B151-FC076AFE8FF9}"/>
                </a:ext>
              </a:extLst>
            </p:cNvPr>
            <p:cNvSpPr/>
            <p:nvPr/>
          </p:nvSpPr>
          <p:spPr>
            <a:xfrm>
              <a:off x="9873385" y="1061293"/>
              <a:ext cx="57150" cy="31750"/>
            </a:xfrm>
            <a:custGeom>
              <a:avLst/>
              <a:gdLst>
                <a:gd name="connsiteX0" fmla="*/ 58650 w 57150"/>
                <a:gd name="connsiteY0" fmla="*/ 32812 h 31750"/>
                <a:gd name="connsiteX1" fmla="*/ 5945 w 57150"/>
                <a:gd name="connsiteY1" fmla="*/ 15667 h 31750"/>
                <a:gd name="connsiteX2" fmla="*/ 10390 w 57150"/>
                <a:gd name="connsiteY2" fmla="*/ 4872 h 31750"/>
                <a:gd name="connsiteX3" fmla="*/ 58650 w 57150"/>
                <a:gd name="connsiteY3" fmla="*/ 32812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31750">
                  <a:moveTo>
                    <a:pt x="58650" y="32812"/>
                  </a:moveTo>
                  <a:cubicBezTo>
                    <a:pt x="40870" y="27097"/>
                    <a:pt x="21820" y="24557"/>
                    <a:pt x="5945" y="15667"/>
                  </a:cubicBezTo>
                  <a:cubicBezTo>
                    <a:pt x="2770" y="13762"/>
                    <a:pt x="6580" y="3602"/>
                    <a:pt x="10390" y="4872"/>
                  </a:cubicBezTo>
                  <a:cubicBezTo>
                    <a:pt x="28170" y="11222"/>
                    <a:pt x="58650" y="32812"/>
                    <a:pt x="58650" y="328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20161755-DBC5-494D-B71D-7A999D617A20}"/>
                </a:ext>
              </a:extLst>
            </p:cNvPr>
            <p:cNvSpPr/>
            <p:nvPr/>
          </p:nvSpPr>
          <p:spPr>
            <a:xfrm>
              <a:off x="8342917" y="954103"/>
              <a:ext cx="120650" cy="50800"/>
            </a:xfrm>
            <a:custGeom>
              <a:avLst/>
              <a:gdLst>
                <a:gd name="connsiteX0" fmla="*/ 79723 w 120650"/>
                <a:gd name="connsiteY0" fmla="*/ 28877 h 50800"/>
                <a:gd name="connsiteX1" fmla="*/ 13683 w 120650"/>
                <a:gd name="connsiteY1" fmla="*/ 51102 h 50800"/>
                <a:gd name="connsiteX2" fmla="*/ 11142 w 120650"/>
                <a:gd name="connsiteY2" fmla="*/ 16812 h 50800"/>
                <a:gd name="connsiteX3" fmla="*/ 117188 w 120650"/>
                <a:gd name="connsiteY3" fmla="*/ 20622 h 50800"/>
                <a:gd name="connsiteX4" fmla="*/ 79723 w 120650"/>
                <a:gd name="connsiteY4" fmla="*/ 28877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650" h="50800">
                  <a:moveTo>
                    <a:pt x="79723" y="28877"/>
                  </a:moveTo>
                  <a:cubicBezTo>
                    <a:pt x="58133" y="36497"/>
                    <a:pt x="36542" y="55547"/>
                    <a:pt x="13683" y="51102"/>
                  </a:cubicBezTo>
                  <a:cubicBezTo>
                    <a:pt x="2252" y="49197"/>
                    <a:pt x="2252" y="24432"/>
                    <a:pt x="11142" y="16812"/>
                  </a:cubicBezTo>
                  <a:cubicBezTo>
                    <a:pt x="23842" y="6017"/>
                    <a:pt x="104488" y="-5413"/>
                    <a:pt x="117188" y="20622"/>
                  </a:cubicBezTo>
                  <a:cubicBezTo>
                    <a:pt x="123538" y="32687"/>
                    <a:pt x="79723" y="28877"/>
                    <a:pt x="79723" y="288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4C21FE2A-3870-46FE-AF75-167344232B9D}"/>
                </a:ext>
              </a:extLst>
            </p:cNvPr>
            <p:cNvSpPr/>
            <p:nvPr/>
          </p:nvSpPr>
          <p:spPr>
            <a:xfrm>
              <a:off x="8167677" y="1076180"/>
              <a:ext cx="82550" cy="31750"/>
            </a:xfrm>
            <a:custGeom>
              <a:avLst/>
              <a:gdLst>
                <a:gd name="connsiteX0" fmla="*/ 83513 w 82550"/>
                <a:gd name="connsiteY0" fmla="*/ 14115 h 31750"/>
                <a:gd name="connsiteX1" fmla="*/ 28903 w 82550"/>
                <a:gd name="connsiteY1" fmla="*/ 29990 h 31750"/>
                <a:gd name="connsiteX2" fmla="*/ 5408 w 82550"/>
                <a:gd name="connsiteY2" fmla="*/ 22370 h 31750"/>
                <a:gd name="connsiteX3" fmla="*/ 83513 w 82550"/>
                <a:gd name="connsiteY3" fmla="*/ 14115 h 3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550" h="31750">
                  <a:moveTo>
                    <a:pt x="83513" y="14115"/>
                  </a:moveTo>
                  <a:cubicBezTo>
                    <a:pt x="65098" y="19830"/>
                    <a:pt x="47953" y="28085"/>
                    <a:pt x="28903" y="29990"/>
                  </a:cubicBezTo>
                  <a:cubicBezTo>
                    <a:pt x="20648" y="30625"/>
                    <a:pt x="963" y="29355"/>
                    <a:pt x="5408" y="22370"/>
                  </a:cubicBezTo>
                  <a:cubicBezTo>
                    <a:pt x="25728" y="-7475"/>
                    <a:pt x="60017" y="8400"/>
                    <a:pt x="83513" y="141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1500B236-BF31-4CBB-8D7F-8EF9E843EFEA}"/>
                </a:ext>
              </a:extLst>
            </p:cNvPr>
            <p:cNvSpPr/>
            <p:nvPr/>
          </p:nvSpPr>
          <p:spPr>
            <a:xfrm>
              <a:off x="9739334" y="1541414"/>
              <a:ext cx="171450" cy="101600"/>
            </a:xfrm>
            <a:custGeom>
              <a:avLst/>
              <a:gdLst>
                <a:gd name="connsiteX0" fmla="*/ 36491 w 171450"/>
                <a:gd name="connsiteY0" fmla="*/ 84821 h 101600"/>
                <a:gd name="connsiteX1" fmla="*/ 44746 w 171450"/>
                <a:gd name="connsiteY1" fmla="*/ 4811 h 101600"/>
                <a:gd name="connsiteX2" fmla="*/ 40301 w 171450"/>
                <a:gd name="connsiteY2" fmla="*/ 12431 h 101600"/>
                <a:gd name="connsiteX3" fmla="*/ 81576 w 171450"/>
                <a:gd name="connsiteY3" fmla="*/ 56881 h 101600"/>
                <a:gd name="connsiteX4" fmla="*/ 124756 w 171450"/>
                <a:gd name="connsiteY4" fmla="*/ 76566 h 101600"/>
                <a:gd name="connsiteX5" fmla="*/ 162856 w 171450"/>
                <a:gd name="connsiteY5" fmla="*/ 84186 h 101600"/>
                <a:gd name="connsiteX6" fmla="*/ 133010 w 171450"/>
                <a:gd name="connsiteY6" fmla="*/ 98791 h 101600"/>
                <a:gd name="connsiteX7" fmla="*/ 36491 w 171450"/>
                <a:gd name="connsiteY7" fmla="*/ 84821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450" h="101600">
                  <a:moveTo>
                    <a:pt x="36491" y="84821"/>
                  </a:moveTo>
                  <a:cubicBezTo>
                    <a:pt x="10456" y="25766"/>
                    <a:pt x="-23199" y="10526"/>
                    <a:pt x="44746" y="4811"/>
                  </a:cubicBezTo>
                  <a:cubicBezTo>
                    <a:pt x="47921" y="4176"/>
                    <a:pt x="39031" y="9891"/>
                    <a:pt x="40301" y="12431"/>
                  </a:cubicBezTo>
                  <a:cubicBezTo>
                    <a:pt x="46651" y="29576"/>
                    <a:pt x="65701" y="47991"/>
                    <a:pt x="81576" y="56881"/>
                  </a:cubicBezTo>
                  <a:cubicBezTo>
                    <a:pt x="94910" y="65136"/>
                    <a:pt x="109516" y="71486"/>
                    <a:pt x="124756" y="76566"/>
                  </a:cubicBezTo>
                  <a:cubicBezTo>
                    <a:pt x="136821" y="81011"/>
                    <a:pt x="152060" y="77201"/>
                    <a:pt x="162856" y="84186"/>
                  </a:cubicBezTo>
                  <a:cubicBezTo>
                    <a:pt x="186985" y="101331"/>
                    <a:pt x="139996" y="99426"/>
                    <a:pt x="133010" y="98791"/>
                  </a:cubicBezTo>
                  <a:cubicBezTo>
                    <a:pt x="100626" y="94981"/>
                    <a:pt x="36491" y="84821"/>
                    <a:pt x="36491" y="848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852ABA36-62D8-46E1-B536-65DC69FA4714}"/>
                </a:ext>
              </a:extLst>
            </p:cNvPr>
            <p:cNvSpPr/>
            <p:nvPr/>
          </p:nvSpPr>
          <p:spPr>
            <a:xfrm>
              <a:off x="7627489" y="1190146"/>
              <a:ext cx="1225550" cy="787400"/>
            </a:xfrm>
            <a:custGeom>
              <a:avLst/>
              <a:gdLst>
                <a:gd name="connsiteX0" fmla="*/ 411611 w 1225550"/>
                <a:gd name="connsiteY0" fmla="*/ 612619 h 787400"/>
                <a:gd name="connsiteX1" fmla="*/ 399546 w 1225550"/>
                <a:gd name="connsiteY1" fmla="*/ 592299 h 787400"/>
                <a:gd name="connsiteX2" fmla="*/ 395101 w 1225550"/>
                <a:gd name="connsiteY2" fmla="*/ 582139 h 787400"/>
                <a:gd name="connsiteX3" fmla="*/ 353826 w 1225550"/>
                <a:gd name="connsiteY3" fmla="*/ 611349 h 787400"/>
                <a:gd name="connsiteX4" fmla="*/ 343031 w 1225550"/>
                <a:gd name="connsiteY4" fmla="*/ 596109 h 787400"/>
                <a:gd name="connsiteX5" fmla="*/ 334142 w 1225550"/>
                <a:gd name="connsiteY5" fmla="*/ 604999 h 787400"/>
                <a:gd name="connsiteX6" fmla="*/ 290961 w 1225550"/>
                <a:gd name="connsiteY6" fmla="*/ 604364 h 787400"/>
                <a:gd name="connsiteX7" fmla="*/ 267467 w 1225550"/>
                <a:gd name="connsiteY7" fmla="*/ 642464 h 787400"/>
                <a:gd name="connsiteX8" fmla="*/ 247146 w 1225550"/>
                <a:gd name="connsiteY8" fmla="*/ 633574 h 787400"/>
                <a:gd name="connsiteX9" fmla="*/ 236986 w 1225550"/>
                <a:gd name="connsiteY9" fmla="*/ 667229 h 787400"/>
                <a:gd name="connsiteX10" fmla="*/ 230636 w 1225550"/>
                <a:gd name="connsiteY10" fmla="*/ 650719 h 787400"/>
                <a:gd name="connsiteX11" fmla="*/ 155706 w 1225550"/>
                <a:gd name="connsiteY11" fmla="*/ 703424 h 787400"/>
                <a:gd name="connsiteX12" fmla="*/ 122686 w 1225550"/>
                <a:gd name="connsiteY12" fmla="*/ 726919 h 787400"/>
                <a:gd name="connsiteX13" fmla="*/ 118242 w 1225550"/>
                <a:gd name="connsiteY13" fmla="*/ 721204 h 787400"/>
                <a:gd name="connsiteX14" fmla="*/ 100461 w 1225550"/>
                <a:gd name="connsiteY14" fmla="*/ 744064 h 787400"/>
                <a:gd name="connsiteX15" fmla="*/ 93476 w 1225550"/>
                <a:gd name="connsiteY15" fmla="*/ 734539 h 787400"/>
                <a:gd name="connsiteX16" fmla="*/ 42042 w 1225550"/>
                <a:gd name="connsiteY16" fmla="*/ 787879 h 787400"/>
                <a:gd name="connsiteX17" fmla="*/ 13467 w 1225550"/>
                <a:gd name="connsiteY17" fmla="*/ 760574 h 787400"/>
                <a:gd name="connsiteX18" fmla="*/ 60456 w 1225550"/>
                <a:gd name="connsiteY18" fmla="*/ 716759 h 787400"/>
                <a:gd name="connsiteX19" fmla="*/ 36961 w 1225550"/>
                <a:gd name="connsiteY19" fmla="*/ 718029 h 787400"/>
                <a:gd name="connsiteX20" fmla="*/ 5211 w 1225550"/>
                <a:gd name="connsiteY20" fmla="*/ 695169 h 787400"/>
                <a:gd name="connsiteX21" fmla="*/ 19817 w 1225550"/>
                <a:gd name="connsiteY21" fmla="*/ 694534 h 787400"/>
                <a:gd name="connsiteX22" fmla="*/ 28706 w 1225550"/>
                <a:gd name="connsiteY22" fmla="*/ 672309 h 787400"/>
                <a:gd name="connsiteX23" fmla="*/ 21721 w 1225550"/>
                <a:gd name="connsiteY23" fmla="*/ 662149 h 787400"/>
                <a:gd name="connsiteX24" fmla="*/ 37596 w 1225550"/>
                <a:gd name="connsiteY24" fmla="*/ 658974 h 787400"/>
                <a:gd name="connsiteX25" fmla="*/ 31246 w 1225550"/>
                <a:gd name="connsiteY25" fmla="*/ 653894 h 787400"/>
                <a:gd name="connsiteX26" fmla="*/ 58551 w 1225550"/>
                <a:gd name="connsiteY26" fmla="*/ 632304 h 787400"/>
                <a:gd name="connsiteX27" fmla="*/ 58551 w 1225550"/>
                <a:gd name="connsiteY27" fmla="*/ 626589 h 787400"/>
                <a:gd name="connsiteX28" fmla="*/ 57917 w 1225550"/>
                <a:gd name="connsiteY28" fmla="*/ 606269 h 787400"/>
                <a:gd name="connsiteX29" fmla="*/ 120146 w 1225550"/>
                <a:gd name="connsiteY29" fmla="*/ 546579 h 787400"/>
                <a:gd name="connsiteX30" fmla="*/ 108717 w 1225550"/>
                <a:gd name="connsiteY30" fmla="*/ 545309 h 787400"/>
                <a:gd name="connsiteX31" fmla="*/ 146181 w 1225550"/>
                <a:gd name="connsiteY31" fmla="*/ 505939 h 787400"/>
                <a:gd name="connsiteX32" fmla="*/ 171581 w 1225550"/>
                <a:gd name="connsiteY32" fmla="*/ 480539 h 787400"/>
                <a:gd name="connsiteX33" fmla="*/ 209046 w 1225550"/>
                <a:gd name="connsiteY33" fmla="*/ 487524 h 787400"/>
                <a:gd name="connsiteX34" fmla="*/ 196346 w 1225550"/>
                <a:gd name="connsiteY34" fmla="*/ 448789 h 787400"/>
                <a:gd name="connsiteX35" fmla="*/ 214126 w 1225550"/>
                <a:gd name="connsiteY35" fmla="*/ 447519 h 787400"/>
                <a:gd name="connsiteX36" fmla="*/ 257306 w 1225550"/>
                <a:gd name="connsiteY36" fmla="*/ 442439 h 787400"/>
                <a:gd name="connsiteX37" fmla="*/ 275086 w 1225550"/>
                <a:gd name="connsiteY37" fmla="*/ 450059 h 787400"/>
                <a:gd name="connsiteX38" fmla="*/ 253496 w 1225550"/>
                <a:gd name="connsiteY38" fmla="*/ 441169 h 787400"/>
                <a:gd name="connsiteX39" fmla="*/ 202061 w 1225550"/>
                <a:gd name="connsiteY39" fmla="*/ 444979 h 787400"/>
                <a:gd name="connsiteX40" fmla="*/ 214126 w 1225550"/>
                <a:gd name="connsiteY40" fmla="*/ 442439 h 787400"/>
                <a:gd name="connsiteX41" fmla="*/ 245876 w 1225550"/>
                <a:gd name="connsiteY41" fmla="*/ 408784 h 787400"/>
                <a:gd name="connsiteX42" fmla="*/ 280801 w 1225550"/>
                <a:gd name="connsiteY42" fmla="*/ 440534 h 787400"/>
                <a:gd name="connsiteX43" fmla="*/ 254767 w 1225550"/>
                <a:gd name="connsiteY43" fmla="*/ 404974 h 787400"/>
                <a:gd name="connsiteX44" fmla="*/ 292231 w 1225550"/>
                <a:gd name="connsiteY44" fmla="*/ 401164 h 787400"/>
                <a:gd name="connsiteX45" fmla="*/ 301121 w 1225550"/>
                <a:gd name="connsiteY45" fmla="*/ 385924 h 787400"/>
                <a:gd name="connsiteX46" fmla="*/ 320806 w 1225550"/>
                <a:gd name="connsiteY46" fmla="*/ 417674 h 787400"/>
                <a:gd name="connsiteX47" fmla="*/ 313821 w 1225550"/>
                <a:gd name="connsiteY47" fmla="*/ 375129 h 787400"/>
                <a:gd name="connsiteX48" fmla="*/ 348111 w 1225550"/>
                <a:gd name="connsiteY48" fmla="*/ 389099 h 787400"/>
                <a:gd name="connsiteX49" fmla="*/ 423042 w 1225550"/>
                <a:gd name="connsiteY49" fmla="*/ 350364 h 787400"/>
                <a:gd name="connsiteX50" fmla="*/ 408436 w 1225550"/>
                <a:gd name="connsiteY50" fmla="*/ 331949 h 787400"/>
                <a:gd name="connsiteX51" fmla="*/ 445901 w 1225550"/>
                <a:gd name="connsiteY51" fmla="*/ 332584 h 787400"/>
                <a:gd name="connsiteX52" fmla="*/ 437646 w 1225550"/>
                <a:gd name="connsiteY52" fmla="*/ 330679 h 787400"/>
                <a:gd name="connsiteX53" fmla="*/ 459871 w 1225550"/>
                <a:gd name="connsiteY53" fmla="*/ 305914 h 787400"/>
                <a:gd name="connsiteX54" fmla="*/ 517021 w 1225550"/>
                <a:gd name="connsiteY54" fmla="*/ 255749 h 787400"/>
                <a:gd name="connsiteX55" fmla="*/ 468126 w 1225550"/>
                <a:gd name="connsiteY55" fmla="*/ 256384 h 787400"/>
                <a:gd name="connsiteX56" fmla="*/ 543056 w 1225550"/>
                <a:gd name="connsiteY56" fmla="*/ 229714 h 787400"/>
                <a:gd name="connsiteX57" fmla="*/ 541151 w 1225550"/>
                <a:gd name="connsiteY57" fmla="*/ 221459 h 787400"/>
                <a:gd name="connsiteX58" fmla="*/ 569726 w 1225550"/>
                <a:gd name="connsiteY58" fmla="*/ 203679 h 787400"/>
                <a:gd name="connsiteX59" fmla="*/ 602746 w 1225550"/>
                <a:gd name="connsiteY59" fmla="*/ 187804 h 787400"/>
                <a:gd name="connsiteX60" fmla="*/ 633861 w 1225550"/>
                <a:gd name="connsiteY60" fmla="*/ 156689 h 787400"/>
                <a:gd name="connsiteX61" fmla="*/ 677676 w 1225550"/>
                <a:gd name="connsiteY61" fmla="*/ 123669 h 787400"/>
                <a:gd name="connsiteX62" fmla="*/ 659261 w 1225550"/>
                <a:gd name="connsiteY62" fmla="*/ 72234 h 787400"/>
                <a:gd name="connsiteX63" fmla="*/ 675771 w 1225550"/>
                <a:gd name="connsiteY63" fmla="*/ 60169 h 787400"/>
                <a:gd name="connsiteX64" fmla="*/ 708792 w 1225550"/>
                <a:gd name="connsiteY64" fmla="*/ 39849 h 787400"/>
                <a:gd name="connsiteX65" fmla="*/ 741811 w 1225550"/>
                <a:gd name="connsiteY65" fmla="*/ 61439 h 787400"/>
                <a:gd name="connsiteX66" fmla="*/ 752606 w 1225550"/>
                <a:gd name="connsiteY66" fmla="*/ 54454 h 787400"/>
                <a:gd name="connsiteX67" fmla="*/ 733556 w 1225550"/>
                <a:gd name="connsiteY67" fmla="*/ 45564 h 787400"/>
                <a:gd name="connsiteX68" fmla="*/ 788801 w 1225550"/>
                <a:gd name="connsiteY68" fmla="*/ 11909 h 787400"/>
                <a:gd name="connsiteX69" fmla="*/ 857381 w 1225550"/>
                <a:gd name="connsiteY69" fmla="*/ 33499 h 787400"/>
                <a:gd name="connsiteX70" fmla="*/ 949456 w 1225550"/>
                <a:gd name="connsiteY70" fmla="*/ 13179 h 787400"/>
                <a:gd name="connsiteX71" fmla="*/ 978031 w 1225550"/>
                <a:gd name="connsiteY71" fmla="*/ 36674 h 787400"/>
                <a:gd name="connsiteX72" fmla="*/ 1013592 w 1225550"/>
                <a:gd name="connsiteY72" fmla="*/ 16354 h 787400"/>
                <a:gd name="connsiteX73" fmla="*/ 1044706 w 1225550"/>
                <a:gd name="connsiteY73" fmla="*/ 67154 h 787400"/>
                <a:gd name="connsiteX74" fmla="*/ 1089792 w 1225550"/>
                <a:gd name="connsiteY74" fmla="*/ 41754 h 787400"/>
                <a:gd name="connsiteX75" fmla="*/ 1119636 w 1225550"/>
                <a:gd name="connsiteY75" fmla="*/ 60804 h 787400"/>
                <a:gd name="connsiteX76" fmla="*/ 1206631 w 1225550"/>
                <a:gd name="connsiteY76" fmla="*/ 74774 h 787400"/>
                <a:gd name="connsiteX77" fmla="*/ 1195201 w 1225550"/>
                <a:gd name="connsiteY77" fmla="*/ 76044 h 787400"/>
                <a:gd name="connsiteX78" fmla="*/ 1161546 w 1225550"/>
                <a:gd name="connsiteY78" fmla="*/ 62709 h 787400"/>
                <a:gd name="connsiteX79" fmla="*/ 1134876 w 1225550"/>
                <a:gd name="connsiteY79" fmla="*/ 67789 h 787400"/>
                <a:gd name="connsiteX80" fmla="*/ 1205996 w 1225550"/>
                <a:gd name="connsiteY80" fmla="*/ 78584 h 787400"/>
                <a:gd name="connsiteX81" fmla="*/ 1209806 w 1225550"/>
                <a:gd name="connsiteY81" fmla="*/ 101444 h 787400"/>
                <a:gd name="connsiteX82" fmla="*/ 1176151 w 1225550"/>
                <a:gd name="connsiteY82" fmla="*/ 106524 h 787400"/>
                <a:gd name="connsiteX83" fmla="*/ 1132971 w 1225550"/>
                <a:gd name="connsiteY83" fmla="*/ 90649 h 787400"/>
                <a:gd name="connsiteX84" fmla="*/ 1105667 w 1225550"/>
                <a:gd name="connsiteY84" fmla="*/ 102079 h 787400"/>
                <a:gd name="connsiteX85" fmla="*/ 1141226 w 1225550"/>
                <a:gd name="connsiteY85" fmla="*/ 102714 h 787400"/>
                <a:gd name="connsiteX86" fmla="*/ 1118367 w 1225550"/>
                <a:gd name="connsiteY86" fmla="*/ 156054 h 787400"/>
                <a:gd name="connsiteX87" fmla="*/ 1131067 w 1225550"/>
                <a:gd name="connsiteY87" fmla="*/ 152244 h 787400"/>
                <a:gd name="connsiteX88" fmla="*/ 1146942 w 1225550"/>
                <a:gd name="connsiteY88" fmla="*/ 146529 h 787400"/>
                <a:gd name="connsiteX89" fmla="*/ 1221236 w 1225550"/>
                <a:gd name="connsiteY89" fmla="*/ 159229 h 787400"/>
                <a:gd name="connsiteX90" fmla="*/ 1193931 w 1225550"/>
                <a:gd name="connsiteY90" fmla="*/ 168754 h 787400"/>
                <a:gd name="connsiteX91" fmla="*/ 1127256 w 1225550"/>
                <a:gd name="connsiteY91" fmla="*/ 190344 h 787400"/>
                <a:gd name="connsiteX92" fmla="*/ 1146942 w 1225550"/>
                <a:gd name="connsiteY92" fmla="*/ 182089 h 787400"/>
                <a:gd name="connsiteX93" fmla="*/ 1042801 w 1225550"/>
                <a:gd name="connsiteY93" fmla="*/ 255114 h 787400"/>
                <a:gd name="connsiteX94" fmla="*/ 1063121 w 1225550"/>
                <a:gd name="connsiteY94" fmla="*/ 293214 h 787400"/>
                <a:gd name="connsiteX95" fmla="*/ 1052961 w 1225550"/>
                <a:gd name="connsiteY95" fmla="*/ 300199 h 787400"/>
                <a:gd name="connsiteX96" fmla="*/ 1009781 w 1225550"/>
                <a:gd name="connsiteY96" fmla="*/ 283054 h 787400"/>
                <a:gd name="connsiteX97" fmla="*/ 1007242 w 1225550"/>
                <a:gd name="connsiteY97" fmla="*/ 298294 h 787400"/>
                <a:gd name="connsiteX98" fmla="*/ 1000892 w 1225550"/>
                <a:gd name="connsiteY98" fmla="*/ 346554 h 787400"/>
                <a:gd name="connsiteX99" fmla="*/ 953901 w 1225550"/>
                <a:gd name="connsiteY99" fmla="*/ 343379 h 787400"/>
                <a:gd name="connsiteX100" fmla="*/ 977396 w 1225550"/>
                <a:gd name="connsiteY100" fmla="*/ 382749 h 787400"/>
                <a:gd name="connsiteX101" fmla="*/ 938661 w 1225550"/>
                <a:gd name="connsiteY101" fmla="*/ 366874 h 787400"/>
                <a:gd name="connsiteX102" fmla="*/ 923421 w 1225550"/>
                <a:gd name="connsiteY102" fmla="*/ 417039 h 787400"/>
                <a:gd name="connsiteX103" fmla="*/ 886592 w 1225550"/>
                <a:gd name="connsiteY103" fmla="*/ 387194 h 787400"/>
                <a:gd name="connsiteX104" fmla="*/ 870717 w 1225550"/>
                <a:gd name="connsiteY104" fmla="*/ 396084 h 787400"/>
                <a:gd name="connsiteX105" fmla="*/ 828171 w 1225550"/>
                <a:gd name="connsiteY105" fmla="*/ 384654 h 787400"/>
                <a:gd name="connsiteX106" fmla="*/ 814836 w 1225550"/>
                <a:gd name="connsiteY106" fmla="*/ 434184 h 787400"/>
                <a:gd name="connsiteX107" fmla="*/ 804676 w 1225550"/>
                <a:gd name="connsiteY107" fmla="*/ 444979 h 787400"/>
                <a:gd name="connsiteX108" fmla="*/ 829442 w 1225550"/>
                <a:gd name="connsiteY108" fmla="*/ 437994 h 787400"/>
                <a:gd name="connsiteX109" fmla="*/ 809756 w 1225550"/>
                <a:gd name="connsiteY109" fmla="*/ 532609 h 787400"/>
                <a:gd name="connsiteX110" fmla="*/ 795151 w 1225550"/>
                <a:gd name="connsiteY110" fmla="*/ 529434 h 787400"/>
                <a:gd name="connsiteX111" fmla="*/ 807851 w 1225550"/>
                <a:gd name="connsiteY111" fmla="*/ 511654 h 787400"/>
                <a:gd name="connsiteX112" fmla="*/ 791976 w 1225550"/>
                <a:gd name="connsiteY112" fmla="*/ 527529 h 787400"/>
                <a:gd name="connsiteX113" fmla="*/ 765942 w 1225550"/>
                <a:gd name="connsiteY113" fmla="*/ 459584 h 787400"/>
                <a:gd name="connsiteX114" fmla="*/ 762767 w 1225550"/>
                <a:gd name="connsiteY114" fmla="*/ 427199 h 787400"/>
                <a:gd name="connsiteX115" fmla="*/ 732921 w 1225550"/>
                <a:gd name="connsiteY115" fmla="*/ 479904 h 787400"/>
                <a:gd name="connsiteX116" fmla="*/ 731017 w 1225550"/>
                <a:gd name="connsiteY116" fmla="*/ 504669 h 787400"/>
                <a:gd name="connsiteX117" fmla="*/ 685296 w 1225550"/>
                <a:gd name="connsiteY117" fmla="*/ 506574 h 787400"/>
                <a:gd name="connsiteX118" fmla="*/ 782451 w 1225550"/>
                <a:gd name="connsiteY118" fmla="*/ 547849 h 787400"/>
                <a:gd name="connsiteX119" fmla="*/ 743717 w 1225550"/>
                <a:gd name="connsiteY119" fmla="*/ 559279 h 787400"/>
                <a:gd name="connsiteX120" fmla="*/ 734192 w 1225550"/>
                <a:gd name="connsiteY120" fmla="*/ 552929 h 787400"/>
                <a:gd name="connsiteX121" fmla="*/ 686567 w 1225550"/>
                <a:gd name="connsiteY121" fmla="*/ 575789 h 787400"/>
                <a:gd name="connsiteX122" fmla="*/ 567821 w 1225550"/>
                <a:gd name="connsiteY122" fmla="*/ 538959 h 787400"/>
                <a:gd name="connsiteX123" fmla="*/ 541786 w 1225550"/>
                <a:gd name="connsiteY123" fmla="*/ 572614 h 787400"/>
                <a:gd name="connsiteX124" fmla="*/ 518292 w 1225550"/>
                <a:gd name="connsiteY124" fmla="*/ 571344 h 787400"/>
                <a:gd name="connsiteX125" fmla="*/ 505592 w 1225550"/>
                <a:gd name="connsiteY125" fmla="*/ 582139 h 787400"/>
                <a:gd name="connsiteX126" fmla="*/ 499242 w 1225550"/>
                <a:gd name="connsiteY126" fmla="*/ 580869 h 787400"/>
                <a:gd name="connsiteX127" fmla="*/ 455426 w 1225550"/>
                <a:gd name="connsiteY127" fmla="*/ 607539 h 787400"/>
                <a:gd name="connsiteX128" fmla="*/ 411611 w 1225550"/>
                <a:gd name="connsiteY128" fmla="*/ 612619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1225550" h="787400">
                  <a:moveTo>
                    <a:pt x="411611" y="612619"/>
                  </a:moveTo>
                  <a:cubicBezTo>
                    <a:pt x="407801" y="605634"/>
                    <a:pt x="403356" y="599284"/>
                    <a:pt x="399546" y="592299"/>
                  </a:cubicBezTo>
                  <a:cubicBezTo>
                    <a:pt x="397642" y="589124"/>
                    <a:pt x="398276" y="580234"/>
                    <a:pt x="395101" y="582139"/>
                  </a:cubicBezTo>
                  <a:cubicBezTo>
                    <a:pt x="379226" y="588489"/>
                    <a:pt x="370336" y="606904"/>
                    <a:pt x="353826" y="611349"/>
                  </a:cubicBezTo>
                  <a:cubicBezTo>
                    <a:pt x="348111" y="613254"/>
                    <a:pt x="348746" y="598014"/>
                    <a:pt x="343031" y="596109"/>
                  </a:cubicBezTo>
                  <a:cubicBezTo>
                    <a:pt x="339221" y="594839"/>
                    <a:pt x="337951" y="604364"/>
                    <a:pt x="334142" y="604999"/>
                  </a:cubicBezTo>
                  <a:cubicBezTo>
                    <a:pt x="319536" y="606904"/>
                    <a:pt x="303661" y="597379"/>
                    <a:pt x="290961" y="604364"/>
                  </a:cubicBezTo>
                  <a:cubicBezTo>
                    <a:pt x="278261" y="611349"/>
                    <a:pt x="279531" y="634209"/>
                    <a:pt x="267467" y="642464"/>
                  </a:cubicBezTo>
                  <a:cubicBezTo>
                    <a:pt x="261117" y="646909"/>
                    <a:pt x="252861" y="629129"/>
                    <a:pt x="247146" y="633574"/>
                  </a:cubicBezTo>
                  <a:cubicBezTo>
                    <a:pt x="238256" y="641194"/>
                    <a:pt x="245242" y="658974"/>
                    <a:pt x="236986" y="667229"/>
                  </a:cubicBezTo>
                  <a:cubicBezTo>
                    <a:pt x="232542" y="671674"/>
                    <a:pt x="235717" y="648179"/>
                    <a:pt x="230636" y="650719"/>
                  </a:cubicBezTo>
                  <a:cubicBezTo>
                    <a:pt x="202696" y="662784"/>
                    <a:pt x="180471" y="685644"/>
                    <a:pt x="155706" y="703424"/>
                  </a:cubicBezTo>
                  <a:cubicBezTo>
                    <a:pt x="144911" y="711044"/>
                    <a:pt x="135386" y="721204"/>
                    <a:pt x="122686" y="726919"/>
                  </a:cubicBezTo>
                  <a:cubicBezTo>
                    <a:pt x="120781" y="728189"/>
                    <a:pt x="120146" y="719299"/>
                    <a:pt x="118242" y="721204"/>
                  </a:cubicBezTo>
                  <a:cubicBezTo>
                    <a:pt x="110621" y="726919"/>
                    <a:pt x="108717" y="738984"/>
                    <a:pt x="100461" y="744064"/>
                  </a:cubicBezTo>
                  <a:cubicBezTo>
                    <a:pt x="97286" y="745969"/>
                    <a:pt x="96651" y="732634"/>
                    <a:pt x="93476" y="734539"/>
                  </a:cubicBezTo>
                  <a:cubicBezTo>
                    <a:pt x="73792" y="749144"/>
                    <a:pt x="65536" y="778989"/>
                    <a:pt x="42042" y="787879"/>
                  </a:cubicBezTo>
                  <a:cubicBezTo>
                    <a:pt x="29976" y="792324"/>
                    <a:pt x="2671" y="767559"/>
                    <a:pt x="13467" y="760574"/>
                  </a:cubicBezTo>
                  <a:cubicBezTo>
                    <a:pt x="18546" y="757399"/>
                    <a:pt x="69981" y="740254"/>
                    <a:pt x="60456" y="716759"/>
                  </a:cubicBezTo>
                  <a:cubicBezTo>
                    <a:pt x="57281" y="709774"/>
                    <a:pt x="44581" y="721204"/>
                    <a:pt x="36961" y="718029"/>
                  </a:cubicBezTo>
                  <a:cubicBezTo>
                    <a:pt x="24896" y="713584"/>
                    <a:pt x="12831" y="705329"/>
                    <a:pt x="5211" y="695169"/>
                  </a:cubicBezTo>
                  <a:cubicBezTo>
                    <a:pt x="2036" y="691359"/>
                    <a:pt x="16642" y="698344"/>
                    <a:pt x="19817" y="694534"/>
                  </a:cubicBezTo>
                  <a:cubicBezTo>
                    <a:pt x="25531" y="688819"/>
                    <a:pt x="28071" y="680564"/>
                    <a:pt x="28706" y="672309"/>
                  </a:cubicBezTo>
                  <a:cubicBezTo>
                    <a:pt x="29342" y="668499"/>
                    <a:pt x="22356" y="665959"/>
                    <a:pt x="21721" y="662149"/>
                  </a:cubicBezTo>
                  <a:cubicBezTo>
                    <a:pt x="19181" y="645004"/>
                    <a:pt x="35056" y="658974"/>
                    <a:pt x="37596" y="658974"/>
                  </a:cubicBezTo>
                  <a:cubicBezTo>
                    <a:pt x="40136" y="658974"/>
                    <a:pt x="29976" y="655799"/>
                    <a:pt x="31246" y="653894"/>
                  </a:cubicBezTo>
                  <a:cubicBezTo>
                    <a:pt x="38231" y="645004"/>
                    <a:pt x="50296" y="640559"/>
                    <a:pt x="58551" y="632304"/>
                  </a:cubicBezTo>
                  <a:cubicBezTo>
                    <a:pt x="59821" y="631034"/>
                    <a:pt x="58551" y="628494"/>
                    <a:pt x="58551" y="626589"/>
                  </a:cubicBezTo>
                  <a:cubicBezTo>
                    <a:pt x="58551" y="619604"/>
                    <a:pt x="53471" y="611984"/>
                    <a:pt x="57917" y="606269"/>
                  </a:cubicBezTo>
                  <a:cubicBezTo>
                    <a:pt x="58551" y="604999"/>
                    <a:pt x="122051" y="556739"/>
                    <a:pt x="120146" y="546579"/>
                  </a:cubicBezTo>
                  <a:cubicBezTo>
                    <a:pt x="119511" y="542769"/>
                    <a:pt x="106811" y="548484"/>
                    <a:pt x="108717" y="545309"/>
                  </a:cubicBezTo>
                  <a:cubicBezTo>
                    <a:pt x="118876" y="530069"/>
                    <a:pt x="133481" y="518639"/>
                    <a:pt x="146181" y="505939"/>
                  </a:cubicBezTo>
                  <a:cubicBezTo>
                    <a:pt x="154436" y="497684"/>
                    <a:pt x="160151" y="483714"/>
                    <a:pt x="171581" y="480539"/>
                  </a:cubicBezTo>
                  <a:cubicBezTo>
                    <a:pt x="183646" y="476729"/>
                    <a:pt x="200792" y="497684"/>
                    <a:pt x="209046" y="487524"/>
                  </a:cubicBezTo>
                  <a:cubicBezTo>
                    <a:pt x="217301" y="476729"/>
                    <a:pt x="195076" y="462124"/>
                    <a:pt x="196346" y="448789"/>
                  </a:cubicBezTo>
                  <a:cubicBezTo>
                    <a:pt x="196981" y="443074"/>
                    <a:pt x="208411" y="448154"/>
                    <a:pt x="214126" y="447519"/>
                  </a:cubicBezTo>
                  <a:cubicBezTo>
                    <a:pt x="228731" y="446249"/>
                    <a:pt x="242701" y="441804"/>
                    <a:pt x="257306" y="442439"/>
                  </a:cubicBezTo>
                  <a:cubicBezTo>
                    <a:pt x="263656" y="442439"/>
                    <a:pt x="268736" y="451329"/>
                    <a:pt x="275086" y="450059"/>
                  </a:cubicBezTo>
                  <a:cubicBezTo>
                    <a:pt x="282706" y="448789"/>
                    <a:pt x="261117" y="440534"/>
                    <a:pt x="253496" y="441169"/>
                  </a:cubicBezTo>
                  <a:cubicBezTo>
                    <a:pt x="236351" y="442439"/>
                    <a:pt x="219206" y="444344"/>
                    <a:pt x="202061" y="444979"/>
                  </a:cubicBezTo>
                  <a:cubicBezTo>
                    <a:pt x="198251" y="444979"/>
                    <a:pt x="210951" y="444979"/>
                    <a:pt x="214126" y="442439"/>
                  </a:cubicBezTo>
                  <a:cubicBezTo>
                    <a:pt x="226192" y="432914"/>
                    <a:pt x="230636" y="409419"/>
                    <a:pt x="245876" y="408784"/>
                  </a:cubicBezTo>
                  <a:cubicBezTo>
                    <a:pt x="261751" y="408149"/>
                    <a:pt x="266831" y="446884"/>
                    <a:pt x="280801" y="440534"/>
                  </a:cubicBezTo>
                  <a:cubicBezTo>
                    <a:pt x="294136" y="434184"/>
                    <a:pt x="250956" y="418944"/>
                    <a:pt x="254767" y="404974"/>
                  </a:cubicBezTo>
                  <a:cubicBezTo>
                    <a:pt x="257942" y="392909"/>
                    <a:pt x="280801" y="406244"/>
                    <a:pt x="292231" y="401164"/>
                  </a:cubicBezTo>
                  <a:cubicBezTo>
                    <a:pt x="297311" y="398624"/>
                    <a:pt x="296042" y="382749"/>
                    <a:pt x="301121" y="385924"/>
                  </a:cubicBezTo>
                  <a:cubicBezTo>
                    <a:pt x="311917" y="392274"/>
                    <a:pt x="311281" y="425929"/>
                    <a:pt x="320806" y="417674"/>
                  </a:cubicBezTo>
                  <a:cubicBezTo>
                    <a:pt x="331601" y="408149"/>
                    <a:pt x="304296" y="385289"/>
                    <a:pt x="313821" y="375129"/>
                  </a:cubicBezTo>
                  <a:cubicBezTo>
                    <a:pt x="322711" y="366239"/>
                    <a:pt x="336046" y="391639"/>
                    <a:pt x="348111" y="389099"/>
                  </a:cubicBezTo>
                  <a:cubicBezTo>
                    <a:pt x="375417" y="382749"/>
                    <a:pt x="402721" y="370049"/>
                    <a:pt x="423042" y="350364"/>
                  </a:cubicBezTo>
                  <a:cubicBezTo>
                    <a:pt x="428756" y="344649"/>
                    <a:pt x="402086" y="336394"/>
                    <a:pt x="408436" y="331949"/>
                  </a:cubicBezTo>
                  <a:cubicBezTo>
                    <a:pt x="418596" y="324329"/>
                    <a:pt x="433201" y="333219"/>
                    <a:pt x="445901" y="332584"/>
                  </a:cubicBezTo>
                  <a:cubicBezTo>
                    <a:pt x="449076" y="332584"/>
                    <a:pt x="436376" y="333219"/>
                    <a:pt x="437646" y="330679"/>
                  </a:cubicBezTo>
                  <a:cubicBezTo>
                    <a:pt x="442726" y="321154"/>
                    <a:pt x="450981" y="312899"/>
                    <a:pt x="459871" y="305914"/>
                  </a:cubicBezTo>
                  <a:cubicBezTo>
                    <a:pt x="477017" y="292579"/>
                    <a:pt x="528451" y="298294"/>
                    <a:pt x="517021" y="255749"/>
                  </a:cubicBezTo>
                  <a:cubicBezTo>
                    <a:pt x="512576" y="239874"/>
                    <a:pt x="456696" y="267814"/>
                    <a:pt x="468126" y="256384"/>
                  </a:cubicBezTo>
                  <a:cubicBezTo>
                    <a:pt x="486542" y="237334"/>
                    <a:pt x="518926" y="241144"/>
                    <a:pt x="543056" y="229714"/>
                  </a:cubicBezTo>
                  <a:cubicBezTo>
                    <a:pt x="545596" y="228444"/>
                    <a:pt x="539246" y="223364"/>
                    <a:pt x="541151" y="221459"/>
                  </a:cubicBezTo>
                  <a:cubicBezTo>
                    <a:pt x="549406" y="213839"/>
                    <a:pt x="559567" y="209394"/>
                    <a:pt x="569726" y="203679"/>
                  </a:cubicBezTo>
                  <a:cubicBezTo>
                    <a:pt x="580521" y="197964"/>
                    <a:pt x="592586" y="194789"/>
                    <a:pt x="602746" y="187804"/>
                  </a:cubicBezTo>
                  <a:cubicBezTo>
                    <a:pt x="614176" y="178914"/>
                    <a:pt x="622431" y="165579"/>
                    <a:pt x="633861" y="156689"/>
                  </a:cubicBezTo>
                  <a:cubicBezTo>
                    <a:pt x="662436" y="133194"/>
                    <a:pt x="647196" y="169389"/>
                    <a:pt x="677676" y="123669"/>
                  </a:cubicBezTo>
                  <a:cubicBezTo>
                    <a:pt x="706886" y="79854"/>
                    <a:pt x="669421" y="110969"/>
                    <a:pt x="659261" y="72234"/>
                  </a:cubicBezTo>
                  <a:cubicBezTo>
                    <a:pt x="657356" y="65249"/>
                    <a:pt x="670056" y="63979"/>
                    <a:pt x="675771" y="60169"/>
                  </a:cubicBezTo>
                  <a:cubicBezTo>
                    <a:pt x="686567" y="53184"/>
                    <a:pt x="696092" y="39849"/>
                    <a:pt x="708792" y="39849"/>
                  </a:cubicBezTo>
                  <a:cubicBezTo>
                    <a:pt x="722126" y="39849"/>
                    <a:pt x="729111" y="57629"/>
                    <a:pt x="741811" y="61439"/>
                  </a:cubicBezTo>
                  <a:cubicBezTo>
                    <a:pt x="745621" y="62709"/>
                    <a:pt x="754511" y="58264"/>
                    <a:pt x="752606" y="54454"/>
                  </a:cubicBezTo>
                  <a:cubicBezTo>
                    <a:pt x="749431" y="48104"/>
                    <a:pt x="738636" y="50644"/>
                    <a:pt x="733556" y="45564"/>
                  </a:cubicBezTo>
                  <a:cubicBezTo>
                    <a:pt x="732921" y="44929"/>
                    <a:pt x="748161" y="13179"/>
                    <a:pt x="788801" y="11909"/>
                  </a:cubicBezTo>
                  <a:cubicBezTo>
                    <a:pt x="844681" y="10639"/>
                    <a:pt x="814201" y="50644"/>
                    <a:pt x="857381" y="33499"/>
                  </a:cubicBezTo>
                  <a:cubicBezTo>
                    <a:pt x="907546" y="13179"/>
                    <a:pt x="855476" y="-7141"/>
                    <a:pt x="949456" y="13179"/>
                  </a:cubicBezTo>
                  <a:cubicBezTo>
                    <a:pt x="961521" y="15719"/>
                    <a:pt x="965331" y="36039"/>
                    <a:pt x="978031" y="36674"/>
                  </a:cubicBezTo>
                  <a:cubicBezTo>
                    <a:pt x="991367" y="37309"/>
                    <a:pt x="1000892" y="10639"/>
                    <a:pt x="1013592" y="16354"/>
                  </a:cubicBezTo>
                  <a:cubicBezTo>
                    <a:pt x="1044706" y="30324"/>
                    <a:pt x="980571" y="77314"/>
                    <a:pt x="1044706" y="67154"/>
                  </a:cubicBezTo>
                  <a:cubicBezTo>
                    <a:pt x="1061851" y="64614"/>
                    <a:pt x="1072646" y="44294"/>
                    <a:pt x="1089792" y="41754"/>
                  </a:cubicBezTo>
                  <a:cubicBezTo>
                    <a:pt x="1101221" y="40484"/>
                    <a:pt x="1107571" y="62074"/>
                    <a:pt x="1119636" y="60804"/>
                  </a:cubicBezTo>
                  <a:cubicBezTo>
                    <a:pt x="1157736" y="56994"/>
                    <a:pt x="1185676" y="34769"/>
                    <a:pt x="1206631" y="74774"/>
                  </a:cubicBezTo>
                  <a:cubicBezTo>
                    <a:pt x="1208536" y="78584"/>
                    <a:pt x="1199011" y="77314"/>
                    <a:pt x="1195201" y="76044"/>
                  </a:cubicBezTo>
                  <a:cubicBezTo>
                    <a:pt x="1183136" y="72869"/>
                    <a:pt x="1173611" y="64614"/>
                    <a:pt x="1161546" y="62709"/>
                  </a:cubicBezTo>
                  <a:cubicBezTo>
                    <a:pt x="1152656" y="61439"/>
                    <a:pt x="1125986" y="64614"/>
                    <a:pt x="1134876" y="67789"/>
                  </a:cubicBezTo>
                  <a:cubicBezTo>
                    <a:pt x="1157101" y="76044"/>
                    <a:pt x="1183771" y="68424"/>
                    <a:pt x="1205996" y="78584"/>
                  </a:cubicBezTo>
                  <a:cubicBezTo>
                    <a:pt x="1212981" y="81759"/>
                    <a:pt x="1215521" y="96364"/>
                    <a:pt x="1209806" y="101444"/>
                  </a:cubicBezTo>
                  <a:cubicBezTo>
                    <a:pt x="1201551" y="109064"/>
                    <a:pt x="1187581" y="108429"/>
                    <a:pt x="1176151" y="106524"/>
                  </a:cubicBezTo>
                  <a:cubicBezTo>
                    <a:pt x="1160911" y="104619"/>
                    <a:pt x="1148211" y="91919"/>
                    <a:pt x="1132971" y="90649"/>
                  </a:cubicBezTo>
                  <a:cubicBezTo>
                    <a:pt x="1123446" y="90014"/>
                    <a:pt x="1099951" y="93824"/>
                    <a:pt x="1105667" y="102079"/>
                  </a:cubicBezTo>
                  <a:cubicBezTo>
                    <a:pt x="1112651" y="111604"/>
                    <a:pt x="1130431" y="97634"/>
                    <a:pt x="1141226" y="102714"/>
                  </a:cubicBezTo>
                  <a:cubicBezTo>
                    <a:pt x="1204726" y="134464"/>
                    <a:pt x="1141226" y="143354"/>
                    <a:pt x="1118367" y="156054"/>
                  </a:cubicBezTo>
                  <a:cubicBezTo>
                    <a:pt x="1114556" y="157959"/>
                    <a:pt x="1126621" y="153514"/>
                    <a:pt x="1131067" y="152244"/>
                  </a:cubicBezTo>
                  <a:cubicBezTo>
                    <a:pt x="1136781" y="150339"/>
                    <a:pt x="1141226" y="145894"/>
                    <a:pt x="1146942" y="146529"/>
                  </a:cubicBezTo>
                  <a:cubicBezTo>
                    <a:pt x="1171706" y="148434"/>
                    <a:pt x="1198376" y="148434"/>
                    <a:pt x="1221236" y="159229"/>
                  </a:cubicBezTo>
                  <a:cubicBezTo>
                    <a:pt x="1230126" y="163039"/>
                    <a:pt x="1202821" y="165579"/>
                    <a:pt x="1193931" y="168754"/>
                  </a:cubicBezTo>
                  <a:cubicBezTo>
                    <a:pt x="1171706" y="176374"/>
                    <a:pt x="1150117" y="183994"/>
                    <a:pt x="1127256" y="190344"/>
                  </a:cubicBezTo>
                  <a:cubicBezTo>
                    <a:pt x="1120271" y="192249"/>
                    <a:pt x="1152656" y="177644"/>
                    <a:pt x="1146942" y="182089"/>
                  </a:cubicBezTo>
                  <a:cubicBezTo>
                    <a:pt x="1143767" y="184629"/>
                    <a:pt x="1047246" y="243049"/>
                    <a:pt x="1042801" y="255114"/>
                  </a:cubicBezTo>
                  <a:cubicBezTo>
                    <a:pt x="1038356" y="268449"/>
                    <a:pt x="1059946" y="279244"/>
                    <a:pt x="1063121" y="293214"/>
                  </a:cubicBezTo>
                  <a:cubicBezTo>
                    <a:pt x="1063756" y="297024"/>
                    <a:pt x="1056771" y="300834"/>
                    <a:pt x="1052961" y="300199"/>
                  </a:cubicBezTo>
                  <a:cubicBezTo>
                    <a:pt x="1037721" y="297659"/>
                    <a:pt x="1025656" y="283689"/>
                    <a:pt x="1009781" y="283054"/>
                  </a:cubicBezTo>
                  <a:cubicBezTo>
                    <a:pt x="1004701" y="283054"/>
                    <a:pt x="1007876" y="293214"/>
                    <a:pt x="1007242" y="298294"/>
                  </a:cubicBezTo>
                  <a:cubicBezTo>
                    <a:pt x="1005336" y="314169"/>
                    <a:pt x="1013592" y="335759"/>
                    <a:pt x="1000892" y="346554"/>
                  </a:cubicBezTo>
                  <a:cubicBezTo>
                    <a:pt x="988826" y="356714"/>
                    <a:pt x="962156" y="330044"/>
                    <a:pt x="953901" y="343379"/>
                  </a:cubicBezTo>
                  <a:cubicBezTo>
                    <a:pt x="945646" y="356079"/>
                    <a:pt x="985651" y="370049"/>
                    <a:pt x="977396" y="382749"/>
                  </a:cubicBezTo>
                  <a:cubicBezTo>
                    <a:pt x="969776" y="394814"/>
                    <a:pt x="950092" y="359254"/>
                    <a:pt x="938661" y="366874"/>
                  </a:cubicBezTo>
                  <a:cubicBezTo>
                    <a:pt x="923421" y="376399"/>
                    <a:pt x="936121" y="404974"/>
                    <a:pt x="923421" y="417039"/>
                  </a:cubicBezTo>
                  <a:cubicBezTo>
                    <a:pt x="881511" y="459584"/>
                    <a:pt x="889131" y="390369"/>
                    <a:pt x="886592" y="387194"/>
                  </a:cubicBezTo>
                  <a:cubicBezTo>
                    <a:pt x="882781" y="382749"/>
                    <a:pt x="877067" y="396084"/>
                    <a:pt x="870717" y="396084"/>
                  </a:cubicBezTo>
                  <a:cubicBezTo>
                    <a:pt x="856111" y="395449"/>
                    <a:pt x="840236" y="376399"/>
                    <a:pt x="828171" y="384654"/>
                  </a:cubicBezTo>
                  <a:cubicBezTo>
                    <a:pt x="814201" y="394179"/>
                    <a:pt x="821186" y="418309"/>
                    <a:pt x="814836" y="434184"/>
                  </a:cubicBezTo>
                  <a:cubicBezTo>
                    <a:pt x="812931" y="438629"/>
                    <a:pt x="800231" y="443709"/>
                    <a:pt x="804676" y="444979"/>
                  </a:cubicBezTo>
                  <a:cubicBezTo>
                    <a:pt x="812931" y="447519"/>
                    <a:pt x="821821" y="433549"/>
                    <a:pt x="829442" y="437994"/>
                  </a:cubicBezTo>
                  <a:cubicBezTo>
                    <a:pt x="865636" y="461489"/>
                    <a:pt x="818011" y="521814"/>
                    <a:pt x="809756" y="532609"/>
                  </a:cubicBezTo>
                  <a:cubicBezTo>
                    <a:pt x="806581" y="536419"/>
                    <a:pt x="795786" y="534514"/>
                    <a:pt x="795151" y="529434"/>
                  </a:cubicBezTo>
                  <a:cubicBezTo>
                    <a:pt x="794517" y="522449"/>
                    <a:pt x="813567" y="515464"/>
                    <a:pt x="807851" y="511654"/>
                  </a:cubicBezTo>
                  <a:cubicBezTo>
                    <a:pt x="801501" y="507844"/>
                    <a:pt x="798961" y="524354"/>
                    <a:pt x="791976" y="527529"/>
                  </a:cubicBezTo>
                  <a:cubicBezTo>
                    <a:pt x="772292" y="536419"/>
                    <a:pt x="771656" y="492604"/>
                    <a:pt x="765942" y="459584"/>
                  </a:cubicBezTo>
                  <a:cubicBezTo>
                    <a:pt x="764036" y="448789"/>
                    <a:pt x="757686" y="417674"/>
                    <a:pt x="762767" y="427199"/>
                  </a:cubicBezTo>
                  <a:cubicBezTo>
                    <a:pt x="811026" y="515464"/>
                    <a:pt x="768481" y="459584"/>
                    <a:pt x="732921" y="479904"/>
                  </a:cubicBezTo>
                  <a:cubicBezTo>
                    <a:pt x="725936" y="483714"/>
                    <a:pt x="738001" y="500859"/>
                    <a:pt x="731017" y="504669"/>
                  </a:cubicBezTo>
                  <a:cubicBezTo>
                    <a:pt x="717681" y="512289"/>
                    <a:pt x="673867" y="497049"/>
                    <a:pt x="685296" y="506574"/>
                  </a:cubicBezTo>
                  <a:cubicBezTo>
                    <a:pt x="712601" y="529434"/>
                    <a:pt x="756417" y="524354"/>
                    <a:pt x="782451" y="547849"/>
                  </a:cubicBezTo>
                  <a:cubicBezTo>
                    <a:pt x="792611" y="556739"/>
                    <a:pt x="757051" y="557374"/>
                    <a:pt x="743717" y="559279"/>
                  </a:cubicBezTo>
                  <a:cubicBezTo>
                    <a:pt x="739906" y="559914"/>
                    <a:pt x="738001" y="551659"/>
                    <a:pt x="734192" y="552929"/>
                  </a:cubicBezTo>
                  <a:cubicBezTo>
                    <a:pt x="717046" y="558009"/>
                    <a:pt x="703076" y="570709"/>
                    <a:pt x="686567" y="575789"/>
                  </a:cubicBezTo>
                  <a:cubicBezTo>
                    <a:pt x="610367" y="599284"/>
                    <a:pt x="677042" y="545944"/>
                    <a:pt x="567821" y="538959"/>
                  </a:cubicBezTo>
                  <a:cubicBezTo>
                    <a:pt x="553851" y="537689"/>
                    <a:pt x="553851" y="564994"/>
                    <a:pt x="541786" y="572614"/>
                  </a:cubicBezTo>
                  <a:cubicBezTo>
                    <a:pt x="535436" y="577059"/>
                    <a:pt x="525911" y="569439"/>
                    <a:pt x="518292" y="571344"/>
                  </a:cubicBezTo>
                  <a:cubicBezTo>
                    <a:pt x="512576" y="572614"/>
                    <a:pt x="510671" y="579599"/>
                    <a:pt x="505592" y="582139"/>
                  </a:cubicBezTo>
                  <a:cubicBezTo>
                    <a:pt x="503686" y="582774"/>
                    <a:pt x="501146" y="580234"/>
                    <a:pt x="499242" y="580869"/>
                  </a:cubicBezTo>
                  <a:cubicBezTo>
                    <a:pt x="484001" y="588489"/>
                    <a:pt x="471301" y="601824"/>
                    <a:pt x="455426" y="607539"/>
                  </a:cubicBezTo>
                  <a:cubicBezTo>
                    <a:pt x="440186" y="612619"/>
                    <a:pt x="411611" y="612619"/>
                    <a:pt x="411611" y="6126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87FA18D1-836B-446D-AEE3-7AC432ABD8F1}"/>
                </a:ext>
              </a:extLst>
            </p:cNvPr>
            <p:cNvSpPr/>
            <p:nvPr/>
          </p:nvSpPr>
          <p:spPr>
            <a:xfrm>
              <a:off x="8071663" y="1468438"/>
              <a:ext cx="19050" cy="6350"/>
            </a:xfrm>
            <a:custGeom>
              <a:avLst/>
              <a:gdLst>
                <a:gd name="connsiteX0" fmla="*/ 19507 w 19050"/>
                <a:gd name="connsiteY0" fmla="*/ 6032 h 6350"/>
                <a:gd name="connsiteX1" fmla="*/ 20142 w 19050"/>
                <a:gd name="connsiteY1" fmla="*/ 4763 h 6350"/>
                <a:gd name="connsiteX2" fmla="*/ 19507 w 19050"/>
                <a:gd name="connsiteY2" fmla="*/ 6032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6350">
                  <a:moveTo>
                    <a:pt x="19507" y="6032"/>
                  </a:moveTo>
                  <a:cubicBezTo>
                    <a:pt x="6172" y="7938"/>
                    <a:pt x="-5893" y="9207"/>
                    <a:pt x="20142" y="4763"/>
                  </a:cubicBezTo>
                  <a:cubicBezTo>
                    <a:pt x="20142" y="4763"/>
                    <a:pt x="19507" y="6032"/>
                    <a:pt x="19507" y="60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2FB2E89E-5C02-4C1C-B2FF-CCF2DF3CD126}"/>
                </a:ext>
              </a:extLst>
            </p:cNvPr>
            <p:cNvSpPr/>
            <p:nvPr/>
          </p:nvSpPr>
          <p:spPr>
            <a:xfrm>
              <a:off x="8035803" y="984705"/>
              <a:ext cx="298450" cy="139700"/>
            </a:xfrm>
            <a:custGeom>
              <a:avLst/>
              <a:gdLst>
                <a:gd name="connsiteX0" fmla="*/ 279522 w 298450"/>
                <a:gd name="connsiteY0" fmla="*/ 26850 h 139700"/>
                <a:gd name="connsiteX1" fmla="*/ 217927 w 298450"/>
                <a:gd name="connsiteY1" fmla="*/ 61775 h 139700"/>
                <a:gd name="connsiteX2" fmla="*/ 172207 w 298450"/>
                <a:gd name="connsiteY2" fmla="*/ 71300 h 139700"/>
                <a:gd name="connsiteX3" fmla="*/ 179191 w 298450"/>
                <a:gd name="connsiteY3" fmla="*/ 73205 h 139700"/>
                <a:gd name="connsiteX4" fmla="*/ 240152 w 298450"/>
                <a:gd name="connsiteY4" fmla="*/ 63045 h 139700"/>
                <a:gd name="connsiteX5" fmla="*/ 249041 w 298450"/>
                <a:gd name="connsiteY5" fmla="*/ 61140 h 139700"/>
                <a:gd name="connsiteX6" fmla="*/ 81402 w 298450"/>
                <a:gd name="connsiteY6" fmla="*/ 111305 h 139700"/>
                <a:gd name="connsiteX7" fmla="*/ 5837 w 298450"/>
                <a:gd name="connsiteY7" fmla="*/ 128450 h 139700"/>
                <a:gd name="connsiteX8" fmla="*/ 31872 w 298450"/>
                <a:gd name="connsiteY8" fmla="*/ 110670 h 139700"/>
                <a:gd name="connsiteX9" fmla="*/ 71877 w 298450"/>
                <a:gd name="connsiteY9" fmla="*/ 94795 h 139700"/>
                <a:gd name="connsiteX10" fmla="*/ 106802 w 298450"/>
                <a:gd name="connsiteY10" fmla="*/ 55425 h 139700"/>
                <a:gd name="connsiteX11" fmla="*/ 136012 w 298450"/>
                <a:gd name="connsiteY11" fmla="*/ 49710 h 139700"/>
                <a:gd name="connsiteX12" fmla="*/ 181097 w 298450"/>
                <a:gd name="connsiteY12" fmla="*/ 29390 h 139700"/>
                <a:gd name="connsiteX13" fmla="*/ 214116 w 298450"/>
                <a:gd name="connsiteY13" fmla="*/ 21135 h 139700"/>
                <a:gd name="connsiteX14" fmla="*/ 157602 w 298450"/>
                <a:gd name="connsiteY14" fmla="*/ 56695 h 139700"/>
                <a:gd name="connsiteX15" fmla="*/ 199512 w 298450"/>
                <a:gd name="connsiteY15" fmla="*/ 39550 h 139700"/>
                <a:gd name="connsiteX16" fmla="*/ 237612 w 298450"/>
                <a:gd name="connsiteY16" fmla="*/ 18595 h 139700"/>
                <a:gd name="connsiteX17" fmla="*/ 278252 w 298450"/>
                <a:gd name="connsiteY17" fmla="*/ 14150 h 139700"/>
                <a:gd name="connsiteX18" fmla="*/ 294762 w 298450"/>
                <a:gd name="connsiteY18" fmla="*/ 6530 h 139700"/>
                <a:gd name="connsiteX19" fmla="*/ 279522 w 298450"/>
                <a:gd name="connsiteY19" fmla="*/ 26850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8450" h="139700">
                  <a:moveTo>
                    <a:pt x="279522" y="26850"/>
                  </a:moveTo>
                  <a:cubicBezTo>
                    <a:pt x="261741" y="38280"/>
                    <a:pt x="238247" y="54790"/>
                    <a:pt x="217927" y="61775"/>
                  </a:cubicBezTo>
                  <a:cubicBezTo>
                    <a:pt x="203322" y="66855"/>
                    <a:pt x="186812" y="66855"/>
                    <a:pt x="172207" y="71300"/>
                  </a:cubicBezTo>
                  <a:cubicBezTo>
                    <a:pt x="169666" y="71935"/>
                    <a:pt x="176652" y="73840"/>
                    <a:pt x="179191" y="73205"/>
                  </a:cubicBezTo>
                  <a:cubicBezTo>
                    <a:pt x="199512" y="70665"/>
                    <a:pt x="219832" y="66220"/>
                    <a:pt x="240152" y="63045"/>
                  </a:cubicBezTo>
                  <a:cubicBezTo>
                    <a:pt x="243327" y="62410"/>
                    <a:pt x="252216" y="59870"/>
                    <a:pt x="249041" y="61140"/>
                  </a:cubicBezTo>
                  <a:cubicBezTo>
                    <a:pt x="196972" y="89715"/>
                    <a:pt x="134107" y="84000"/>
                    <a:pt x="81402" y="111305"/>
                  </a:cubicBezTo>
                  <a:cubicBezTo>
                    <a:pt x="69337" y="117655"/>
                    <a:pt x="23616" y="150675"/>
                    <a:pt x="5837" y="128450"/>
                  </a:cubicBezTo>
                  <a:cubicBezTo>
                    <a:pt x="-513" y="120195"/>
                    <a:pt x="22982" y="115115"/>
                    <a:pt x="31872" y="110670"/>
                  </a:cubicBezTo>
                  <a:cubicBezTo>
                    <a:pt x="44572" y="104320"/>
                    <a:pt x="59812" y="103685"/>
                    <a:pt x="71877" y="94795"/>
                  </a:cubicBezTo>
                  <a:cubicBezTo>
                    <a:pt x="85847" y="84635"/>
                    <a:pt x="92197" y="65585"/>
                    <a:pt x="106802" y="55425"/>
                  </a:cubicBezTo>
                  <a:cubicBezTo>
                    <a:pt x="115057" y="49710"/>
                    <a:pt x="126487" y="52885"/>
                    <a:pt x="136012" y="49710"/>
                  </a:cubicBezTo>
                  <a:cubicBezTo>
                    <a:pt x="151252" y="43995"/>
                    <a:pt x="165857" y="35105"/>
                    <a:pt x="181097" y="29390"/>
                  </a:cubicBezTo>
                  <a:cubicBezTo>
                    <a:pt x="191891" y="25580"/>
                    <a:pt x="221737" y="12245"/>
                    <a:pt x="214116" y="21135"/>
                  </a:cubicBezTo>
                  <a:cubicBezTo>
                    <a:pt x="199512" y="37645"/>
                    <a:pt x="171572" y="38915"/>
                    <a:pt x="157602" y="56695"/>
                  </a:cubicBezTo>
                  <a:cubicBezTo>
                    <a:pt x="148077" y="68125"/>
                    <a:pt x="186177" y="45900"/>
                    <a:pt x="199512" y="39550"/>
                  </a:cubicBezTo>
                  <a:cubicBezTo>
                    <a:pt x="212847" y="33200"/>
                    <a:pt x="223641" y="23040"/>
                    <a:pt x="237612" y="18595"/>
                  </a:cubicBezTo>
                  <a:cubicBezTo>
                    <a:pt x="250312" y="14150"/>
                    <a:pt x="264916" y="17325"/>
                    <a:pt x="278252" y="14150"/>
                  </a:cubicBezTo>
                  <a:cubicBezTo>
                    <a:pt x="283966" y="12880"/>
                    <a:pt x="294127" y="180"/>
                    <a:pt x="294762" y="6530"/>
                  </a:cubicBezTo>
                  <a:cubicBezTo>
                    <a:pt x="295397" y="13515"/>
                    <a:pt x="279522" y="26850"/>
                    <a:pt x="279522" y="268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4047B6B3-EF49-4175-BBA6-579EEA45A0ED}"/>
                </a:ext>
              </a:extLst>
            </p:cNvPr>
            <p:cNvSpPr/>
            <p:nvPr/>
          </p:nvSpPr>
          <p:spPr>
            <a:xfrm>
              <a:off x="7980273" y="1491932"/>
              <a:ext cx="57150" cy="44450"/>
            </a:xfrm>
            <a:custGeom>
              <a:avLst/>
              <a:gdLst>
                <a:gd name="connsiteX0" fmla="*/ 56287 w 57150"/>
                <a:gd name="connsiteY0" fmla="*/ 4763 h 44450"/>
                <a:gd name="connsiteX1" fmla="*/ 6122 w 57150"/>
                <a:gd name="connsiteY1" fmla="*/ 42863 h 44450"/>
                <a:gd name="connsiteX2" fmla="*/ 10567 w 57150"/>
                <a:gd name="connsiteY2" fmla="*/ 31432 h 44450"/>
                <a:gd name="connsiteX3" fmla="*/ 56287 w 57150"/>
                <a:gd name="connsiteY3" fmla="*/ 4763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44450">
                  <a:moveTo>
                    <a:pt x="56287" y="4763"/>
                  </a:moveTo>
                  <a:cubicBezTo>
                    <a:pt x="39777" y="17463"/>
                    <a:pt x="24537" y="32703"/>
                    <a:pt x="6122" y="42863"/>
                  </a:cubicBezTo>
                  <a:cubicBezTo>
                    <a:pt x="2312" y="44768"/>
                    <a:pt x="7392" y="33973"/>
                    <a:pt x="10567" y="31432"/>
                  </a:cubicBezTo>
                  <a:cubicBezTo>
                    <a:pt x="24537" y="21273"/>
                    <a:pt x="56287" y="4763"/>
                    <a:pt x="56287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8D28F050-962D-42E3-AFA3-ACAE73FF5B39}"/>
                </a:ext>
              </a:extLst>
            </p:cNvPr>
            <p:cNvSpPr/>
            <p:nvPr/>
          </p:nvSpPr>
          <p:spPr>
            <a:xfrm>
              <a:off x="7935779" y="1278696"/>
              <a:ext cx="19050" cy="12700"/>
            </a:xfrm>
            <a:custGeom>
              <a:avLst/>
              <a:gdLst>
                <a:gd name="connsiteX0" fmla="*/ 16326 w 19050"/>
                <a:gd name="connsiteY0" fmla="*/ 5274 h 12700"/>
                <a:gd name="connsiteX1" fmla="*/ 5531 w 19050"/>
                <a:gd name="connsiteY1" fmla="*/ 13529 h 12700"/>
                <a:gd name="connsiteX2" fmla="*/ 16326 w 19050"/>
                <a:gd name="connsiteY2" fmla="*/ 5274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12700">
                  <a:moveTo>
                    <a:pt x="16326" y="5274"/>
                  </a:moveTo>
                  <a:cubicBezTo>
                    <a:pt x="12516" y="7814"/>
                    <a:pt x="9976" y="11624"/>
                    <a:pt x="5531" y="13529"/>
                  </a:cubicBezTo>
                  <a:cubicBezTo>
                    <a:pt x="1721" y="14799"/>
                    <a:pt x="13151" y="2099"/>
                    <a:pt x="16326" y="527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B385323C-4440-4083-BEEA-0D22AFEE0DD1}"/>
                </a:ext>
              </a:extLst>
            </p:cNvPr>
            <p:cNvSpPr/>
            <p:nvPr/>
          </p:nvSpPr>
          <p:spPr>
            <a:xfrm>
              <a:off x="7966857" y="1131753"/>
              <a:ext cx="82550" cy="44450"/>
            </a:xfrm>
            <a:custGeom>
              <a:avLst/>
              <a:gdLst>
                <a:gd name="connsiteX0" fmla="*/ 79228 w 82550"/>
                <a:gd name="connsiteY0" fmla="*/ 8072 h 44450"/>
                <a:gd name="connsiteX1" fmla="*/ 28428 w 82550"/>
                <a:gd name="connsiteY1" fmla="*/ 30297 h 44450"/>
                <a:gd name="connsiteX2" fmla="*/ 5568 w 82550"/>
                <a:gd name="connsiteY2" fmla="*/ 40457 h 44450"/>
                <a:gd name="connsiteX3" fmla="*/ 46843 w 82550"/>
                <a:gd name="connsiteY3" fmla="*/ 6167 h 44450"/>
                <a:gd name="connsiteX4" fmla="*/ 79228 w 82550"/>
                <a:gd name="connsiteY4" fmla="*/ 8072 h 44450"/>
                <a:gd name="connsiteX5" fmla="*/ 79228 w 82550"/>
                <a:gd name="connsiteY5" fmla="*/ 8072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0" h="44450">
                  <a:moveTo>
                    <a:pt x="79228" y="8072"/>
                  </a:moveTo>
                  <a:cubicBezTo>
                    <a:pt x="62083" y="15692"/>
                    <a:pt x="44937" y="22677"/>
                    <a:pt x="28428" y="30297"/>
                  </a:cubicBezTo>
                  <a:cubicBezTo>
                    <a:pt x="20808" y="34107"/>
                    <a:pt x="487" y="47442"/>
                    <a:pt x="5568" y="40457"/>
                  </a:cubicBezTo>
                  <a:cubicBezTo>
                    <a:pt x="16362" y="26487"/>
                    <a:pt x="30333" y="13787"/>
                    <a:pt x="46843" y="6167"/>
                  </a:cubicBezTo>
                  <a:cubicBezTo>
                    <a:pt x="56368" y="2357"/>
                    <a:pt x="68433" y="7437"/>
                    <a:pt x="79228" y="8072"/>
                  </a:cubicBezTo>
                  <a:lnTo>
                    <a:pt x="79228" y="80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9BCA98BF-AC73-4302-87DC-4C2A9B112BA1}"/>
                </a:ext>
              </a:extLst>
            </p:cNvPr>
            <p:cNvSpPr/>
            <p:nvPr/>
          </p:nvSpPr>
          <p:spPr>
            <a:xfrm>
              <a:off x="7546809" y="1168655"/>
              <a:ext cx="628650" cy="457200"/>
            </a:xfrm>
            <a:custGeom>
              <a:avLst/>
              <a:gdLst>
                <a:gd name="connsiteX0" fmla="*/ 325921 w 628650"/>
                <a:gd name="connsiteY0" fmla="*/ 267080 h 457200"/>
                <a:gd name="connsiteX1" fmla="*/ 301156 w 628650"/>
                <a:gd name="connsiteY1" fmla="*/ 288035 h 457200"/>
                <a:gd name="connsiteX2" fmla="*/ 322746 w 628650"/>
                <a:gd name="connsiteY2" fmla="*/ 282320 h 457200"/>
                <a:gd name="connsiteX3" fmla="*/ 284646 w 628650"/>
                <a:gd name="connsiteY3" fmla="*/ 324230 h 457200"/>
                <a:gd name="connsiteX4" fmla="*/ 261151 w 628650"/>
                <a:gd name="connsiteY4" fmla="*/ 369315 h 457200"/>
                <a:gd name="connsiteX5" fmla="*/ 256706 w 628650"/>
                <a:gd name="connsiteY5" fmla="*/ 359790 h 457200"/>
                <a:gd name="connsiteX6" fmla="*/ 163360 w 628650"/>
                <a:gd name="connsiteY6" fmla="*/ 395350 h 457200"/>
                <a:gd name="connsiteX7" fmla="*/ 177331 w 628650"/>
                <a:gd name="connsiteY7" fmla="*/ 383920 h 457200"/>
                <a:gd name="connsiteX8" fmla="*/ 190031 w 628650"/>
                <a:gd name="connsiteY8" fmla="*/ 368680 h 457200"/>
                <a:gd name="connsiteX9" fmla="*/ 233846 w 628650"/>
                <a:gd name="connsiteY9" fmla="*/ 345185 h 457200"/>
                <a:gd name="connsiteX10" fmla="*/ 220510 w 628650"/>
                <a:gd name="connsiteY10" fmla="*/ 303275 h 457200"/>
                <a:gd name="connsiteX11" fmla="*/ 183681 w 628650"/>
                <a:gd name="connsiteY11" fmla="*/ 335660 h 457200"/>
                <a:gd name="connsiteX12" fmla="*/ 146851 w 628650"/>
                <a:gd name="connsiteY12" fmla="*/ 364235 h 457200"/>
                <a:gd name="connsiteX13" fmla="*/ 61126 w 628650"/>
                <a:gd name="connsiteY13" fmla="*/ 441705 h 457200"/>
                <a:gd name="connsiteX14" fmla="*/ 43346 w 628650"/>
                <a:gd name="connsiteY14" fmla="*/ 444880 h 457200"/>
                <a:gd name="connsiteX15" fmla="*/ 7151 w 628650"/>
                <a:gd name="connsiteY15" fmla="*/ 455040 h 457200"/>
                <a:gd name="connsiteX16" fmla="*/ 21121 w 628650"/>
                <a:gd name="connsiteY16" fmla="*/ 411860 h 457200"/>
                <a:gd name="connsiteX17" fmla="*/ 44616 w 628650"/>
                <a:gd name="connsiteY17" fmla="*/ 388365 h 457200"/>
                <a:gd name="connsiteX18" fmla="*/ 57316 w 628650"/>
                <a:gd name="connsiteY18" fmla="*/ 356615 h 457200"/>
                <a:gd name="connsiteX19" fmla="*/ 117006 w 628650"/>
                <a:gd name="connsiteY19" fmla="*/ 302005 h 457200"/>
                <a:gd name="connsiteX20" fmla="*/ 145581 w 628650"/>
                <a:gd name="connsiteY20" fmla="*/ 237235 h 457200"/>
                <a:gd name="connsiteX21" fmla="*/ 165901 w 628650"/>
                <a:gd name="connsiteY21" fmla="*/ 252475 h 457200"/>
                <a:gd name="connsiteX22" fmla="*/ 141135 w 628650"/>
                <a:gd name="connsiteY22" fmla="*/ 268350 h 457200"/>
                <a:gd name="connsiteX23" fmla="*/ 200826 w 628650"/>
                <a:gd name="connsiteY23" fmla="*/ 282955 h 457200"/>
                <a:gd name="connsiteX24" fmla="*/ 233846 w 628650"/>
                <a:gd name="connsiteY24" fmla="*/ 288670 h 457200"/>
                <a:gd name="connsiteX25" fmla="*/ 240831 w 628650"/>
                <a:gd name="connsiteY25" fmla="*/ 245490 h 457200"/>
                <a:gd name="connsiteX26" fmla="*/ 266866 w 628650"/>
                <a:gd name="connsiteY26" fmla="*/ 241045 h 457200"/>
                <a:gd name="connsiteX27" fmla="*/ 316396 w 628650"/>
                <a:gd name="connsiteY27" fmla="*/ 211200 h 457200"/>
                <a:gd name="connsiteX28" fmla="*/ 342431 w 628650"/>
                <a:gd name="connsiteY28" fmla="*/ 167385 h 457200"/>
                <a:gd name="connsiteX29" fmla="*/ 448476 w 628650"/>
                <a:gd name="connsiteY29" fmla="*/ 109600 h 457200"/>
                <a:gd name="connsiteX30" fmla="*/ 402756 w 628650"/>
                <a:gd name="connsiteY30" fmla="*/ 110235 h 457200"/>
                <a:gd name="connsiteX31" fmla="*/ 438316 w 628650"/>
                <a:gd name="connsiteY31" fmla="*/ 82930 h 457200"/>
                <a:gd name="connsiteX32" fmla="*/ 454191 w 628650"/>
                <a:gd name="connsiteY32" fmla="*/ 43560 h 457200"/>
                <a:gd name="connsiteX33" fmla="*/ 504356 w 628650"/>
                <a:gd name="connsiteY33" fmla="*/ 18795 h 457200"/>
                <a:gd name="connsiteX34" fmla="*/ 621831 w 628650"/>
                <a:gd name="connsiteY34" fmla="*/ 19430 h 457200"/>
                <a:gd name="connsiteX35" fmla="*/ 582461 w 628650"/>
                <a:gd name="connsiteY35" fmla="*/ 17525 h 457200"/>
                <a:gd name="connsiteX36" fmla="*/ 487210 w 628650"/>
                <a:gd name="connsiteY36" fmla="*/ 41655 h 457200"/>
                <a:gd name="connsiteX37" fmla="*/ 490385 w 628650"/>
                <a:gd name="connsiteY37" fmla="*/ 53085 h 457200"/>
                <a:gd name="connsiteX38" fmla="*/ 581191 w 628650"/>
                <a:gd name="connsiteY38" fmla="*/ 23875 h 457200"/>
                <a:gd name="connsiteX39" fmla="*/ 611671 w 628650"/>
                <a:gd name="connsiteY39" fmla="*/ 42925 h 457200"/>
                <a:gd name="connsiteX40" fmla="*/ 581826 w 628650"/>
                <a:gd name="connsiteY40" fmla="*/ 56260 h 457200"/>
                <a:gd name="connsiteX41" fmla="*/ 515785 w 628650"/>
                <a:gd name="connsiteY41" fmla="*/ 72770 h 457200"/>
                <a:gd name="connsiteX42" fmla="*/ 555791 w 628650"/>
                <a:gd name="connsiteY42" fmla="*/ 88645 h 457200"/>
                <a:gd name="connsiteX43" fmla="*/ 529121 w 628650"/>
                <a:gd name="connsiteY43" fmla="*/ 112775 h 457200"/>
                <a:gd name="connsiteX44" fmla="*/ 518960 w 628650"/>
                <a:gd name="connsiteY44" fmla="*/ 107695 h 457200"/>
                <a:gd name="connsiteX45" fmla="*/ 471971 w 628650"/>
                <a:gd name="connsiteY45" fmla="*/ 131190 h 457200"/>
                <a:gd name="connsiteX46" fmla="*/ 461176 w 628650"/>
                <a:gd name="connsiteY46" fmla="*/ 148970 h 457200"/>
                <a:gd name="connsiteX47" fmla="*/ 492926 w 628650"/>
                <a:gd name="connsiteY47" fmla="*/ 149605 h 457200"/>
                <a:gd name="connsiteX48" fmla="*/ 411010 w 628650"/>
                <a:gd name="connsiteY48" fmla="*/ 185165 h 457200"/>
                <a:gd name="connsiteX49" fmla="*/ 458001 w 628650"/>
                <a:gd name="connsiteY49" fmla="*/ 180720 h 457200"/>
                <a:gd name="connsiteX50" fmla="*/ 386881 w 628650"/>
                <a:gd name="connsiteY50" fmla="*/ 208660 h 457200"/>
                <a:gd name="connsiteX51" fmla="*/ 382435 w 628650"/>
                <a:gd name="connsiteY51" fmla="*/ 242950 h 457200"/>
                <a:gd name="connsiteX52" fmla="*/ 353226 w 628650"/>
                <a:gd name="connsiteY52" fmla="*/ 229615 h 457200"/>
                <a:gd name="connsiteX53" fmla="*/ 325921 w 628650"/>
                <a:gd name="connsiteY53" fmla="*/ 26708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28650" h="457200">
                  <a:moveTo>
                    <a:pt x="325921" y="267080"/>
                  </a:moveTo>
                  <a:cubicBezTo>
                    <a:pt x="317666" y="274065"/>
                    <a:pt x="303060" y="277240"/>
                    <a:pt x="301156" y="288035"/>
                  </a:cubicBezTo>
                  <a:cubicBezTo>
                    <a:pt x="299885" y="295655"/>
                    <a:pt x="325921" y="275335"/>
                    <a:pt x="322746" y="282320"/>
                  </a:cubicBezTo>
                  <a:cubicBezTo>
                    <a:pt x="315126" y="299465"/>
                    <a:pt x="295441" y="308990"/>
                    <a:pt x="284646" y="324230"/>
                  </a:cubicBezTo>
                  <a:cubicBezTo>
                    <a:pt x="275121" y="338200"/>
                    <a:pt x="271946" y="355980"/>
                    <a:pt x="261151" y="369315"/>
                  </a:cubicBezTo>
                  <a:cubicBezTo>
                    <a:pt x="259246" y="371855"/>
                    <a:pt x="260516" y="359155"/>
                    <a:pt x="256706" y="359790"/>
                  </a:cubicBezTo>
                  <a:cubicBezTo>
                    <a:pt x="237021" y="364870"/>
                    <a:pt x="190031" y="396620"/>
                    <a:pt x="163360" y="395350"/>
                  </a:cubicBezTo>
                  <a:cubicBezTo>
                    <a:pt x="157646" y="395350"/>
                    <a:pt x="172885" y="388365"/>
                    <a:pt x="177331" y="383920"/>
                  </a:cubicBezTo>
                  <a:cubicBezTo>
                    <a:pt x="181776" y="379475"/>
                    <a:pt x="184316" y="372490"/>
                    <a:pt x="190031" y="368680"/>
                  </a:cubicBezTo>
                  <a:cubicBezTo>
                    <a:pt x="204001" y="359155"/>
                    <a:pt x="226860" y="360425"/>
                    <a:pt x="233846" y="345185"/>
                  </a:cubicBezTo>
                  <a:cubicBezTo>
                    <a:pt x="240196" y="331850"/>
                    <a:pt x="235116" y="305815"/>
                    <a:pt x="220510" y="303275"/>
                  </a:cubicBezTo>
                  <a:cubicBezTo>
                    <a:pt x="204635" y="300100"/>
                    <a:pt x="196381" y="325500"/>
                    <a:pt x="183681" y="335660"/>
                  </a:cubicBezTo>
                  <a:cubicBezTo>
                    <a:pt x="163996" y="352170"/>
                    <a:pt x="162091" y="347090"/>
                    <a:pt x="146851" y="364235"/>
                  </a:cubicBezTo>
                  <a:cubicBezTo>
                    <a:pt x="120816" y="392175"/>
                    <a:pt x="97956" y="428370"/>
                    <a:pt x="61126" y="441705"/>
                  </a:cubicBezTo>
                  <a:cubicBezTo>
                    <a:pt x="55410" y="443610"/>
                    <a:pt x="49060" y="443610"/>
                    <a:pt x="43346" y="444880"/>
                  </a:cubicBezTo>
                  <a:cubicBezTo>
                    <a:pt x="31281" y="448055"/>
                    <a:pt x="14135" y="465835"/>
                    <a:pt x="7151" y="455040"/>
                  </a:cubicBezTo>
                  <a:cubicBezTo>
                    <a:pt x="-1104" y="442340"/>
                    <a:pt x="14135" y="425195"/>
                    <a:pt x="21121" y="411860"/>
                  </a:cubicBezTo>
                  <a:cubicBezTo>
                    <a:pt x="26201" y="402335"/>
                    <a:pt x="38266" y="397890"/>
                    <a:pt x="44616" y="388365"/>
                  </a:cubicBezTo>
                  <a:cubicBezTo>
                    <a:pt x="50966" y="378840"/>
                    <a:pt x="50966" y="366140"/>
                    <a:pt x="57316" y="356615"/>
                  </a:cubicBezTo>
                  <a:cubicBezTo>
                    <a:pt x="70651" y="334390"/>
                    <a:pt x="101131" y="322325"/>
                    <a:pt x="117006" y="302005"/>
                  </a:cubicBezTo>
                  <a:cubicBezTo>
                    <a:pt x="127166" y="288670"/>
                    <a:pt x="134151" y="244855"/>
                    <a:pt x="145581" y="237235"/>
                  </a:cubicBezTo>
                  <a:cubicBezTo>
                    <a:pt x="152566" y="232790"/>
                    <a:pt x="167171" y="244220"/>
                    <a:pt x="165901" y="252475"/>
                  </a:cubicBezTo>
                  <a:cubicBezTo>
                    <a:pt x="164631" y="262000"/>
                    <a:pt x="133516" y="262000"/>
                    <a:pt x="141135" y="268350"/>
                  </a:cubicBezTo>
                  <a:cubicBezTo>
                    <a:pt x="156376" y="282320"/>
                    <a:pt x="180506" y="278510"/>
                    <a:pt x="200826" y="282955"/>
                  </a:cubicBezTo>
                  <a:cubicBezTo>
                    <a:pt x="211621" y="285495"/>
                    <a:pt x="225591" y="296290"/>
                    <a:pt x="233846" y="288670"/>
                  </a:cubicBezTo>
                  <a:cubicBezTo>
                    <a:pt x="244641" y="278510"/>
                    <a:pt x="232576" y="257555"/>
                    <a:pt x="240831" y="245490"/>
                  </a:cubicBezTo>
                  <a:cubicBezTo>
                    <a:pt x="245910" y="238505"/>
                    <a:pt x="259246" y="244855"/>
                    <a:pt x="266866" y="241045"/>
                  </a:cubicBezTo>
                  <a:cubicBezTo>
                    <a:pt x="284646" y="233425"/>
                    <a:pt x="302426" y="224535"/>
                    <a:pt x="316396" y="211200"/>
                  </a:cubicBezTo>
                  <a:cubicBezTo>
                    <a:pt x="328460" y="199135"/>
                    <a:pt x="331635" y="180085"/>
                    <a:pt x="342431" y="167385"/>
                  </a:cubicBezTo>
                  <a:cubicBezTo>
                    <a:pt x="351956" y="156590"/>
                    <a:pt x="451016" y="130555"/>
                    <a:pt x="448476" y="109600"/>
                  </a:cubicBezTo>
                  <a:cubicBezTo>
                    <a:pt x="446571" y="94360"/>
                    <a:pt x="408471" y="124205"/>
                    <a:pt x="402756" y="110235"/>
                  </a:cubicBezTo>
                  <a:cubicBezTo>
                    <a:pt x="397676" y="96265"/>
                    <a:pt x="429426" y="94995"/>
                    <a:pt x="438316" y="82930"/>
                  </a:cubicBezTo>
                  <a:cubicBezTo>
                    <a:pt x="447206" y="71500"/>
                    <a:pt x="447206" y="56260"/>
                    <a:pt x="454191" y="43560"/>
                  </a:cubicBezTo>
                  <a:cubicBezTo>
                    <a:pt x="462446" y="27050"/>
                    <a:pt x="487210" y="25780"/>
                    <a:pt x="504356" y="18795"/>
                  </a:cubicBezTo>
                  <a:cubicBezTo>
                    <a:pt x="544996" y="2920"/>
                    <a:pt x="578016" y="-2795"/>
                    <a:pt x="621831" y="19430"/>
                  </a:cubicBezTo>
                  <a:cubicBezTo>
                    <a:pt x="633261" y="25780"/>
                    <a:pt x="595796" y="15620"/>
                    <a:pt x="582461" y="17525"/>
                  </a:cubicBezTo>
                  <a:cubicBezTo>
                    <a:pt x="550076" y="22605"/>
                    <a:pt x="517691" y="29590"/>
                    <a:pt x="487210" y="41655"/>
                  </a:cubicBezTo>
                  <a:cubicBezTo>
                    <a:pt x="483401" y="42925"/>
                    <a:pt x="486576" y="53720"/>
                    <a:pt x="490385" y="53085"/>
                  </a:cubicBezTo>
                  <a:cubicBezTo>
                    <a:pt x="526581" y="46735"/>
                    <a:pt x="541821" y="18795"/>
                    <a:pt x="581191" y="23875"/>
                  </a:cubicBezTo>
                  <a:cubicBezTo>
                    <a:pt x="593256" y="25780"/>
                    <a:pt x="611036" y="31495"/>
                    <a:pt x="611671" y="42925"/>
                  </a:cubicBezTo>
                  <a:cubicBezTo>
                    <a:pt x="611671" y="53720"/>
                    <a:pt x="591986" y="53085"/>
                    <a:pt x="581826" y="56260"/>
                  </a:cubicBezTo>
                  <a:cubicBezTo>
                    <a:pt x="560236" y="63245"/>
                    <a:pt x="529756" y="54990"/>
                    <a:pt x="515785" y="72770"/>
                  </a:cubicBezTo>
                  <a:cubicBezTo>
                    <a:pt x="506896" y="84200"/>
                    <a:pt x="551346" y="74675"/>
                    <a:pt x="555791" y="88645"/>
                  </a:cubicBezTo>
                  <a:cubicBezTo>
                    <a:pt x="559601" y="100075"/>
                    <a:pt x="539916" y="107060"/>
                    <a:pt x="529121" y="112775"/>
                  </a:cubicBezTo>
                  <a:cubicBezTo>
                    <a:pt x="525946" y="114680"/>
                    <a:pt x="522771" y="106425"/>
                    <a:pt x="518960" y="107695"/>
                  </a:cubicBezTo>
                  <a:cubicBezTo>
                    <a:pt x="502451" y="113410"/>
                    <a:pt x="485941" y="121030"/>
                    <a:pt x="471971" y="131190"/>
                  </a:cubicBezTo>
                  <a:cubicBezTo>
                    <a:pt x="466256" y="135635"/>
                    <a:pt x="456096" y="144525"/>
                    <a:pt x="461176" y="148970"/>
                  </a:cubicBezTo>
                  <a:cubicBezTo>
                    <a:pt x="468796" y="155955"/>
                    <a:pt x="501181" y="143255"/>
                    <a:pt x="492926" y="149605"/>
                  </a:cubicBezTo>
                  <a:cubicBezTo>
                    <a:pt x="468796" y="166750"/>
                    <a:pt x="433235" y="164845"/>
                    <a:pt x="411010" y="185165"/>
                  </a:cubicBezTo>
                  <a:cubicBezTo>
                    <a:pt x="398946" y="195960"/>
                    <a:pt x="456731" y="164845"/>
                    <a:pt x="458001" y="180720"/>
                  </a:cubicBezTo>
                  <a:cubicBezTo>
                    <a:pt x="463716" y="242315"/>
                    <a:pt x="401485" y="191515"/>
                    <a:pt x="386881" y="208660"/>
                  </a:cubicBezTo>
                  <a:cubicBezTo>
                    <a:pt x="379260" y="217550"/>
                    <a:pt x="391960" y="236600"/>
                    <a:pt x="382435" y="242950"/>
                  </a:cubicBezTo>
                  <a:cubicBezTo>
                    <a:pt x="373546" y="248665"/>
                    <a:pt x="363385" y="225805"/>
                    <a:pt x="353226" y="229615"/>
                  </a:cubicBezTo>
                  <a:cubicBezTo>
                    <a:pt x="338621" y="237870"/>
                    <a:pt x="325921" y="267080"/>
                    <a:pt x="325921" y="267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2684C84B-2B9F-40C8-ADAC-9832C89C81E8}"/>
                </a:ext>
              </a:extLst>
            </p:cNvPr>
            <p:cNvSpPr/>
            <p:nvPr/>
          </p:nvSpPr>
          <p:spPr>
            <a:xfrm>
              <a:off x="7759925" y="1303973"/>
              <a:ext cx="25400" cy="19050"/>
            </a:xfrm>
            <a:custGeom>
              <a:avLst/>
              <a:gdLst>
                <a:gd name="connsiteX0" fmla="*/ 20731 w 25400"/>
                <a:gd name="connsiteY0" fmla="*/ 7302 h 19050"/>
                <a:gd name="connsiteX1" fmla="*/ 4856 w 25400"/>
                <a:gd name="connsiteY1" fmla="*/ 13652 h 19050"/>
                <a:gd name="connsiteX2" fmla="*/ 21365 w 25400"/>
                <a:gd name="connsiteY2" fmla="*/ 4763 h 19050"/>
                <a:gd name="connsiteX3" fmla="*/ 20731 w 25400"/>
                <a:gd name="connsiteY3" fmla="*/ 7302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" h="19050">
                  <a:moveTo>
                    <a:pt x="20731" y="7302"/>
                  </a:moveTo>
                  <a:cubicBezTo>
                    <a:pt x="15650" y="9207"/>
                    <a:pt x="3585" y="19367"/>
                    <a:pt x="4856" y="13652"/>
                  </a:cubicBezTo>
                  <a:cubicBezTo>
                    <a:pt x="6125" y="7302"/>
                    <a:pt x="15650" y="7302"/>
                    <a:pt x="21365" y="4763"/>
                  </a:cubicBezTo>
                  <a:cubicBezTo>
                    <a:pt x="21365" y="4763"/>
                    <a:pt x="20731" y="6667"/>
                    <a:pt x="20731" y="73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F71AE418-838F-448B-8E46-A8C1AFCB6E40}"/>
                </a:ext>
              </a:extLst>
            </p:cNvPr>
            <p:cNvSpPr/>
            <p:nvPr/>
          </p:nvSpPr>
          <p:spPr>
            <a:xfrm>
              <a:off x="8192043" y="1884347"/>
              <a:ext cx="260350" cy="184150"/>
            </a:xfrm>
            <a:custGeom>
              <a:avLst/>
              <a:gdLst>
                <a:gd name="connsiteX0" fmla="*/ 33112 w 260350"/>
                <a:gd name="connsiteY0" fmla="*/ 138128 h 184150"/>
                <a:gd name="connsiteX1" fmla="*/ 77562 w 260350"/>
                <a:gd name="connsiteY1" fmla="*/ 60023 h 184150"/>
                <a:gd name="connsiteX2" fmla="*/ 65497 w 260350"/>
                <a:gd name="connsiteY2" fmla="*/ 55578 h 184150"/>
                <a:gd name="connsiteX3" fmla="*/ 21682 w 260350"/>
                <a:gd name="connsiteY3" fmla="*/ 37163 h 184150"/>
                <a:gd name="connsiteX4" fmla="*/ 37557 w 260350"/>
                <a:gd name="connsiteY4" fmla="*/ 40973 h 184150"/>
                <a:gd name="connsiteX5" fmla="*/ 81372 w 260350"/>
                <a:gd name="connsiteY5" fmla="*/ 4778 h 184150"/>
                <a:gd name="connsiteX6" fmla="*/ 103597 w 260350"/>
                <a:gd name="connsiteY6" fmla="*/ 35893 h 184150"/>
                <a:gd name="connsiteX7" fmla="*/ 81372 w 260350"/>
                <a:gd name="connsiteY7" fmla="*/ 77168 h 184150"/>
                <a:gd name="connsiteX8" fmla="*/ 97882 w 260350"/>
                <a:gd name="connsiteY8" fmla="*/ 58753 h 184150"/>
                <a:gd name="connsiteX9" fmla="*/ 103597 w 260350"/>
                <a:gd name="connsiteY9" fmla="*/ 66373 h 184150"/>
                <a:gd name="connsiteX10" fmla="*/ 114392 w 260350"/>
                <a:gd name="connsiteY10" fmla="*/ 59388 h 184150"/>
                <a:gd name="connsiteX11" fmla="*/ 133442 w 260350"/>
                <a:gd name="connsiteY11" fmla="*/ 61293 h 184150"/>
                <a:gd name="connsiteX12" fmla="*/ 144237 w 260350"/>
                <a:gd name="connsiteY12" fmla="*/ 46053 h 184150"/>
                <a:gd name="connsiteX13" fmla="*/ 161382 w 260350"/>
                <a:gd name="connsiteY13" fmla="*/ 74628 h 184150"/>
                <a:gd name="connsiteX14" fmla="*/ 255997 w 260350"/>
                <a:gd name="connsiteY14" fmla="*/ 109553 h 184150"/>
                <a:gd name="connsiteX15" fmla="*/ 231232 w 260350"/>
                <a:gd name="connsiteY15" fmla="*/ 127333 h 184150"/>
                <a:gd name="connsiteX16" fmla="*/ 207102 w 260350"/>
                <a:gd name="connsiteY16" fmla="*/ 157178 h 184150"/>
                <a:gd name="connsiteX17" fmla="*/ 185512 w 260350"/>
                <a:gd name="connsiteY17" fmla="*/ 151463 h 184150"/>
                <a:gd name="connsiteX18" fmla="*/ 95342 w 260350"/>
                <a:gd name="connsiteY18" fmla="*/ 180038 h 184150"/>
                <a:gd name="connsiteX19" fmla="*/ 50892 w 260350"/>
                <a:gd name="connsiteY19" fmla="*/ 162258 h 184150"/>
                <a:gd name="connsiteX20" fmla="*/ 33112 w 260350"/>
                <a:gd name="connsiteY20" fmla="*/ 138128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0350" h="184150">
                  <a:moveTo>
                    <a:pt x="33112" y="138128"/>
                  </a:moveTo>
                  <a:cubicBezTo>
                    <a:pt x="-37373" y="68913"/>
                    <a:pt x="41367" y="75263"/>
                    <a:pt x="77562" y="60023"/>
                  </a:cubicBezTo>
                  <a:cubicBezTo>
                    <a:pt x="81372" y="58118"/>
                    <a:pt x="69307" y="57483"/>
                    <a:pt x="65497" y="55578"/>
                  </a:cubicBezTo>
                  <a:cubicBezTo>
                    <a:pt x="50892" y="49863"/>
                    <a:pt x="35652" y="44148"/>
                    <a:pt x="21682" y="37163"/>
                  </a:cubicBezTo>
                  <a:cubicBezTo>
                    <a:pt x="17237" y="34623"/>
                    <a:pt x="32477" y="43513"/>
                    <a:pt x="37557" y="40973"/>
                  </a:cubicBezTo>
                  <a:cubicBezTo>
                    <a:pt x="54067" y="32083"/>
                    <a:pt x="62322" y="6048"/>
                    <a:pt x="81372" y="4778"/>
                  </a:cubicBezTo>
                  <a:cubicBezTo>
                    <a:pt x="94072" y="4143"/>
                    <a:pt x="103597" y="23193"/>
                    <a:pt x="103597" y="35893"/>
                  </a:cubicBezTo>
                  <a:cubicBezTo>
                    <a:pt x="103597" y="51768"/>
                    <a:pt x="85182" y="61928"/>
                    <a:pt x="81372" y="77168"/>
                  </a:cubicBezTo>
                  <a:cubicBezTo>
                    <a:pt x="79467" y="85423"/>
                    <a:pt x="90262" y="62563"/>
                    <a:pt x="97882" y="58753"/>
                  </a:cubicBezTo>
                  <a:cubicBezTo>
                    <a:pt x="101057" y="57483"/>
                    <a:pt x="100422" y="66373"/>
                    <a:pt x="103597" y="66373"/>
                  </a:cubicBezTo>
                  <a:cubicBezTo>
                    <a:pt x="108042" y="66373"/>
                    <a:pt x="109947" y="60023"/>
                    <a:pt x="114392" y="59388"/>
                  </a:cubicBezTo>
                  <a:cubicBezTo>
                    <a:pt x="120742" y="58118"/>
                    <a:pt x="127727" y="63833"/>
                    <a:pt x="133442" y="61293"/>
                  </a:cubicBezTo>
                  <a:cubicBezTo>
                    <a:pt x="139157" y="58753"/>
                    <a:pt x="138522" y="42878"/>
                    <a:pt x="144237" y="46053"/>
                  </a:cubicBezTo>
                  <a:cubicBezTo>
                    <a:pt x="154397" y="50498"/>
                    <a:pt x="150587" y="72088"/>
                    <a:pt x="161382" y="74628"/>
                  </a:cubicBezTo>
                  <a:cubicBezTo>
                    <a:pt x="193767" y="82248"/>
                    <a:pt x="260442" y="33353"/>
                    <a:pt x="255997" y="109553"/>
                  </a:cubicBezTo>
                  <a:cubicBezTo>
                    <a:pt x="255362" y="119713"/>
                    <a:pt x="238217" y="120348"/>
                    <a:pt x="231232" y="127333"/>
                  </a:cubicBezTo>
                  <a:cubicBezTo>
                    <a:pt x="222342" y="136223"/>
                    <a:pt x="218532" y="150828"/>
                    <a:pt x="207102" y="157178"/>
                  </a:cubicBezTo>
                  <a:cubicBezTo>
                    <a:pt x="200752" y="160353"/>
                    <a:pt x="192497" y="150193"/>
                    <a:pt x="185512" y="151463"/>
                  </a:cubicBezTo>
                  <a:cubicBezTo>
                    <a:pt x="154397" y="157813"/>
                    <a:pt x="127092" y="177498"/>
                    <a:pt x="95342" y="180038"/>
                  </a:cubicBezTo>
                  <a:cubicBezTo>
                    <a:pt x="79467" y="181308"/>
                    <a:pt x="64227" y="171148"/>
                    <a:pt x="50892" y="162258"/>
                  </a:cubicBezTo>
                  <a:cubicBezTo>
                    <a:pt x="42002" y="157178"/>
                    <a:pt x="33112" y="138128"/>
                    <a:pt x="33112" y="1381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10308F1E-4B36-4071-B4FC-7FEAD7A3E618}"/>
                </a:ext>
              </a:extLst>
            </p:cNvPr>
            <p:cNvSpPr/>
            <p:nvPr/>
          </p:nvSpPr>
          <p:spPr>
            <a:xfrm>
              <a:off x="7632287" y="1300064"/>
              <a:ext cx="152400" cy="107950"/>
            </a:xfrm>
            <a:custGeom>
              <a:avLst/>
              <a:gdLst>
                <a:gd name="connsiteX0" fmla="*/ 87407 w 152400"/>
                <a:gd name="connsiteY0" fmla="*/ 51851 h 107950"/>
                <a:gd name="connsiteX1" fmla="*/ 39782 w 152400"/>
                <a:gd name="connsiteY1" fmla="*/ 82331 h 107950"/>
                <a:gd name="connsiteX2" fmla="*/ 9938 w 152400"/>
                <a:gd name="connsiteY2" fmla="*/ 105826 h 107950"/>
                <a:gd name="connsiteX3" fmla="*/ 15018 w 152400"/>
                <a:gd name="connsiteY3" fmla="*/ 65186 h 107950"/>
                <a:gd name="connsiteX4" fmla="*/ 65818 w 152400"/>
                <a:gd name="connsiteY4" fmla="*/ 34706 h 107950"/>
                <a:gd name="connsiteX5" fmla="*/ 140748 w 152400"/>
                <a:gd name="connsiteY5" fmla="*/ 5496 h 107950"/>
                <a:gd name="connsiteX6" fmla="*/ 148368 w 152400"/>
                <a:gd name="connsiteY6" fmla="*/ 5496 h 107950"/>
                <a:gd name="connsiteX7" fmla="*/ 111538 w 152400"/>
                <a:gd name="connsiteY7" fmla="*/ 25816 h 107950"/>
                <a:gd name="connsiteX8" fmla="*/ 87407 w 152400"/>
                <a:gd name="connsiteY8" fmla="*/ 51851 h 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" h="107950">
                  <a:moveTo>
                    <a:pt x="87407" y="51851"/>
                  </a:moveTo>
                  <a:cubicBezTo>
                    <a:pt x="71532" y="62011"/>
                    <a:pt x="55023" y="71536"/>
                    <a:pt x="39782" y="82331"/>
                  </a:cubicBezTo>
                  <a:cubicBezTo>
                    <a:pt x="29623" y="89316"/>
                    <a:pt x="20098" y="112811"/>
                    <a:pt x="9938" y="105826"/>
                  </a:cubicBezTo>
                  <a:cubicBezTo>
                    <a:pt x="-1493" y="98206"/>
                    <a:pt x="8668" y="77251"/>
                    <a:pt x="15018" y="65186"/>
                  </a:cubicBezTo>
                  <a:cubicBezTo>
                    <a:pt x="48038" y="2956"/>
                    <a:pt x="34703" y="44866"/>
                    <a:pt x="65818" y="34706"/>
                  </a:cubicBezTo>
                  <a:cubicBezTo>
                    <a:pt x="91218" y="26451"/>
                    <a:pt x="115348" y="14386"/>
                    <a:pt x="140748" y="5496"/>
                  </a:cubicBezTo>
                  <a:cubicBezTo>
                    <a:pt x="143288" y="4861"/>
                    <a:pt x="150273" y="4226"/>
                    <a:pt x="148368" y="5496"/>
                  </a:cubicBezTo>
                  <a:cubicBezTo>
                    <a:pt x="136938" y="13751"/>
                    <a:pt x="122332" y="17561"/>
                    <a:pt x="111538" y="25816"/>
                  </a:cubicBezTo>
                  <a:cubicBezTo>
                    <a:pt x="101378" y="33436"/>
                    <a:pt x="87407" y="51851"/>
                    <a:pt x="87407" y="518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F722266D-B2C7-4393-8E19-EF66985E0171}"/>
                </a:ext>
              </a:extLst>
            </p:cNvPr>
            <p:cNvSpPr/>
            <p:nvPr/>
          </p:nvSpPr>
          <p:spPr>
            <a:xfrm>
              <a:off x="7624128" y="1437957"/>
              <a:ext cx="12700" cy="19050"/>
            </a:xfrm>
            <a:custGeom>
              <a:avLst/>
              <a:gdLst>
                <a:gd name="connsiteX0" fmla="*/ 4763 w 12700"/>
                <a:gd name="connsiteY0" fmla="*/ 18098 h 19050"/>
                <a:gd name="connsiteX1" fmla="*/ 13653 w 12700"/>
                <a:gd name="connsiteY1" fmla="*/ 4763 h 19050"/>
                <a:gd name="connsiteX2" fmla="*/ 4763 w 12700"/>
                <a:gd name="connsiteY2" fmla="*/ 18098 h 19050"/>
                <a:gd name="connsiteX3" fmla="*/ 4763 w 12700"/>
                <a:gd name="connsiteY3" fmla="*/ 1809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" h="19050">
                  <a:moveTo>
                    <a:pt x="4763" y="18098"/>
                  </a:moveTo>
                  <a:cubicBezTo>
                    <a:pt x="7938" y="13653"/>
                    <a:pt x="13653" y="4763"/>
                    <a:pt x="13653" y="4763"/>
                  </a:cubicBezTo>
                  <a:cubicBezTo>
                    <a:pt x="13653" y="4763"/>
                    <a:pt x="7938" y="13653"/>
                    <a:pt x="4763" y="18098"/>
                  </a:cubicBezTo>
                  <a:lnTo>
                    <a:pt x="4763" y="180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54C8AF26-6FB7-430A-8616-B162F23DE082}"/>
                </a:ext>
              </a:extLst>
            </p:cNvPr>
            <p:cNvSpPr/>
            <p:nvPr/>
          </p:nvSpPr>
          <p:spPr>
            <a:xfrm>
              <a:off x="7616507" y="1429068"/>
              <a:ext cx="19050" cy="25400"/>
            </a:xfrm>
            <a:custGeom>
              <a:avLst/>
              <a:gdLst>
                <a:gd name="connsiteX0" fmla="*/ 4763 w 19050"/>
                <a:gd name="connsiteY0" fmla="*/ 20638 h 25400"/>
                <a:gd name="connsiteX1" fmla="*/ 14923 w 19050"/>
                <a:gd name="connsiteY1" fmla="*/ 4763 h 25400"/>
                <a:gd name="connsiteX2" fmla="*/ 4763 w 19050"/>
                <a:gd name="connsiteY2" fmla="*/ 20638 h 2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25400">
                  <a:moveTo>
                    <a:pt x="4763" y="20638"/>
                  </a:moveTo>
                  <a:cubicBezTo>
                    <a:pt x="7938" y="15557"/>
                    <a:pt x="14923" y="4763"/>
                    <a:pt x="14923" y="4763"/>
                  </a:cubicBezTo>
                  <a:cubicBezTo>
                    <a:pt x="14923" y="4763"/>
                    <a:pt x="7938" y="15557"/>
                    <a:pt x="4763" y="206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7B5F3D85-2C52-4C7A-AE08-2E74535B90D2}"/>
                </a:ext>
              </a:extLst>
            </p:cNvPr>
            <p:cNvSpPr/>
            <p:nvPr/>
          </p:nvSpPr>
          <p:spPr>
            <a:xfrm>
              <a:off x="6973962" y="2134228"/>
              <a:ext cx="184150" cy="273050"/>
            </a:xfrm>
            <a:custGeom>
              <a:avLst/>
              <a:gdLst>
                <a:gd name="connsiteX0" fmla="*/ 185028 w 184150"/>
                <a:gd name="connsiteY0" fmla="*/ 12707 h 273050"/>
                <a:gd name="connsiteX1" fmla="*/ 94222 w 184150"/>
                <a:gd name="connsiteY1" fmla="*/ 75572 h 273050"/>
                <a:gd name="connsiteX2" fmla="*/ 87238 w 184150"/>
                <a:gd name="connsiteY2" fmla="*/ 123832 h 273050"/>
                <a:gd name="connsiteX3" fmla="*/ 115813 w 184150"/>
                <a:gd name="connsiteY3" fmla="*/ 147962 h 273050"/>
                <a:gd name="connsiteX4" fmla="*/ 89143 w 184150"/>
                <a:gd name="connsiteY4" fmla="*/ 156852 h 273050"/>
                <a:gd name="connsiteX5" fmla="*/ 91682 w 184150"/>
                <a:gd name="connsiteY5" fmla="*/ 172093 h 273050"/>
                <a:gd name="connsiteX6" fmla="*/ 75172 w 184150"/>
                <a:gd name="connsiteY6" fmla="*/ 173997 h 273050"/>
                <a:gd name="connsiteX7" fmla="*/ 94222 w 184150"/>
                <a:gd name="connsiteY7" fmla="*/ 188602 h 273050"/>
                <a:gd name="connsiteX8" fmla="*/ 48503 w 184150"/>
                <a:gd name="connsiteY8" fmla="*/ 220987 h 273050"/>
                <a:gd name="connsiteX9" fmla="*/ 78982 w 184150"/>
                <a:gd name="connsiteY9" fmla="*/ 211462 h 273050"/>
                <a:gd name="connsiteX10" fmla="*/ 56122 w 184150"/>
                <a:gd name="connsiteY10" fmla="*/ 225432 h 273050"/>
                <a:gd name="connsiteX11" fmla="*/ 51043 w 184150"/>
                <a:gd name="connsiteY11" fmla="*/ 236227 h 273050"/>
                <a:gd name="connsiteX12" fmla="*/ 23738 w 184150"/>
                <a:gd name="connsiteY12" fmla="*/ 271152 h 273050"/>
                <a:gd name="connsiteX13" fmla="*/ 18022 w 184150"/>
                <a:gd name="connsiteY13" fmla="*/ 260993 h 273050"/>
                <a:gd name="connsiteX14" fmla="*/ 38343 w 184150"/>
                <a:gd name="connsiteY14" fmla="*/ 237497 h 273050"/>
                <a:gd name="connsiteX15" fmla="*/ 56757 w 184150"/>
                <a:gd name="connsiteY15" fmla="*/ 193682 h 273050"/>
                <a:gd name="connsiteX16" fmla="*/ 38978 w 184150"/>
                <a:gd name="connsiteY16" fmla="*/ 210193 h 273050"/>
                <a:gd name="connsiteX17" fmla="*/ 8497 w 184150"/>
                <a:gd name="connsiteY17" fmla="*/ 216543 h 273050"/>
                <a:gd name="connsiteX18" fmla="*/ 7228 w 184150"/>
                <a:gd name="connsiteY18" fmla="*/ 200032 h 273050"/>
                <a:gd name="connsiteX19" fmla="*/ 44057 w 184150"/>
                <a:gd name="connsiteY19" fmla="*/ 162568 h 273050"/>
                <a:gd name="connsiteX20" fmla="*/ 19928 w 184150"/>
                <a:gd name="connsiteY20" fmla="*/ 160662 h 273050"/>
                <a:gd name="connsiteX21" fmla="*/ 44693 w 184150"/>
                <a:gd name="connsiteY21" fmla="*/ 91447 h 273050"/>
                <a:gd name="connsiteX22" fmla="*/ 39613 w 184150"/>
                <a:gd name="connsiteY22" fmla="*/ 72397 h 273050"/>
                <a:gd name="connsiteX23" fmla="*/ 51678 w 184150"/>
                <a:gd name="connsiteY23" fmla="*/ 71127 h 273050"/>
                <a:gd name="connsiteX24" fmla="*/ 44057 w 184150"/>
                <a:gd name="connsiteY24" fmla="*/ 81287 h 273050"/>
                <a:gd name="connsiteX25" fmla="*/ 134863 w 184150"/>
                <a:gd name="connsiteY25" fmla="*/ 26043 h 273050"/>
                <a:gd name="connsiteX26" fmla="*/ 165978 w 184150"/>
                <a:gd name="connsiteY26" fmla="*/ 5087 h 273050"/>
                <a:gd name="connsiteX27" fmla="*/ 185028 w 184150"/>
                <a:gd name="connsiteY27" fmla="*/ 12707 h 27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4150" h="273050">
                  <a:moveTo>
                    <a:pt x="185028" y="12707"/>
                  </a:moveTo>
                  <a:cubicBezTo>
                    <a:pt x="169153" y="27312"/>
                    <a:pt x="98032" y="69857"/>
                    <a:pt x="94222" y="75572"/>
                  </a:cubicBezTo>
                  <a:cubicBezTo>
                    <a:pt x="84697" y="88907"/>
                    <a:pt x="82793" y="108593"/>
                    <a:pt x="87238" y="123832"/>
                  </a:cubicBezTo>
                  <a:cubicBezTo>
                    <a:pt x="91047" y="135897"/>
                    <a:pt x="115178" y="135262"/>
                    <a:pt x="115813" y="147962"/>
                  </a:cubicBezTo>
                  <a:cubicBezTo>
                    <a:pt x="116447" y="157487"/>
                    <a:pt x="95493" y="150502"/>
                    <a:pt x="89143" y="156852"/>
                  </a:cubicBezTo>
                  <a:cubicBezTo>
                    <a:pt x="85332" y="160662"/>
                    <a:pt x="94857" y="168282"/>
                    <a:pt x="91682" y="172093"/>
                  </a:cubicBezTo>
                  <a:cubicBezTo>
                    <a:pt x="87872" y="176537"/>
                    <a:pt x="74538" y="168282"/>
                    <a:pt x="75172" y="173997"/>
                  </a:cubicBezTo>
                  <a:cubicBezTo>
                    <a:pt x="76443" y="182252"/>
                    <a:pt x="96128" y="180982"/>
                    <a:pt x="94222" y="188602"/>
                  </a:cubicBezTo>
                  <a:cubicBezTo>
                    <a:pt x="86603" y="214637"/>
                    <a:pt x="21197" y="115577"/>
                    <a:pt x="48503" y="220987"/>
                  </a:cubicBezTo>
                  <a:cubicBezTo>
                    <a:pt x="51043" y="231147"/>
                    <a:pt x="69457" y="206382"/>
                    <a:pt x="78982" y="211462"/>
                  </a:cubicBezTo>
                  <a:cubicBezTo>
                    <a:pt x="86603" y="215907"/>
                    <a:pt x="62472" y="219082"/>
                    <a:pt x="56122" y="225432"/>
                  </a:cubicBezTo>
                  <a:cubicBezTo>
                    <a:pt x="52947" y="227972"/>
                    <a:pt x="52947" y="233052"/>
                    <a:pt x="51043" y="236227"/>
                  </a:cubicBezTo>
                  <a:cubicBezTo>
                    <a:pt x="42788" y="248293"/>
                    <a:pt x="35803" y="262262"/>
                    <a:pt x="23738" y="271152"/>
                  </a:cubicBezTo>
                  <a:cubicBezTo>
                    <a:pt x="20563" y="273693"/>
                    <a:pt x="16118" y="264168"/>
                    <a:pt x="18022" y="260993"/>
                  </a:cubicBezTo>
                  <a:cubicBezTo>
                    <a:pt x="21832" y="251468"/>
                    <a:pt x="33263" y="246387"/>
                    <a:pt x="38343" y="237497"/>
                  </a:cubicBezTo>
                  <a:cubicBezTo>
                    <a:pt x="45963" y="224162"/>
                    <a:pt x="56757" y="209557"/>
                    <a:pt x="56757" y="193682"/>
                  </a:cubicBezTo>
                  <a:cubicBezTo>
                    <a:pt x="56757" y="185427"/>
                    <a:pt x="45963" y="207018"/>
                    <a:pt x="38978" y="210193"/>
                  </a:cubicBezTo>
                  <a:cubicBezTo>
                    <a:pt x="29453" y="214637"/>
                    <a:pt x="18022" y="219718"/>
                    <a:pt x="8497" y="216543"/>
                  </a:cubicBezTo>
                  <a:cubicBezTo>
                    <a:pt x="3418" y="214637"/>
                    <a:pt x="4053" y="204477"/>
                    <a:pt x="7228" y="200032"/>
                  </a:cubicBezTo>
                  <a:cubicBezTo>
                    <a:pt x="16753" y="185427"/>
                    <a:pt x="38978" y="179077"/>
                    <a:pt x="44057" y="162568"/>
                  </a:cubicBezTo>
                  <a:cubicBezTo>
                    <a:pt x="46597" y="154947"/>
                    <a:pt x="24372" y="167647"/>
                    <a:pt x="19928" y="160662"/>
                  </a:cubicBezTo>
                  <a:cubicBezTo>
                    <a:pt x="-7378" y="122562"/>
                    <a:pt x="33263" y="117482"/>
                    <a:pt x="44693" y="91447"/>
                  </a:cubicBezTo>
                  <a:cubicBezTo>
                    <a:pt x="47232" y="85097"/>
                    <a:pt x="37072" y="78747"/>
                    <a:pt x="39613" y="72397"/>
                  </a:cubicBezTo>
                  <a:cubicBezTo>
                    <a:pt x="40882" y="68587"/>
                    <a:pt x="49772" y="67952"/>
                    <a:pt x="51678" y="71127"/>
                  </a:cubicBezTo>
                  <a:cubicBezTo>
                    <a:pt x="53582" y="74937"/>
                    <a:pt x="40247" y="82557"/>
                    <a:pt x="44057" y="81287"/>
                  </a:cubicBezTo>
                  <a:cubicBezTo>
                    <a:pt x="63743" y="72397"/>
                    <a:pt x="114543" y="38107"/>
                    <a:pt x="134863" y="26043"/>
                  </a:cubicBezTo>
                  <a:cubicBezTo>
                    <a:pt x="145657" y="19693"/>
                    <a:pt x="153913" y="8262"/>
                    <a:pt x="165978" y="5087"/>
                  </a:cubicBezTo>
                  <a:cubicBezTo>
                    <a:pt x="171057" y="3182"/>
                    <a:pt x="178043" y="10168"/>
                    <a:pt x="185028" y="127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FE5FF089-D405-467F-AAB1-DD3165EA7971}"/>
                </a:ext>
              </a:extLst>
            </p:cNvPr>
            <p:cNvSpPr/>
            <p:nvPr/>
          </p:nvSpPr>
          <p:spPr>
            <a:xfrm>
              <a:off x="6891935" y="2250758"/>
              <a:ext cx="50800" cy="57150"/>
            </a:xfrm>
            <a:custGeom>
              <a:avLst/>
              <a:gdLst>
                <a:gd name="connsiteX0" fmla="*/ 51156 w 50800"/>
                <a:gd name="connsiteY0" fmla="*/ 4763 h 57150"/>
                <a:gd name="connsiteX1" fmla="*/ 5435 w 50800"/>
                <a:gd name="connsiteY1" fmla="*/ 35242 h 57150"/>
                <a:gd name="connsiteX2" fmla="*/ 21310 w 50800"/>
                <a:gd name="connsiteY2" fmla="*/ 52388 h 57150"/>
                <a:gd name="connsiteX3" fmla="*/ 51156 w 50800"/>
                <a:gd name="connsiteY3" fmla="*/ 476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" h="57150">
                  <a:moveTo>
                    <a:pt x="51156" y="4763"/>
                  </a:moveTo>
                  <a:cubicBezTo>
                    <a:pt x="35915" y="14922"/>
                    <a:pt x="15596" y="20002"/>
                    <a:pt x="5435" y="35242"/>
                  </a:cubicBezTo>
                  <a:cubicBezTo>
                    <a:pt x="1625" y="41592"/>
                    <a:pt x="14960" y="56832"/>
                    <a:pt x="21310" y="52388"/>
                  </a:cubicBezTo>
                  <a:cubicBezTo>
                    <a:pt x="37185" y="42227"/>
                    <a:pt x="51156" y="4763"/>
                    <a:pt x="51156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8FA03E5B-4A7C-4051-BDDB-D6949746F7AC}"/>
                </a:ext>
              </a:extLst>
            </p:cNvPr>
            <p:cNvSpPr/>
            <p:nvPr/>
          </p:nvSpPr>
          <p:spPr>
            <a:xfrm>
              <a:off x="11225222" y="3816667"/>
              <a:ext cx="31750" cy="50800"/>
            </a:xfrm>
            <a:custGeom>
              <a:avLst/>
              <a:gdLst>
                <a:gd name="connsiteX0" fmla="*/ 33328 w 31750"/>
                <a:gd name="connsiteY0" fmla="*/ 4763 h 50800"/>
                <a:gd name="connsiteX1" fmla="*/ 7928 w 31750"/>
                <a:gd name="connsiteY1" fmla="*/ 51117 h 50800"/>
                <a:gd name="connsiteX2" fmla="*/ 16819 w 31750"/>
                <a:gd name="connsiteY2" fmla="*/ 18098 h 50800"/>
                <a:gd name="connsiteX3" fmla="*/ 33328 w 31750"/>
                <a:gd name="connsiteY3" fmla="*/ 4763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50800">
                  <a:moveTo>
                    <a:pt x="33328" y="4763"/>
                  </a:moveTo>
                  <a:cubicBezTo>
                    <a:pt x="25073" y="20003"/>
                    <a:pt x="21898" y="40323"/>
                    <a:pt x="7928" y="51117"/>
                  </a:cubicBezTo>
                  <a:cubicBezTo>
                    <a:pt x="-962" y="58103"/>
                    <a:pt x="11103" y="28258"/>
                    <a:pt x="16819" y="18098"/>
                  </a:cubicBezTo>
                  <a:cubicBezTo>
                    <a:pt x="19994" y="11748"/>
                    <a:pt x="33328" y="4763"/>
                    <a:pt x="33328" y="47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A8F55C9D-FA3D-4B2B-BA0B-E19925DDAE09}"/>
                </a:ext>
              </a:extLst>
            </p:cNvPr>
            <p:cNvSpPr/>
            <p:nvPr/>
          </p:nvSpPr>
          <p:spPr>
            <a:xfrm>
              <a:off x="11793896" y="3076744"/>
              <a:ext cx="12700" cy="19050"/>
            </a:xfrm>
            <a:custGeom>
              <a:avLst/>
              <a:gdLst>
                <a:gd name="connsiteX0" fmla="*/ 5674 w 12700"/>
                <a:gd name="connsiteY0" fmla="*/ 4911 h 19050"/>
                <a:gd name="connsiteX1" fmla="*/ 8849 w 12700"/>
                <a:gd name="connsiteY1" fmla="*/ 1697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00" h="19050">
                  <a:moveTo>
                    <a:pt x="5674" y="4911"/>
                  </a:moveTo>
                  <a:cubicBezTo>
                    <a:pt x="1864" y="3006"/>
                    <a:pt x="11389" y="20151"/>
                    <a:pt x="8849" y="1697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DE40063E-ABAA-4FC1-B9DE-B003A20F1DEC}"/>
                </a:ext>
              </a:extLst>
            </p:cNvPr>
            <p:cNvSpPr/>
            <p:nvPr/>
          </p:nvSpPr>
          <p:spPr>
            <a:xfrm>
              <a:off x="10788968" y="4691063"/>
              <a:ext cx="6350" cy="12700"/>
            </a:xfrm>
            <a:custGeom>
              <a:avLst/>
              <a:gdLst>
                <a:gd name="connsiteX0" fmla="*/ 6032 w 6350"/>
                <a:gd name="connsiteY0" fmla="*/ 4763 h 12700"/>
                <a:gd name="connsiteX1" fmla="*/ 4763 w 6350"/>
                <a:gd name="connsiteY1" fmla="*/ 11747 h 12700"/>
                <a:gd name="connsiteX2" fmla="*/ 6032 w 6350"/>
                <a:gd name="connsiteY2" fmla="*/ 4763 h 12700"/>
                <a:gd name="connsiteX3" fmla="*/ 6032 w 6350"/>
                <a:gd name="connsiteY3" fmla="*/ 4763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" h="12700">
                  <a:moveTo>
                    <a:pt x="6032" y="4763"/>
                  </a:moveTo>
                  <a:cubicBezTo>
                    <a:pt x="5397" y="7303"/>
                    <a:pt x="4763" y="11747"/>
                    <a:pt x="4763" y="11747"/>
                  </a:cubicBezTo>
                  <a:cubicBezTo>
                    <a:pt x="4763" y="11747"/>
                    <a:pt x="5397" y="6667"/>
                    <a:pt x="6032" y="4763"/>
                  </a:cubicBezTo>
                  <a:lnTo>
                    <a:pt x="6032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02E54E1A-BA52-4A64-8B17-9408C22E2EBF}"/>
                </a:ext>
              </a:extLst>
            </p:cNvPr>
            <p:cNvSpPr/>
            <p:nvPr/>
          </p:nvSpPr>
          <p:spPr>
            <a:xfrm>
              <a:off x="11812768" y="3906630"/>
              <a:ext cx="25400" cy="152400"/>
            </a:xfrm>
            <a:custGeom>
              <a:avLst/>
              <a:gdLst>
                <a:gd name="connsiteX0" fmla="*/ 10297 w 25400"/>
                <a:gd name="connsiteY0" fmla="*/ 105936 h 152400"/>
                <a:gd name="connsiteX1" fmla="*/ 20457 w 25400"/>
                <a:gd name="connsiteY1" fmla="*/ 5605 h 152400"/>
                <a:gd name="connsiteX2" fmla="*/ 16012 w 25400"/>
                <a:gd name="connsiteY2" fmla="*/ 15130 h 152400"/>
                <a:gd name="connsiteX3" fmla="*/ 22362 w 25400"/>
                <a:gd name="connsiteY3" fmla="*/ 50691 h 152400"/>
                <a:gd name="connsiteX4" fmla="*/ 14742 w 25400"/>
                <a:gd name="connsiteY4" fmla="*/ 111650 h 152400"/>
                <a:gd name="connsiteX5" fmla="*/ 8392 w 25400"/>
                <a:gd name="connsiteY5" fmla="*/ 149750 h 152400"/>
                <a:gd name="connsiteX6" fmla="*/ 10297 w 25400"/>
                <a:gd name="connsiteY6" fmla="*/ 10593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400" h="152400">
                  <a:moveTo>
                    <a:pt x="10297" y="105936"/>
                  </a:moveTo>
                  <a:cubicBezTo>
                    <a:pt x="13472" y="72280"/>
                    <a:pt x="17917" y="39261"/>
                    <a:pt x="20457" y="5605"/>
                  </a:cubicBezTo>
                  <a:cubicBezTo>
                    <a:pt x="20457" y="1795"/>
                    <a:pt x="16012" y="11955"/>
                    <a:pt x="16012" y="15130"/>
                  </a:cubicBezTo>
                  <a:cubicBezTo>
                    <a:pt x="16647" y="27195"/>
                    <a:pt x="21726" y="38625"/>
                    <a:pt x="22362" y="50691"/>
                  </a:cubicBezTo>
                  <a:cubicBezTo>
                    <a:pt x="22362" y="58311"/>
                    <a:pt x="17282" y="98316"/>
                    <a:pt x="14742" y="111650"/>
                  </a:cubicBezTo>
                  <a:cubicBezTo>
                    <a:pt x="12837" y="124350"/>
                    <a:pt x="16012" y="159911"/>
                    <a:pt x="8392" y="149750"/>
                  </a:cubicBezTo>
                  <a:cubicBezTo>
                    <a:pt x="-499" y="138320"/>
                    <a:pt x="9662" y="120541"/>
                    <a:pt x="10297" y="1059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3558ABA1-0DA8-4821-92BF-A462F9B65738}"/>
                </a:ext>
              </a:extLst>
            </p:cNvPr>
            <p:cNvSpPr/>
            <p:nvPr/>
          </p:nvSpPr>
          <p:spPr>
            <a:xfrm>
              <a:off x="6452553" y="4580572"/>
              <a:ext cx="31750" cy="44450"/>
            </a:xfrm>
            <a:custGeom>
              <a:avLst/>
              <a:gdLst>
                <a:gd name="connsiteX0" fmla="*/ 29527 w 31750"/>
                <a:gd name="connsiteY0" fmla="*/ 42228 h 44450"/>
                <a:gd name="connsiteX1" fmla="*/ 4763 w 31750"/>
                <a:gd name="connsiteY1" fmla="*/ 4763 h 44450"/>
                <a:gd name="connsiteX2" fmla="*/ 29527 w 31750"/>
                <a:gd name="connsiteY2" fmla="*/ 42228 h 44450"/>
                <a:gd name="connsiteX3" fmla="*/ 29527 w 31750"/>
                <a:gd name="connsiteY3" fmla="*/ 42228 h 4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750" h="44450">
                  <a:moveTo>
                    <a:pt x="29527" y="42228"/>
                  </a:moveTo>
                  <a:cubicBezTo>
                    <a:pt x="21272" y="29528"/>
                    <a:pt x="4763" y="4763"/>
                    <a:pt x="4763" y="4763"/>
                  </a:cubicBezTo>
                  <a:cubicBezTo>
                    <a:pt x="4763" y="4763"/>
                    <a:pt x="21272" y="29528"/>
                    <a:pt x="29527" y="42228"/>
                  </a:cubicBezTo>
                  <a:lnTo>
                    <a:pt x="29527" y="422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C7D7D9BC-364B-454C-9461-174622D8CCED}"/>
                </a:ext>
              </a:extLst>
            </p:cNvPr>
            <p:cNvSpPr/>
            <p:nvPr/>
          </p:nvSpPr>
          <p:spPr>
            <a:xfrm>
              <a:off x="6435408" y="4536122"/>
              <a:ext cx="12700" cy="19050"/>
            </a:xfrm>
            <a:custGeom>
              <a:avLst/>
              <a:gdLst>
                <a:gd name="connsiteX0" fmla="*/ 4763 w 12700"/>
                <a:gd name="connsiteY0" fmla="*/ 4763 h 19050"/>
                <a:gd name="connsiteX1" fmla="*/ 7938 w 12700"/>
                <a:gd name="connsiteY1" fmla="*/ 15558 h 19050"/>
                <a:gd name="connsiteX2" fmla="*/ 4763 w 12700"/>
                <a:gd name="connsiteY2" fmla="*/ 4763 h 19050"/>
                <a:gd name="connsiteX3" fmla="*/ 4763 w 12700"/>
                <a:gd name="connsiteY3" fmla="*/ 476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" h="19050">
                  <a:moveTo>
                    <a:pt x="4763" y="4763"/>
                  </a:moveTo>
                  <a:cubicBezTo>
                    <a:pt x="6033" y="8573"/>
                    <a:pt x="7938" y="15558"/>
                    <a:pt x="7938" y="15558"/>
                  </a:cubicBezTo>
                  <a:cubicBezTo>
                    <a:pt x="7938" y="15558"/>
                    <a:pt x="6033" y="8573"/>
                    <a:pt x="4763" y="4763"/>
                  </a:cubicBezTo>
                  <a:lnTo>
                    <a:pt x="4763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3B5AD1A2-F037-4F80-B987-10C2ECC09CD9}"/>
                </a:ext>
              </a:extLst>
            </p:cNvPr>
            <p:cNvSpPr/>
            <p:nvPr/>
          </p:nvSpPr>
          <p:spPr>
            <a:xfrm>
              <a:off x="10544493" y="5630221"/>
              <a:ext cx="400050" cy="355600"/>
            </a:xfrm>
            <a:custGeom>
              <a:avLst/>
              <a:gdLst>
                <a:gd name="connsiteX0" fmla="*/ 4763 w 400050"/>
                <a:gd name="connsiteY0" fmla="*/ 351479 h 355600"/>
                <a:gd name="connsiteX1" fmla="*/ 83502 w 400050"/>
                <a:gd name="connsiteY1" fmla="*/ 293694 h 355600"/>
                <a:gd name="connsiteX2" fmla="*/ 101282 w 400050"/>
                <a:gd name="connsiteY2" fmla="*/ 264484 h 355600"/>
                <a:gd name="connsiteX3" fmla="*/ 144463 w 400050"/>
                <a:gd name="connsiteY3" fmla="*/ 223844 h 355600"/>
                <a:gd name="connsiteX4" fmla="*/ 224472 w 400050"/>
                <a:gd name="connsiteY4" fmla="*/ 170504 h 355600"/>
                <a:gd name="connsiteX5" fmla="*/ 254317 w 400050"/>
                <a:gd name="connsiteY5" fmla="*/ 142564 h 355600"/>
                <a:gd name="connsiteX6" fmla="*/ 249238 w 400050"/>
                <a:gd name="connsiteY6" fmla="*/ 149549 h 355600"/>
                <a:gd name="connsiteX7" fmla="*/ 300038 w 400050"/>
                <a:gd name="connsiteY7" fmla="*/ 106369 h 355600"/>
                <a:gd name="connsiteX8" fmla="*/ 294957 w 400050"/>
                <a:gd name="connsiteY8" fmla="*/ 105734 h 355600"/>
                <a:gd name="connsiteX9" fmla="*/ 352107 w 400050"/>
                <a:gd name="connsiteY9" fmla="*/ 53029 h 355600"/>
                <a:gd name="connsiteX10" fmla="*/ 391477 w 400050"/>
                <a:gd name="connsiteY10" fmla="*/ 4769 h 355600"/>
                <a:gd name="connsiteX11" fmla="*/ 345122 w 400050"/>
                <a:gd name="connsiteY11" fmla="*/ 81604 h 355600"/>
                <a:gd name="connsiteX12" fmla="*/ 329882 w 400050"/>
                <a:gd name="connsiteY12" fmla="*/ 103829 h 355600"/>
                <a:gd name="connsiteX13" fmla="*/ 105092 w 400050"/>
                <a:gd name="connsiteY13" fmla="*/ 293059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0050" h="355600">
                  <a:moveTo>
                    <a:pt x="4763" y="351479"/>
                  </a:moveTo>
                  <a:cubicBezTo>
                    <a:pt x="8572" y="348939"/>
                    <a:pt x="79057" y="298139"/>
                    <a:pt x="83502" y="293694"/>
                  </a:cubicBezTo>
                  <a:cubicBezTo>
                    <a:pt x="91757" y="285439"/>
                    <a:pt x="93663" y="272739"/>
                    <a:pt x="101282" y="264484"/>
                  </a:cubicBezTo>
                  <a:cubicBezTo>
                    <a:pt x="113982" y="249879"/>
                    <a:pt x="129222" y="236544"/>
                    <a:pt x="144463" y="223844"/>
                  </a:cubicBezTo>
                  <a:cubicBezTo>
                    <a:pt x="168592" y="204794"/>
                    <a:pt x="201613" y="189554"/>
                    <a:pt x="224472" y="170504"/>
                  </a:cubicBezTo>
                  <a:cubicBezTo>
                    <a:pt x="235267" y="161614"/>
                    <a:pt x="244157" y="151454"/>
                    <a:pt x="254317" y="142564"/>
                  </a:cubicBezTo>
                  <a:cubicBezTo>
                    <a:pt x="256222" y="140659"/>
                    <a:pt x="246697" y="151454"/>
                    <a:pt x="249238" y="149549"/>
                  </a:cubicBezTo>
                  <a:cubicBezTo>
                    <a:pt x="266382" y="135579"/>
                    <a:pt x="284163" y="121609"/>
                    <a:pt x="300038" y="106369"/>
                  </a:cubicBezTo>
                  <a:cubicBezTo>
                    <a:pt x="301307" y="105099"/>
                    <a:pt x="293688" y="107639"/>
                    <a:pt x="294957" y="105734"/>
                  </a:cubicBezTo>
                  <a:cubicBezTo>
                    <a:pt x="310832" y="85414"/>
                    <a:pt x="333692" y="71444"/>
                    <a:pt x="352107" y="53029"/>
                  </a:cubicBezTo>
                  <a:cubicBezTo>
                    <a:pt x="357822" y="47314"/>
                    <a:pt x="390842" y="4134"/>
                    <a:pt x="391477" y="4769"/>
                  </a:cubicBezTo>
                  <a:cubicBezTo>
                    <a:pt x="414338" y="39059"/>
                    <a:pt x="357822" y="68269"/>
                    <a:pt x="345122" y="81604"/>
                  </a:cubicBezTo>
                  <a:cubicBezTo>
                    <a:pt x="338772" y="87954"/>
                    <a:pt x="335597" y="97479"/>
                    <a:pt x="329882" y="103829"/>
                  </a:cubicBezTo>
                  <a:cubicBezTo>
                    <a:pt x="266382" y="176219"/>
                    <a:pt x="184467" y="238449"/>
                    <a:pt x="105092" y="29305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900432F7-811A-4AC1-B7BD-22C5EE1218C7}"/>
                </a:ext>
              </a:extLst>
            </p:cNvPr>
            <p:cNvSpPr/>
            <p:nvPr/>
          </p:nvSpPr>
          <p:spPr>
            <a:xfrm>
              <a:off x="10538143" y="5976938"/>
              <a:ext cx="12700" cy="19050"/>
            </a:xfrm>
            <a:custGeom>
              <a:avLst/>
              <a:gdLst>
                <a:gd name="connsiteX0" fmla="*/ 4763 w 12700"/>
                <a:gd name="connsiteY0" fmla="*/ 16828 h 19050"/>
                <a:gd name="connsiteX1" fmla="*/ 10477 w 12700"/>
                <a:gd name="connsiteY1" fmla="*/ 4763 h 19050"/>
                <a:gd name="connsiteX2" fmla="*/ 10477 w 12700"/>
                <a:gd name="connsiteY2" fmla="*/ 476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" h="19050">
                  <a:moveTo>
                    <a:pt x="4763" y="16828"/>
                  </a:moveTo>
                  <a:cubicBezTo>
                    <a:pt x="6667" y="13017"/>
                    <a:pt x="8572" y="8572"/>
                    <a:pt x="10477" y="4763"/>
                  </a:cubicBezTo>
                  <a:lnTo>
                    <a:pt x="10477" y="4763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D3613CCA-6185-4DB0-A1CE-3B8665313566}"/>
                </a:ext>
              </a:extLst>
            </p:cNvPr>
            <p:cNvSpPr/>
            <p:nvPr/>
          </p:nvSpPr>
          <p:spPr>
            <a:xfrm>
              <a:off x="6553168" y="838518"/>
              <a:ext cx="2419350" cy="1587500"/>
            </a:xfrm>
            <a:custGeom>
              <a:avLst/>
              <a:gdLst>
                <a:gd name="connsiteX0" fmla="*/ 5112 w 2419350"/>
                <a:gd name="connsiteY0" fmla="*/ 1582103 h 1587500"/>
                <a:gd name="connsiteX1" fmla="*/ 1664367 w 2419350"/>
                <a:gd name="connsiteY1" fmla="*/ 136207 h 1587500"/>
                <a:gd name="connsiteX2" fmla="*/ 2411127 w 2419350"/>
                <a:gd name="connsiteY2" fmla="*/ 6032 h 1587500"/>
                <a:gd name="connsiteX3" fmla="*/ 2414938 w 2419350"/>
                <a:gd name="connsiteY3" fmla="*/ 4763 h 1587500"/>
                <a:gd name="connsiteX4" fmla="*/ 1981232 w 2419350"/>
                <a:gd name="connsiteY4" fmla="*/ 63182 h 1587500"/>
                <a:gd name="connsiteX5" fmla="*/ 1898682 w 2419350"/>
                <a:gd name="connsiteY5" fmla="*/ 86043 h 1587500"/>
                <a:gd name="connsiteX6" fmla="*/ 1834547 w 2419350"/>
                <a:gd name="connsiteY6" fmla="*/ 112713 h 1587500"/>
                <a:gd name="connsiteX7" fmla="*/ 1799622 w 2419350"/>
                <a:gd name="connsiteY7" fmla="*/ 119063 h 1587500"/>
                <a:gd name="connsiteX8" fmla="*/ 1763427 w 2419350"/>
                <a:gd name="connsiteY8" fmla="*/ 135572 h 1587500"/>
                <a:gd name="connsiteX9" fmla="*/ 1653572 w 2419350"/>
                <a:gd name="connsiteY9" fmla="*/ 173672 h 1587500"/>
                <a:gd name="connsiteX10" fmla="*/ 1625632 w 2419350"/>
                <a:gd name="connsiteY10" fmla="*/ 187643 h 1587500"/>
                <a:gd name="connsiteX11" fmla="*/ 1588167 w 2419350"/>
                <a:gd name="connsiteY11" fmla="*/ 193993 h 1587500"/>
                <a:gd name="connsiteX12" fmla="*/ 1536732 w 2419350"/>
                <a:gd name="connsiteY12" fmla="*/ 221932 h 1587500"/>
                <a:gd name="connsiteX13" fmla="*/ 1532922 w 2419350"/>
                <a:gd name="connsiteY13" fmla="*/ 228282 h 1587500"/>
                <a:gd name="connsiteX14" fmla="*/ 1492917 w 2419350"/>
                <a:gd name="connsiteY14" fmla="*/ 243522 h 1587500"/>
                <a:gd name="connsiteX15" fmla="*/ 1527842 w 2419350"/>
                <a:gd name="connsiteY15" fmla="*/ 248602 h 1587500"/>
                <a:gd name="connsiteX16" fmla="*/ 1435132 w 2419350"/>
                <a:gd name="connsiteY16" fmla="*/ 291782 h 1587500"/>
                <a:gd name="connsiteX17" fmla="*/ 1404652 w 2419350"/>
                <a:gd name="connsiteY17" fmla="*/ 318452 h 1587500"/>
                <a:gd name="connsiteX18" fmla="*/ 1385602 w 2419350"/>
                <a:gd name="connsiteY18" fmla="*/ 334327 h 1587500"/>
                <a:gd name="connsiteX19" fmla="*/ 1433227 w 2419350"/>
                <a:gd name="connsiteY19" fmla="*/ 317182 h 1587500"/>
                <a:gd name="connsiteX20" fmla="*/ 1411002 w 2419350"/>
                <a:gd name="connsiteY20" fmla="*/ 331788 h 1587500"/>
                <a:gd name="connsiteX21" fmla="*/ 1361472 w 2419350"/>
                <a:gd name="connsiteY21" fmla="*/ 347027 h 1587500"/>
                <a:gd name="connsiteX22" fmla="*/ 1327817 w 2419350"/>
                <a:gd name="connsiteY22" fmla="*/ 360363 h 1587500"/>
                <a:gd name="connsiteX23" fmla="*/ 1426242 w 2419350"/>
                <a:gd name="connsiteY23" fmla="*/ 344488 h 1587500"/>
                <a:gd name="connsiteX24" fmla="*/ 1417352 w 2419350"/>
                <a:gd name="connsiteY24" fmla="*/ 341947 h 1587500"/>
                <a:gd name="connsiteX25" fmla="*/ 1471327 w 2419350"/>
                <a:gd name="connsiteY25" fmla="*/ 320357 h 1587500"/>
                <a:gd name="connsiteX26" fmla="*/ 1495457 w 2419350"/>
                <a:gd name="connsiteY26" fmla="*/ 310197 h 1587500"/>
                <a:gd name="connsiteX27" fmla="*/ 1507522 w 2419350"/>
                <a:gd name="connsiteY27" fmla="*/ 328613 h 1587500"/>
                <a:gd name="connsiteX28" fmla="*/ 1464977 w 2419350"/>
                <a:gd name="connsiteY28" fmla="*/ 348932 h 1587500"/>
                <a:gd name="connsiteX29" fmla="*/ 1449102 w 2419350"/>
                <a:gd name="connsiteY29" fmla="*/ 343852 h 1587500"/>
                <a:gd name="connsiteX30" fmla="*/ 1433227 w 2419350"/>
                <a:gd name="connsiteY30" fmla="*/ 355282 h 1587500"/>
                <a:gd name="connsiteX31" fmla="*/ 1432592 w 2419350"/>
                <a:gd name="connsiteY31" fmla="*/ 357188 h 1587500"/>
                <a:gd name="connsiteX32" fmla="*/ 1395763 w 2419350"/>
                <a:gd name="connsiteY32" fmla="*/ 375602 h 1587500"/>
                <a:gd name="connsiteX33" fmla="*/ 1364647 w 2419350"/>
                <a:gd name="connsiteY33" fmla="*/ 386397 h 1587500"/>
                <a:gd name="connsiteX34" fmla="*/ 1358932 w 2419350"/>
                <a:gd name="connsiteY34" fmla="*/ 405447 h 1587500"/>
                <a:gd name="connsiteX35" fmla="*/ 1356392 w 2419350"/>
                <a:gd name="connsiteY35" fmla="*/ 401638 h 1587500"/>
                <a:gd name="connsiteX36" fmla="*/ 1299242 w 2419350"/>
                <a:gd name="connsiteY36" fmla="*/ 430847 h 1587500"/>
                <a:gd name="connsiteX37" fmla="*/ 1306227 w 2419350"/>
                <a:gd name="connsiteY37" fmla="*/ 430213 h 1587500"/>
                <a:gd name="connsiteX38" fmla="*/ 1365282 w 2419350"/>
                <a:gd name="connsiteY38" fmla="*/ 418782 h 1587500"/>
                <a:gd name="connsiteX39" fmla="*/ 1361472 w 2419350"/>
                <a:gd name="connsiteY39" fmla="*/ 426402 h 1587500"/>
                <a:gd name="connsiteX40" fmla="*/ 1373538 w 2419350"/>
                <a:gd name="connsiteY40" fmla="*/ 420052 h 1587500"/>
                <a:gd name="connsiteX41" fmla="*/ 1421163 w 2419350"/>
                <a:gd name="connsiteY41" fmla="*/ 401638 h 1587500"/>
                <a:gd name="connsiteX42" fmla="*/ 1397667 w 2419350"/>
                <a:gd name="connsiteY42" fmla="*/ 433388 h 1587500"/>
                <a:gd name="connsiteX43" fmla="*/ 1344327 w 2419350"/>
                <a:gd name="connsiteY43" fmla="*/ 459422 h 1587500"/>
                <a:gd name="connsiteX44" fmla="*/ 1338613 w 2419350"/>
                <a:gd name="connsiteY44" fmla="*/ 450532 h 1587500"/>
                <a:gd name="connsiteX45" fmla="*/ 1323372 w 2419350"/>
                <a:gd name="connsiteY45" fmla="*/ 458788 h 1587500"/>
                <a:gd name="connsiteX46" fmla="*/ 1285907 w 2419350"/>
                <a:gd name="connsiteY46" fmla="*/ 481647 h 1587500"/>
                <a:gd name="connsiteX47" fmla="*/ 1263682 w 2419350"/>
                <a:gd name="connsiteY47" fmla="*/ 487997 h 1587500"/>
                <a:gd name="connsiteX48" fmla="*/ 1274477 w 2419350"/>
                <a:gd name="connsiteY48" fmla="*/ 453707 h 1587500"/>
                <a:gd name="connsiteX49" fmla="*/ 1209707 w 2419350"/>
                <a:gd name="connsiteY49" fmla="*/ 461327 h 1587500"/>
                <a:gd name="connsiteX50" fmla="*/ 1252888 w 2419350"/>
                <a:gd name="connsiteY50" fmla="*/ 427672 h 1587500"/>
                <a:gd name="connsiteX51" fmla="*/ 1266222 w 2419350"/>
                <a:gd name="connsiteY51" fmla="*/ 409893 h 1587500"/>
                <a:gd name="connsiteX52" fmla="*/ 1247807 w 2419350"/>
                <a:gd name="connsiteY52" fmla="*/ 427672 h 1587500"/>
                <a:gd name="connsiteX53" fmla="*/ 1221138 w 2419350"/>
                <a:gd name="connsiteY53" fmla="*/ 444818 h 1587500"/>
                <a:gd name="connsiteX54" fmla="*/ 1203992 w 2419350"/>
                <a:gd name="connsiteY54" fmla="*/ 467043 h 1587500"/>
                <a:gd name="connsiteX55" fmla="*/ 1161447 w 2419350"/>
                <a:gd name="connsiteY55" fmla="*/ 476568 h 1587500"/>
                <a:gd name="connsiteX56" fmla="*/ 1205263 w 2419350"/>
                <a:gd name="connsiteY56" fmla="*/ 416877 h 1587500"/>
                <a:gd name="connsiteX57" fmla="*/ 1191292 w 2419350"/>
                <a:gd name="connsiteY57" fmla="*/ 423227 h 1587500"/>
                <a:gd name="connsiteX58" fmla="*/ 1171607 w 2419350"/>
                <a:gd name="connsiteY58" fmla="*/ 441643 h 1587500"/>
                <a:gd name="connsiteX59" fmla="*/ 1130967 w 2419350"/>
                <a:gd name="connsiteY59" fmla="*/ 469582 h 1587500"/>
                <a:gd name="connsiteX60" fmla="*/ 1124617 w 2419350"/>
                <a:gd name="connsiteY60" fmla="*/ 467043 h 1587500"/>
                <a:gd name="connsiteX61" fmla="*/ 1038257 w 2419350"/>
                <a:gd name="connsiteY61" fmla="*/ 482282 h 1587500"/>
                <a:gd name="connsiteX62" fmla="*/ 974122 w 2419350"/>
                <a:gd name="connsiteY62" fmla="*/ 517843 h 1587500"/>
                <a:gd name="connsiteX63" fmla="*/ 983647 w 2419350"/>
                <a:gd name="connsiteY63" fmla="*/ 513397 h 1587500"/>
                <a:gd name="connsiteX64" fmla="*/ 908717 w 2419350"/>
                <a:gd name="connsiteY64" fmla="*/ 565468 h 1587500"/>
                <a:gd name="connsiteX65" fmla="*/ 896652 w 2419350"/>
                <a:gd name="connsiteY65" fmla="*/ 569277 h 1587500"/>
                <a:gd name="connsiteX66" fmla="*/ 891572 w 2419350"/>
                <a:gd name="connsiteY66" fmla="*/ 585152 h 1587500"/>
                <a:gd name="connsiteX67" fmla="*/ 809657 w 2419350"/>
                <a:gd name="connsiteY67" fmla="*/ 660083 h 1587500"/>
                <a:gd name="connsiteX68" fmla="*/ 783622 w 2419350"/>
                <a:gd name="connsiteY68" fmla="*/ 690563 h 1587500"/>
                <a:gd name="connsiteX69" fmla="*/ 763302 w 2419350"/>
                <a:gd name="connsiteY69" fmla="*/ 710883 h 1587500"/>
                <a:gd name="connsiteX70" fmla="*/ 751238 w 2419350"/>
                <a:gd name="connsiteY70" fmla="*/ 716597 h 1587500"/>
                <a:gd name="connsiteX71" fmla="*/ 734727 w 2419350"/>
                <a:gd name="connsiteY71" fmla="*/ 757238 h 1587500"/>
                <a:gd name="connsiteX72" fmla="*/ 698532 w 2419350"/>
                <a:gd name="connsiteY72" fmla="*/ 780733 h 1587500"/>
                <a:gd name="connsiteX73" fmla="*/ 588677 w 2419350"/>
                <a:gd name="connsiteY73" fmla="*/ 882333 h 1587500"/>
                <a:gd name="connsiteX74" fmla="*/ 544227 w 2419350"/>
                <a:gd name="connsiteY74" fmla="*/ 932497 h 1587500"/>
                <a:gd name="connsiteX75" fmla="*/ 579788 w 2419350"/>
                <a:gd name="connsiteY75" fmla="*/ 903287 h 1587500"/>
                <a:gd name="connsiteX76" fmla="*/ 596297 w 2419350"/>
                <a:gd name="connsiteY76" fmla="*/ 901383 h 1587500"/>
                <a:gd name="connsiteX77" fmla="*/ 629952 w 2419350"/>
                <a:gd name="connsiteY77" fmla="*/ 868362 h 1587500"/>
                <a:gd name="connsiteX78" fmla="*/ 661067 w 2419350"/>
                <a:gd name="connsiteY78" fmla="*/ 846137 h 1587500"/>
                <a:gd name="connsiteX79" fmla="*/ 699167 w 2419350"/>
                <a:gd name="connsiteY79" fmla="*/ 808672 h 1587500"/>
                <a:gd name="connsiteX80" fmla="*/ 728377 w 2419350"/>
                <a:gd name="connsiteY80" fmla="*/ 818833 h 1587500"/>
                <a:gd name="connsiteX81" fmla="*/ 793782 w 2419350"/>
                <a:gd name="connsiteY81" fmla="*/ 781368 h 1587500"/>
                <a:gd name="connsiteX82" fmla="*/ 861092 w 2419350"/>
                <a:gd name="connsiteY82" fmla="*/ 715963 h 1587500"/>
                <a:gd name="connsiteX83" fmla="*/ 922688 w 2419350"/>
                <a:gd name="connsiteY83" fmla="*/ 689927 h 1587500"/>
                <a:gd name="connsiteX84" fmla="*/ 989363 w 2419350"/>
                <a:gd name="connsiteY84" fmla="*/ 654368 h 1587500"/>
                <a:gd name="connsiteX85" fmla="*/ 1028732 w 2419350"/>
                <a:gd name="connsiteY85" fmla="*/ 627063 h 1587500"/>
                <a:gd name="connsiteX86" fmla="*/ 1039527 w 2419350"/>
                <a:gd name="connsiteY86" fmla="*/ 628333 h 1587500"/>
                <a:gd name="connsiteX87" fmla="*/ 1020477 w 2419350"/>
                <a:gd name="connsiteY87" fmla="*/ 658177 h 1587500"/>
                <a:gd name="connsiteX88" fmla="*/ 1014763 w 2419350"/>
                <a:gd name="connsiteY88" fmla="*/ 658177 h 1587500"/>
                <a:gd name="connsiteX89" fmla="*/ 990632 w 2419350"/>
                <a:gd name="connsiteY89" fmla="*/ 715963 h 1587500"/>
                <a:gd name="connsiteX90" fmla="*/ 983013 w 2419350"/>
                <a:gd name="connsiteY90" fmla="*/ 717868 h 1587500"/>
                <a:gd name="connsiteX91" fmla="*/ 963327 w 2419350"/>
                <a:gd name="connsiteY91" fmla="*/ 738188 h 1587500"/>
                <a:gd name="connsiteX92" fmla="*/ 952532 w 2419350"/>
                <a:gd name="connsiteY92" fmla="*/ 773747 h 1587500"/>
                <a:gd name="connsiteX93" fmla="*/ 912527 w 2419350"/>
                <a:gd name="connsiteY93" fmla="*/ 776288 h 1587500"/>
                <a:gd name="connsiteX94" fmla="*/ 908717 w 2419350"/>
                <a:gd name="connsiteY94" fmla="*/ 796608 h 1587500"/>
                <a:gd name="connsiteX95" fmla="*/ 878872 w 2419350"/>
                <a:gd name="connsiteY95" fmla="*/ 815658 h 1587500"/>
                <a:gd name="connsiteX96" fmla="*/ 878872 w 2419350"/>
                <a:gd name="connsiteY96" fmla="*/ 822643 h 1587500"/>
                <a:gd name="connsiteX97" fmla="*/ 845217 w 2419350"/>
                <a:gd name="connsiteY97" fmla="*/ 860743 h 1587500"/>
                <a:gd name="connsiteX98" fmla="*/ 808388 w 2419350"/>
                <a:gd name="connsiteY98" fmla="*/ 868997 h 1587500"/>
                <a:gd name="connsiteX99" fmla="*/ 871252 w 2419350"/>
                <a:gd name="connsiteY99" fmla="*/ 878522 h 1587500"/>
                <a:gd name="connsiteX100" fmla="*/ 893477 w 2419350"/>
                <a:gd name="connsiteY100" fmla="*/ 867728 h 1587500"/>
                <a:gd name="connsiteX101" fmla="*/ 936657 w 2419350"/>
                <a:gd name="connsiteY101" fmla="*/ 849312 h 1587500"/>
                <a:gd name="connsiteX102" fmla="*/ 893477 w 2419350"/>
                <a:gd name="connsiteY102" fmla="*/ 891222 h 1587500"/>
                <a:gd name="connsiteX103" fmla="*/ 891572 w 2419350"/>
                <a:gd name="connsiteY103" fmla="*/ 903922 h 1587500"/>
                <a:gd name="connsiteX104" fmla="*/ 845852 w 2419350"/>
                <a:gd name="connsiteY104" fmla="*/ 933768 h 1587500"/>
                <a:gd name="connsiteX105" fmla="*/ 858552 w 2419350"/>
                <a:gd name="connsiteY105" fmla="*/ 942022 h 1587500"/>
                <a:gd name="connsiteX106" fmla="*/ 833152 w 2419350"/>
                <a:gd name="connsiteY106" fmla="*/ 959168 h 1587500"/>
                <a:gd name="connsiteX107" fmla="*/ 780447 w 2419350"/>
                <a:gd name="connsiteY107" fmla="*/ 1008062 h 1587500"/>
                <a:gd name="connsiteX108" fmla="*/ 782352 w 2419350"/>
                <a:gd name="connsiteY108" fmla="*/ 1001078 h 1587500"/>
                <a:gd name="connsiteX109" fmla="*/ 762667 w 2419350"/>
                <a:gd name="connsiteY109" fmla="*/ 1038543 h 1587500"/>
                <a:gd name="connsiteX110" fmla="*/ 713138 w 2419350"/>
                <a:gd name="connsiteY110" fmla="*/ 1093153 h 1587500"/>
                <a:gd name="connsiteX111" fmla="*/ 728377 w 2419350"/>
                <a:gd name="connsiteY111" fmla="*/ 1090612 h 1587500"/>
                <a:gd name="connsiteX112" fmla="*/ 706788 w 2419350"/>
                <a:gd name="connsiteY112" fmla="*/ 1114108 h 1587500"/>
                <a:gd name="connsiteX113" fmla="*/ 717582 w 2419350"/>
                <a:gd name="connsiteY113" fmla="*/ 1161098 h 1587500"/>
                <a:gd name="connsiteX114" fmla="*/ 692182 w 2419350"/>
                <a:gd name="connsiteY114" fmla="*/ 1174433 h 1587500"/>
                <a:gd name="connsiteX115" fmla="*/ 697263 w 2419350"/>
                <a:gd name="connsiteY115" fmla="*/ 1164273 h 1587500"/>
                <a:gd name="connsiteX116" fmla="*/ 668688 w 2419350"/>
                <a:gd name="connsiteY116" fmla="*/ 1206183 h 1587500"/>
                <a:gd name="connsiteX117" fmla="*/ 633127 w 2419350"/>
                <a:gd name="connsiteY117" fmla="*/ 1284287 h 1587500"/>
                <a:gd name="connsiteX118" fmla="*/ 570263 w 2419350"/>
                <a:gd name="connsiteY118" fmla="*/ 1270953 h 1587500"/>
                <a:gd name="connsiteX119" fmla="*/ 548038 w 2419350"/>
                <a:gd name="connsiteY119" fmla="*/ 1284923 h 1587500"/>
                <a:gd name="connsiteX120" fmla="*/ 519463 w 2419350"/>
                <a:gd name="connsiteY120" fmla="*/ 1286828 h 1587500"/>
                <a:gd name="connsiteX121" fmla="*/ 497872 w 2419350"/>
                <a:gd name="connsiteY121" fmla="*/ 1171258 h 1587500"/>
                <a:gd name="connsiteX122" fmla="*/ 461042 w 2419350"/>
                <a:gd name="connsiteY122" fmla="*/ 1189037 h 1587500"/>
                <a:gd name="connsiteX123" fmla="*/ 428657 w 2419350"/>
                <a:gd name="connsiteY123" fmla="*/ 1154112 h 1587500"/>
                <a:gd name="connsiteX124" fmla="*/ 415322 w 2419350"/>
                <a:gd name="connsiteY124" fmla="*/ 1190308 h 1587500"/>
                <a:gd name="connsiteX125" fmla="*/ 368332 w 2419350"/>
                <a:gd name="connsiteY125" fmla="*/ 1209993 h 1587500"/>
                <a:gd name="connsiteX126" fmla="*/ 376588 w 2419350"/>
                <a:gd name="connsiteY126" fmla="*/ 1215708 h 1587500"/>
                <a:gd name="connsiteX127" fmla="*/ 461677 w 2419350"/>
                <a:gd name="connsiteY127" fmla="*/ 1226503 h 1587500"/>
                <a:gd name="connsiteX128" fmla="*/ 453422 w 2419350"/>
                <a:gd name="connsiteY128" fmla="*/ 1258887 h 1587500"/>
                <a:gd name="connsiteX129" fmla="*/ 436277 w 2419350"/>
                <a:gd name="connsiteY129" fmla="*/ 1278573 h 1587500"/>
                <a:gd name="connsiteX130" fmla="*/ 412147 w 2419350"/>
                <a:gd name="connsiteY130" fmla="*/ 1248093 h 1587500"/>
                <a:gd name="connsiteX131" fmla="*/ 406432 w 2419350"/>
                <a:gd name="connsiteY131" fmla="*/ 1298893 h 1587500"/>
                <a:gd name="connsiteX132" fmla="*/ 381032 w 2419350"/>
                <a:gd name="connsiteY132" fmla="*/ 1310958 h 1587500"/>
                <a:gd name="connsiteX133" fmla="*/ 354997 w 2419350"/>
                <a:gd name="connsiteY133" fmla="*/ 1353503 h 1587500"/>
                <a:gd name="connsiteX134" fmla="*/ 341027 w 2419350"/>
                <a:gd name="connsiteY134" fmla="*/ 1391603 h 1587500"/>
                <a:gd name="connsiteX135" fmla="*/ 333407 w 2419350"/>
                <a:gd name="connsiteY135" fmla="*/ 1470343 h 1587500"/>
                <a:gd name="connsiteX136" fmla="*/ 306102 w 2419350"/>
                <a:gd name="connsiteY136" fmla="*/ 1455103 h 1587500"/>
                <a:gd name="connsiteX137" fmla="*/ 257207 w 2419350"/>
                <a:gd name="connsiteY137" fmla="*/ 1450658 h 1587500"/>
                <a:gd name="connsiteX138" fmla="*/ 287688 w 2419350"/>
                <a:gd name="connsiteY138" fmla="*/ 1398587 h 1587500"/>
                <a:gd name="connsiteX139" fmla="*/ 327057 w 2419350"/>
                <a:gd name="connsiteY139" fmla="*/ 1418273 h 1587500"/>
                <a:gd name="connsiteX140" fmla="*/ 321977 w 2419350"/>
                <a:gd name="connsiteY140" fmla="*/ 1387793 h 1587500"/>
                <a:gd name="connsiteX141" fmla="*/ 348013 w 2419350"/>
                <a:gd name="connsiteY141" fmla="*/ 1362393 h 1587500"/>
                <a:gd name="connsiteX142" fmla="*/ 317532 w 2419350"/>
                <a:gd name="connsiteY142" fmla="*/ 1375093 h 1587500"/>
                <a:gd name="connsiteX143" fmla="*/ 312452 w 2419350"/>
                <a:gd name="connsiteY143" fmla="*/ 1348423 h 1587500"/>
                <a:gd name="connsiteX144" fmla="*/ 295307 w 2419350"/>
                <a:gd name="connsiteY144" fmla="*/ 1368743 h 1587500"/>
                <a:gd name="connsiteX145" fmla="*/ 245142 w 2419350"/>
                <a:gd name="connsiteY145" fmla="*/ 1357312 h 1587500"/>
                <a:gd name="connsiteX146" fmla="*/ 197517 w 2419350"/>
                <a:gd name="connsiteY146" fmla="*/ 1408748 h 1587500"/>
                <a:gd name="connsiteX147" fmla="*/ 194342 w 2419350"/>
                <a:gd name="connsiteY147" fmla="*/ 1400493 h 1587500"/>
                <a:gd name="connsiteX148" fmla="*/ 179738 w 2419350"/>
                <a:gd name="connsiteY148" fmla="*/ 1379537 h 1587500"/>
                <a:gd name="connsiteX149" fmla="*/ 175292 w 2419350"/>
                <a:gd name="connsiteY149" fmla="*/ 1389698 h 1587500"/>
                <a:gd name="connsiteX150" fmla="*/ 139732 w 2419350"/>
                <a:gd name="connsiteY150" fmla="*/ 1423987 h 1587500"/>
                <a:gd name="connsiteX151" fmla="*/ 166402 w 2419350"/>
                <a:gd name="connsiteY151" fmla="*/ 1380173 h 1587500"/>
                <a:gd name="connsiteX152" fmla="*/ 127667 w 2419350"/>
                <a:gd name="connsiteY152" fmla="*/ 1438593 h 1587500"/>
                <a:gd name="connsiteX153" fmla="*/ 99092 w 2419350"/>
                <a:gd name="connsiteY153" fmla="*/ 1467168 h 1587500"/>
                <a:gd name="connsiteX154" fmla="*/ 162592 w 2419350"/>
                <a:gd name="connsiteY154" fmla="*/ 1378903 h 1587500"/>
                <a:gd name="connsiteX155" fmla="*/ 158782 w 2419350"/>
                <a:gd name="connsiteY155" fmla="*/ 1374458 h 1587500"/>
                <a:gd name="connsiteX156" fmla="*/ 133382 w 2419350"/>
                <a:gd name="connsiteY156" fmla="*/ 1412558 h 1587500"/>
                <a:gd name="connsiteX157" fmla="*/ 125127 w 2419350"/>
                <a:gd name="connsiteY157" fmla="*/ 1425258 h 1587500"/>
                <a:gd name="connsiteX158" fmla="*/ 149257 w 2419350"/>
                <a:gd name="connsiteY158" fmla="*/ 1383348 h 1587500"/>
                <a:gd name="connsiteX159" fmla="*/ 152432 w 2419350"/>
                <a:gd name="connsiteY159" fmla="*/ 1378268 h 1587500"/>
                <a:gd name="connsiteX160" fmla="*/ 112427 w 2419350"/>
                <a:gd name="connsiteY160" fmla="*/ 1444308 h 1587500"/>
                <a:gd name="connsiteX161" fmla="*/ 100362 w 2419350"/>
                <a:gd name="connsiteY161" fmla="*/ 1462723 h 1587500"/>
                <a:gd name="connsiteX162" fmla="*/ 113062 w 2419350"/>
                <a:gd name="connsiteY162" fmla="*/ 1431608 h 1587500"/>
                <a:gd name="connsiteX163" fmla="*/ 105442 w 2419350"/>
                <a:gd name="connsiteY163" fmla="*/ 1450023 h 1587500"/>
                <a:gd name="connsiteX164" fmla="*/ 84487 w 2419350"/>
                <a:gd name="connsiteY164" fmla="*/ 1492568 h 1587500"/>
                <a:gd name="connsiteX165" fmla="*/ 64167 w 2419350"/>
                <a:gd name="connsiteY165" fmla="*/ 1528762 h 1587500"/>
                <a:gd name="connsiteX166" fmla="*/ 89567 w 2419350"/>
                <a:gd name="connsiteY166" fmla="*/ 1484312 h 1587500"/>
                <a:gd name="connsiteX167" fmla="*/ 76867 w 2419350"/>
                <a:gd name="connsiteY167" fmla="*/ 1495108 h 1587500"/>
                <a:gd name="connsiteX168" fmla="*/ 62262 w 2419350"/>
                <a:gd name="connsiteY168" fmla="*/ 1530033 h 1587500"/>
                <a:gd name="connsiteX169" fmla="*/ 49562 w 2419350"/>
                <a:gd name="connsiteY169" fmla="*/ 1544637 h 1587500"/>
                <a:gd name="connsiteX170" fmla="*/ 44482 w 2419350"/>
                <a:gd name="connsiteY170" fmla="*/ 1531937 h 1587500"/>
                <a:gd name="connsiteX171" fmla="*/ 12732 w 2419350"/>
                <a:gd name="connsiteY171" fmla="*/ 1578928 h 1587500"/>
                <a:gd name="connsiteX172" fmla="*/ 8287 w 2419350"/>
                <a:gd name="connsiteY172" fmla="*/ 1587818 h 1587500"/>
                <a:gd name="connsiteX173" fmla="*/ 5112 w 2419350"/>
                <a:gd name="connsiteY173" fmla="*/ 1582103 h 1587500"/>
                <a:gd name="connsiteX174" fmla="*/ 5112 w 2419350"/>
                <a:gd name="connsiteY174" fmla="*/ 1582103 h 158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2419350" h="1587500">
                  <a:moveTo>
                    <a:pt x="5112" y="1582103"/>
                  </a:moveTo>
                  <a:cubicBezTo>
                    <a:pt x="334042" y="898843"/>
                    <a:pt x="940467" y="368618"/>
                    <a:pt x="1664367" y="136207"/>
                  </a:cubicBezTo>
                  <a:cubicBezTo>
                    <a:pt x="1907572" y="58102"/>
                    <a:pt x="2156492" y="18097"/>
                    <a:pt x="2411127" y="6032"/>
                  </a:cubicBezTo>
                  <a:lnTo>
                    <a:pt x="2414938" y="4763"/>
                  </a:lnTo>
                  <a:cubicBezTo>
                    <a:pt x="2291113" y="18732"/>
                    <a:pt x="2106963" y="31432"/>
                    <a:pt x="1981232" y="63182"/>
                  </a:cubicBezTo>
                  <a:cubicBezTo>
                    <a:pt x="1953292" y="70168"/>
                    <a:pt x="1925352" y="77152"/>
                    <a:pt x="1898682" y="86043"/>
                  </a:cubicBezTo>
                  <a:cubicBezTo>
                    <a:pt x="1811052" y="115252"/>
                    <a:pt x="1936147" y="86043"/>
                    <a:pt x="1834547" y="112713"/>
                  </a:cubicBezTo>
                  <a:cubicBezTo>
                    <a:pt x="1823117" y="115252"/>
                    <a:pt x="1810417" y="115252"/>
                    <a:pt x="1799622" y="119063"/>
                  </a:cubicBezTo>
                  <a:cubicBezTo>
                    <a:pt x="1786922" y="122872"/>
                    <a:pt x="1775492" y="131127"/>
                    <a:pt x="1763427" y="135572"/>
                  </a:cubicBezTo>
                  <a:cubicBezTo>
                    <a:pt x="1658652" y="175577"/>
                    <a:pt x="1766602" y="127952"/>
                    <a:pt x="1653572" y="173672"/>
                  </a:cubicBezTo>
                  <a:cubicBezTo>
                    <a:pt x="1644047" y="177482"/>
                    <a:pt x="1635157" y="184468"/>
                    <a:pt x="1625632" y="187643"/>
                  </a:cubicBezTo>
                  <a:cubicBezTo>
                    <a:pt x="1613567" y="191452"/>
                    <a:pt x="1600232" y="190182"/>
                    <a:pt x="1588167" y="193993"/>
                  </a:cubicBezTo>
                  <a:cubicBezTo>
                    <a:pt x="1578007" y="197168"/>
                    <a:pt x="1547527" y="213677"/>
                    <a:pt x="1536732" y="221932"/>
                  </a:cubicBezTo>
                  <a:cubicBezTo>
                    <a:pt x="1534827" y="223202"/>
                    <a:pt x="1534827" y="227013"/>
                    <a:pt x="1532922" y="228282"/>
                  </a:cubicBezTo>
                  <a:cubicBezTo>
                    <a:pt x="1520222" y="234632"/>
                    <a:pt x="1505617" y="237807"/>
                    <a:pt x="1492917" y="243522"/>
                  </a:cubicBezTo>
                  <a:cubicBezTo>
                    <a:pt x="1489742" y="244793"/>
                    <a:pt x="1537367" y="232727"/>
                    <a:pt x="1527842" y="248602"/>
                  </a:cubicBezTo>
                  <a:cubicBezTo>
                    <a:pt x="1524032" y="254318"/>
                    <a:pt x="1453547" y="278447"/>
                    <a:pt x="1435132" y="291782"/>
                  </a:cubicBezTo>
                  <a:cubicBezTo>
                    <a:pt x="1424338" y="299402"/>
                    <a:pt x="1414813" y="310197"/>
                    <a:pt x="1404652" y="318452"/>
                  </a:cubicBezTo>
                  <a:cubicBezTo>
                    <a:pt x="1398302" y="323532"/>
                    <a:pt x="1377982" y="334327"/>
                    <a:pt x="1385602" y="334327"/>
                  </a:cubicBezTo>
                  <a:cubicBezTo>
                    <a:pt x="1402113" y="333693"/>
                    <a:pt x="1416082" y="319088"/>
                    <a:pt x="1433227" y="317182"/>
                  </a:cubicBezTo>
                  <a:cubicBezTo>
                    <a:pt x="1442117" y="316547"/>
                    <a:pt x="1419257" y="327977"/>
                    <a:pt x="1411002" y="331788"/>
                  </a:cubicBezTo>
                  <a:cubicBezTo>
                    <a:pt x="1391952" y="340677"/>
                    <a:pt x="1380522" y="340677"/>
                    <a:pt x="1361472" y="347027"/>
                  </a:cubicBezTo>
                  <a:cubicBezTo>
                    <a:pt x="1350042" y="350838"/>
                    <a:pt x="1315752" y="360363"/>
                    <a:pt x="1327817" y="360363"/>
                  </a:cubicBezTo>
                  <a:cubicBezTo>
                    <a:pt x="1360838" y="359093"/>
                    <a:pt x="1393857" y="350838"/>
                    <a:pt x="1426242" y="344488"/>
                  </a:cubicBezTo>
                  <a:cubicBezTo>
                    <a:pt x="1429417" y="343852"/>
                    <a:pt x="1414177" y="343218"/>
                    <a:pt x="1417352" y="341947"/>
                  </a:cubicBezTo>
                  <a:cubicBezTo>
                    <a:pt x="1434497" y="333057"/>
                    <a:pt x="1453547" y="327977"/>
                    <a:pt x="1471327" y="320357"/>
                  </a:cubicBezTo>
                  <a:cubicBezTo>
                    <a:pt x="1479582" y="317182"/>
                    <a:pt x="1486567" y="308293"/>
                    <a:pt x="1495457" y="310197"/>
                  </a:cubicBezTo>
                  <a:cubicBezTo>
                    <a:pt x="1502442" y="311468"/>
                    <a:pt x="1511967" y="322897"/>
                    <a:pt x="1507522" y="328613"/>
                  </a:cubicBezTo>
                  <a:cubicBezTo>
                    <a:pt x="1497363" y="340677"/>
                    <a:pt x="1480217" y="344488"/>
                    <a:pt x="1464977" y="348932"/>
                  </a:cubicBezTo>
                  <a:cubicBezTo>
                    <a:pt x="1459897" y="350202"/>
                    <a:pt x="1454817" y="343218"/>
                    <a:pt x="1449102" y="343852"/>
                  </a:cubicBezTo>
                  <a:cubicBezTo>
                    <a:pt x="1442752" y="345122"/>
                    <a:pt x="1438307" y="351472"/>
                    <a:pt x="1433227" y="355282"/>
                  </a:cubicBezTo>
                  <a:cubicBezTo>
                    <a:pt x="1432592" y="355918"/>
                    <a:pt x="1433227" y="356552"/>
                    <a:pt x="1432592" y="357188"/>
                  </a:cubicBezTo>
                  <a:cubicBezTo>
                    <a:pt x="1420527" y="363538"/>
                    <a:pt x="1408463" y="369888"/>
                    <a:pt x="1395763" y="375602"/>
                  </a:cubicBezTo>
                  <a:cubicBezTo>
                    <a:pt x="1385602" y="380047"/>
                    <a:pt x="1372902" y="379413"/>
                    <a:pt x="1364647" y="386397"/>
                  </a:cubicBezTo>
                  <a:cubicBezTo>
                    <a:pt x="1359567" y="390843"/>
                    <a:pt x="1362107" y="399732"/>
                    <a:pt x="1358932" y="405447"/>
                  </a:cubicBezTo>
                  <a:cubicBezTo>
                    <a:pt x="1358297" y="406718"/>
                    <a:pt x="1357663" y="401002"/>
                    <a:pt x="1356392" y="401638"/>
                  </a:cubicBezTo>
                  <a:cubicBezTo>
                    <a:pt x="1336707" y="409893"/>
                    <a:pt x="1317657" y="420052"/>
                    <a:pt x="1299242" y="430847"/>
                  </a:cubicBezTo>
                  <a:cubicBezTo>
                    <a:pt x="1297338" y="432118"/>
                    <a:pt x="1303688" y="430847"/>
                    <a:pt x="1306227" y="430213"/>
                  </a:cubicBezTo>
                  <a:cubicBezTo>
                    <a:pt x="1325913" y="426402"/>
                    <a:pt x="1344963" y="420052"/>
                    <a:pt x="1365282" y="418782"/>
                  </a:cubicBezTo>
                  <a:cubicBezTo>
                    <a:pt x="1368457" y="418782"/>
                    <a:pt x="1358932" y="426402"/>
                    <a:pt x="1361472" y="426402"/>
                  </a:cubicBezTo>
                  <a:cubicBezTo>
                    <a:pt x="1365917" y="427038"/>
                    <a:pt x="1369727" y="421322"/>
                    <a:pt x="1373538" y="420052"/>
                  </a:cubicBezTo>
                  <a:cubicBezTo>
                    <a:pt x="1389413" y="413702"/>
                    <a:pt x="1405922" y="393382"/>
                    <a:pt x="1421163" y="401638"/>
                  </a:cubicBezTo>
                  <a:cubicBezTo>
                    <a:pt x="1432592" y="407988"/>
                    <a:pt x="1407192" y="424497"/>
                    <a:pt x="1397667" y="433388"/>
                  </a:cubicBezTo>
                  <a:cubicBezTo>
                    <a:pt x="1390047" y="441007"/>
                    <a:pt x="1355757" y="459422"/>
                    <a:pt x="1344327" y="459422"/>
                  </a:cubicBezTo>
                  <a:cubicBezTo>
                    <a:pt x="1340517" y="459422"/>
                    <a:pt x="1342422" y="450532"/>
                    <a:pt x="1338613" y="450532"/>
                  </a:cubicBezTo>
                  <a:cubicBezTo>
                    <a:pt x="1332897" y="450532"/>
                    <a:pt x="1328452" y="455613"/>
                    <a:pt x="1323372" y="458788"/>
                  </a:cubicBezTo>
                  <a:cubicBezTo>
                    <a:pt x="1310672" y="466407"/>
                    <a:pt x="1298607" y="475297"/>
                    <a:pt x="1285907" y="481647"/>
                  </a:cubicBezTo>
                  <a:cubicBezTo>
                    <a:pt x="1278922" y="484822"/>
                    <a:pt x="1266857" y="495618"/>
                    <a:pt x="1263682" y="487997"/>
                  </a:cubicBezTo>
                  <a:cubicBezTo>
                    <a:pt x="1259238" y="477202"/>
                    <a:pt x="1285907" y="455613"/>
                    <a:pt x="1274477" y="453707"/>
                  </a:cubicBezTo>
                  <a:cubicBezTo>
                    <a:pt x="1223042" y="444182"/>
                    <a:pt x="1245267" y="520382"/>
                    <a:pt x="1209707" y="461327"/>
                  </a:cubicBezTo>
                  <a:cubicBezTo>
                    <a:pt x="1204627" y="453072"/>
                    <a:pt x="1213517" y="461963"/>
                    <a:pt x="1252888" y="427672"/>
                  </a:cubicBezTo>
                  <a:cubicBezTo>
                    <a:pt x="1258602" y="422593"/>
                    <a:pt x="1273842" y="409893"/>
                    <a:pt x="1266222" y="409893"/>
                  </a:cubicBezTo>
                  <a:cubicBezTo>
                    <a:pt x="1257967" y="409257"/>
                    <a:pt x="1254792" y="422593"/>
                    <a:pt x="1247807" y="427672"/>
                  </a:cubicBezTo>
                  <a:cubicBezTo>
                    <a:pt x="1239552" y="434022"/>
                    <a:pt x="1228757" y="437832"/>
                    <a:pt x="1221138" y="444818"/>
                  </a:cubicBezTo>
                  <a:cubicBezTo>
                    <a:pt x="1214152" y="451168"/>
                    <a:pt x="1212247" y="462597"/>
                    <a:pt x="1203992" y="467043"/>
                  </a:cubicBezTo>
                  <a:cubicBezTo>
                    <a:pt x="1191292" y="474027"/>
                    <a:pt x="1160813" y="491172"/>
                    <a:pt x="1161447" y="476568"/>
                  </a:cubicBezTo>
                  <a:cubicBezTo>
                    <a:pt x="1162082" y="451802"/>
                    <a:pt x="1193197" y="438468"/>
                    <a:pt x="1205263" y="416877"/>
                  </a:cubicBezTo>
                  <a:cubicBezTo>
                    <a:pt x="1207802" y="412432"/>
                    <a:pt x="1195102" y="420052"/>
                    <a:pt x="1191292" y="423227"/>
                  </a:cubicBezTo>
                  <a:cubicBezTo>
                    <a:pt x="1183672" y="428943"/>
                    <a:pt x="1178592" y="435927"/>
                    <a:pt x="1171607" y="441643"/>
                  </a:cubicBezTo>
                  <a:cubicBezTo>
                    <a:pt x="1158272" y="451802"/>
                    <a:pt x="1145572" y="461963"/>
                    <a:pt x="1130967" y="469582"/>
                  </a:cubicBezTo>
                  <a:cubicBezTo>
                    <a:pt x="1129063" y="470852"/>
                    <a:pt x="1126522" y="467043"/>
                    <a:pt x="1124617" y="467043"/>
                  </a:cubicBezTo>
                  <a:cubicBezTo>
                    <a:pt x="1096042" y="470852"/>
                    <a:pt x="1066832" y="475297"/>
                    <a:pt x="1038257" y="482282"/>
                  </a:cubicBezTo>
                  <a:cubicBezTo>
                    <a:pt x="1020477" y="486727"/>
                    <a:pt x="989363" y="506413"/>
                    <a:pt x="974122" y="517843"/>
                  </a:cubicBezTo>
                  <a:cubicBezTo>
                    <a:pt x="970947" y="519747"/>
                    <a:pt x="986188" y="510857"/>
                    <a:pt x="983647" y="513397"/>
                  </a:cubicBezTo>
                  <a:cubicBezTo>
                    <a:pt x="965232" y="531813"/>
                    <a:pt x="930307" y="553402"/>
                    <a:pt x="908717" y="565468"/>
                  </a:cubicBezTo>
                  <a:cubicBezTo>
                    <a:pt x="904907" y="567372"/>
                    <a:pt x="899827" y="566102"/>
                    <a:pt x="896652" y="569277"/>
                  </a:cubicBezTo>
                  <a:cubicBezTo>
                    <a:pt x="892842" y="573722"/>
                    <a:pt x="894113" y="580072"/>
                    <a:pt x="891572" y="585152"/>
                  </a:cubicBezTo>
                  <a:cubicBezTo>
                    <a:pt x="874427" y="616902"/>
                    <a:pt x="834422" y="635318"/>
                    <a:pt x="809657" y="660083"/>
                  </a:cubicBezTo>
                  <a:cubicBezTo>
                    <a:pt x="800132" y="669608"/>
                    <a:pt x="792513" y="680402"/>
                    <a:pt x="783622" y="690563"/>
                  </a:cubicBezTo>
                  <a:cubicBezTo>
                    <a:pt x="777272" y="697547"/>
                    <a:pt x="770922" y="705168"/>
                    <a:pt x="763302" y="710883"/>
                  </a:cubicBezTo>
                  <a:cubicBezTo>
                    <a:pt x="760127" y="714058"/>
                    <a:pt x="753142" y="712788"/>
                    <a:pt x="751238" y="716597"/>
                  </a:cubicBezTo>
                  <a:cubicBezTo>
                    <a:pt x="743617" y="729297"/>
                    <a:pt x="742347" y="744538"/>
                    <a:pt x="734727" y="757238"/>
                  </a:cubicBezTo>
                  <a:cubicBezTo>
                    <a:pt x="727742" y="769938"/>
                    <a:pt x="709963" y="772477"/>
                    <a:pt x="698532" y="780733"/>
                  </a:cubicBezTo>
                  <a:cubicBezTo>
                    <a:pt x="652177" y="813753"/>
                    <a:pt x="626142" y="838518"/>
                    <a:pt x="588677" y="882333"/>
                  </a:cubicBezTo>
                  <a:cubicBezTo>
                    <a:pt x="572802" y="900747"/>
                    <a:pt x="553117" y="903287"/>
                    <a:pt x="544227" y="932497"/>
                  </a:cubicBezTo>
                  <a:cubicBezTo>
                    <a:pt x="539782" y="947103"/>
                    <a:pt x="564547" y="905828"/>
                    <a:pt x="579788" y="903287"/>
                  </a:cubicBezTo>
                  <a:cubicBezTo>
                    <a:pt x="585502" y="902653"/>
                    <a:pt x="591852" y="904558"/>
                    <a:pt x="596297" y="901383"/>
                  </a:cubicBezTo>
                  <a:cubicBezTo>
                    <a:pt x="608997" y="892493"/>
                    <a:pt x="617888" y="878522"/>
                    <a:pt x="629952" y="868362"/>
                  </a:cubicBezTo>
                  <a:cubicBezTo>
                    <a:pt x="639477" y="860108"/>
                    <a:pt x="650907" y="853758"/>
                    <a:pt x="661067" y="846137"/>
                  </a:cubicBezTo>
                  <a:cubicBezTo>
                    <a:pt x="675038" y="835343"/>
                    <a:pt x="682022" y="813118"/>
                    <a:pt x="699167" y="808672"/>
                  </a:cubicBezTo>
                  <a:cubicBezTo>
                    <a:pt x="709327" y="806133"/>
                    <a:pt x="718217" y="822008"/>
                    <a:pt x="728377" y="818833"/>
                  </a:cubicBezTo>
                  <a:cubicBezTo>
                    <a:pt x="752507" y="811847"/>
                    <a:pt x="772827" y="795337"/>
                    <a:pt x="793782" y="781368"/>
                  </a:cubicBezTo>
                  <a:cubicBezTo>
                    <a:pt x="839502" y="751522"/>
                    <a:pt x="822357" y="753427"/>
                    <a:pt x="861092" y="715963"/>
                  </a:cubicBezTo>
                  <a:cubicBezTo>
                    <a:pt x="873157" y="704533"/>
                    <a:pt x="918242" y="691833"/>
                    <a:pt x="922688" y="689927"/>
                  </a:cubicBezTo>
                  <a:cubicBezTo>
                    <a:pt x="943007" y="681672"/>
                    <a:pt x="974122" y="663893"/>
                    <a:pt x="989363" y="654368"/>
                  </a:cubicBezTo>
                  <a:cubicBezTo>
                    <a:pt x="1002697" y="646113"/>
                    <a:pt x="1014763" y="634047"/>
                    <a:pt x="1028732" y="627063"/>
                  </a:cubicBezTo>
                  <a:cubicBezTo>
                    <a:pt x="1031907" y="625158"/>
                    <a:pt x="1040163" y="624522"/>
                    <a:pt x="1039527" y="628333"/>
                  </a:cubicBezTo>
                  <a:cubicBezTo>
                    <a:pt x="1036352" y="639763"/>
                    <a:pt x="1028097" y="649288"/>
                    <a:pt x="1020477" y="658177"/>
                  </a:cubicBezTo>
                  <a:cubicBezTo>
                    <a:pt x="1019207" y="659447"/>
                    <a:pt x="1015397" y="656908"/>
                    <a:pt x="1014763" y="658177"/>
                  </a:cubicBezTo>
                  <a:cubicBezTo>
                    <a:pt x="1005238" y="676593"/>
                    <a:pt x="1000792" y="697547"/>
                    <a:pt x="990632" y="715963"/>
                  </a:cubicBezTo>
                  <a:cubicBezTo>
                    <a:pt x="989363" y="718502"/>
                    <a:pt x="984917" y="715963"/>
                    <a:pt x="983013" y="717868"/>
                  </a:cubicBezTo>
                  <a:cubicBezTo>
                    <a:pt x="975392" y="723583"/>
                    <a:pt x="967772" y="729933"/>
                    <a:pt x="963327" y="738188"/>
                  </a:cubicBezTo>
                  <a:cubicBezTo>
                    <a:pt x="956977" y="748983"/>
                    <a:pt x="962057" y="766127"/>
                    <a:pt x="952532" y="773747"/>
                  </a:cubicBezTo>
                  <a:cubicBezTo>
                    <a:pt x="941738" y="782002"/>
                    <a:pt x="924592" y="770572"/>
                    <a:pt x="912527" y="776288"/>
                  </a:cubicBezTo>
                  <a:cubicBezTo>
                    <a:pt x="906813" y="779463"/>
                    <a:pt x="913163" y="790893"/>
                    <a:pt x="908717" y="796608"/>
                  </a:cubicBezTo>
                  <a:cubicBezTo>
                    <a:pt x="901097" y="805497"/>
                    <a:pt x="887763" y="808037"/>
                    <a:pt x="878872" y="815658"/>
                  </a:cubicBezTo>
                  <a:cubicBezTo>
                    <a:pt x="876967" y="816928"/>
                    <a:pt x="880777" y="820737"/>
                    <a:pt x="878872" y="822643"/>
                  </a:cubicBezTo>
                  <a:cubicBezTo>
                    <a:pt x="868713" y="835978"/>
                    <a:pt x="859188" y="851218"/>
                    <a:pt x="845217" y="860743"/>
                  </a:cubicBezTo>
                  <a:cubicBezTo>
                    <a:pt x="835057" y="867728"/>
                    <a:pt x="798227" y="862012"/>
                    <a:pt x="808388" y="868997"/>
                  </a:cubicBezTo>
                  <a:cubicBezTo>
                    <a:pt x="826167" y="880428"/>
                    <a:pt x="849663" y="878522"/>
                    <a:pt x="871252" y="878522"/>
                  </a:cubicBezTo>
                  <a:cubicBezTo>
                    <a:pt x="879507" y="878522"/>
                    <a:pt x="885857" y="871537"/>
                    <a:pt x="893477" y="867728"/>
                  </a:cubicBezTo>
                  <a:cubicBezTo>
                    <a:pt x="908082" y="861378"/>
                    <a:pt x="932213" y="834708"/>
                    <a:pt x="936657" y="849312"/>
                  </a:cubicBezTo>
                  <a:cubicBezTo>
                    <a:pt x="961422" y="923608"/>
                    <a:pt x="903638" y="869633"/>
                    <a:pt x="893477" y="891222"/>
                  </a:cubicBezTo>
                  <a:cubicBezTo>
                    <a:pt x="891572" y="895033"/>
                    <a:pt x="894747" y="900747"/>
                    <a:pt x="891572" y="903922"/>
                  </a:cubicBezTo>
                  <a:cubicBezTo>
                    <a:pt x="877602" y="915987"/>
                    <a:pt x="857917" y="920433"/>
                    <a:pt x="845852" y="933768"/>
                  </a:cubicBezTo>
                  <a:cubicBezTo>
                    <a:pt x="842677" y="937578"/>
                    <a:pt x="860457" y="937578"/>
                    <a:pt x="858552" y="942022"/>
                  </a:cubicBezTo>
                  <a:cubicBezTo>
                    <a:pt x="854107" y="950912"/>
                    <a:pt x="840138" y="951547"/>
                    <a:pt x="833152" y="959168"/>
                  </a:cubicBezTo>
                  <a:cubicBezTo>
                    <a:pt x="812832" y="980122"/>
                    <a:pt x="812197" y="1007428"/>
                    <a:pt x="780447" y="1008062"/>
                  </a:cubicBezTo>
                  <a:cubicBezTo>
                    <a:pt x="777907" y="1008062"/>
                    <a:pt x="782988" y="999172"/>
                    <a:pt x="782352" y="1001078"/>
                  </a:cubicBezTo>
                  <a:cubicBezTo>
                    <a:pt x="775367" y="1013143"/>
                    <a:pt x="771557" y="1027112"/>
                    <a:pt x="762667" y="1038543"/>
                  </a:cubicBezTo>
                  <a:cubicBezTo>
                    <a:pt x="748063" y="1058228"/>
                    <a:pt x="727107" y="1072833"/>
                    <a:pt x="713138" y="1093153"/>
                  </a:cubicBezTo>
                  <a:cubicBezTo>
                    <a:pt x="709963" y="1097598"/>
                    <a:pt x="729647" y="1085533"/>
                    <a:pt x="728377" y="1090612"/>
                  </a:cubicBezTo>
                  <a:cubicBezTo>
                    <a:pt x="725202" y="1100773"/>
                    <a:pt x="708692" y="1103312"/>
                    <a:pt x="706788" y="1114108"/>
                  </a:cubicBezTo>
                  <a:cubicBezTo>
                    <a:pt x="704247" y="1129983"/>
                    <a:pt x="721392" y="1145858"/>
                    <a:pt x="717582" y="1161098"/>
                  </a:cubicBezTo>
                  <a:cubicBezTo>
                    <a:pt x="715042" y="1169353"/>
                    <a:pt x="678213" y="1142683"/>
                    <a:pt x="692182" y="1174433"/>
                  </a:cubicBezTo>
                  <a:cubicBezTo>
                    <a:pt x="694088" y="1178243"/>
                    <a:pt x="699802" y="1161098"/>
                    <a:pt x="697263" y="1164273"/>
                  </a:cubicBezTo>
                  <a:cubicBezTo>
                    <a:pt x="687102" y="1177608"/>
                    <a:pt x="673767" y="1190308"/>
                    <a:pt x="668688" y="1206183"/>
                  </a:cubicBezTo>
                  <a:cubicBezTo>
                    <a:pt x="650272" y="1261428"/>
                    <a:pt x="714407" y="1232853"/>
                    <a:pt x="633127" y="1284287"/>
                  </a:cubicBezTo>
                  <a:cubicBezTo>
                    <a:pt x="556292" y="1331912"/>
                    <a:pt x="614713" y="1281112"/>
                    <a:pt x="570263" y="1270953"/>
                  </a:cubicBezTo>
                  <a:cubicBezTo>
                    <a:pt x="562007" y="1269048"/>
                    <a:pt x="556292" y="1282383"/>
                    <a:pt x="548038" y="1284923"/>
                  </a:cubicBezTo>
                  <a:cubicBezTo>
                    <a:pt x="538513" y="1287462"/>
                    <a:pt x="527717" y="1291273"/>
                    <a:pt x="519463" y="1286828"/>
                  </a:cubicBezTo>
                  <a:cubicBezTo>
                    <a:pt x="493427" y="1273493"/>
                    <a:pt x="510572" y="1191578"/>
                    <a:pt x="497872" y="1171258"/>
                  </a:cubicBezTo>
                  <a:cubicBezTo>
                    <a:pt x="490888" y="1159828"/>
                    <a:pt x="474377" y="1192848"/>
                    <a:pt x="461042" y="1189037"/>
                  </a:cubicBezTo>
                  <a:cubicBezTo>
                    <a:pt x="445802" y="1185228"/>
                    <a:pt x="444532" y="1153478"/>
                    <a:pt x="428657" y="1154112"/>
                  </a:cubicBezTo>
                  <a:cubicBezTo>
                    <a:pt x="415957" y="1154112"/>
                    <a:pt x="424847" y="1181418"/>
                    <a:pt x="415322" y="1190308"/>
                  </a:cubicBezTo>
                  <a:cubicBezTo>
                    <a:pt x="402622" y="1201737"/>
                    <a:pt x="382302" y="1201103"/>
                    <a:pt x="368332" y="1209993"/>
                  </a:cubicBezTo>
                  <a:cubicBezTo>
                    <a:pt x="365792" y="1211898"/>
                    <a:pt x="373413" y="1215073"/>
                    <a:pt x="376588" y="1215708"/>
                  </a:cubicBezTo>
                  <a:cubicBezTo>
                    <a:pt x="405163" y="1220787"/>
                    <a:pt x="436913" y="1212533"/>
                    <a:pt x="461677" y="1226503"/>
                  </a:cubicBezTo>
                  <a:cubicBezTo>
                    <a:pt x="471202" y="1232218"/>
                    <a:pt x="458502" y="1248728"/>
                    <a:pt x="453422" y="1258887"/>
                  </a:cubicBezTo>
                  <a:cubicBezTo>
                    <a:pt x="449613" y="1266508"/>
                    <a:pt x="444532" y="1280478"/>
                    <a:pt x="436277" y="1278573"/>
                  </a:cubicBezTo>
                  <a:cubicBezTo>
                    <a:pt x="423577" y="1275398"/>
                    <a:pt x="422942" y="1241108"/>
                    <a:pt x="412147" y="1248093"/>
                  </a:cubicBezTo>
                  <a:cubicBezTo>
                    <a:pt x="398177" y="1257618"/>
                    <a:pt x="414052" y="1283653"/>
                    <a:pt x="406432" y="1298893"/>
                  </a:cubicBezTo>
                  <a:cubicBezTo>
                    <a:pt x="401988" y="1307148"/>
                    <a:pt x="387382" y="1303973"/>
                    <a:pt x="381032" y="1310958"/>
                  </a:cubicBezTo>
                  <a:cubicBezTo>
                    <a:pt x="369602" y="1323023"/>
                    <a:pt x="362617" y="1338898"/>
                    <a:pt x="354997" y="1353503"/>
                  </a:cubicBezTo>
                  <a:cubicBezTo>
                    <a:pt x="349282" y="1365568"/>
                    <a:pt x="343567" y="1378268"/>
                    <a:pt x="341027" y="1391603"/>
                  </a:cubicBezTo>
                  <a:cubicBezTo>
                    <a:pt x="335947" y="1417637"/>
                    <a:pt x="346107" y="1447483"/>
                    <a:pt x="333407" y="1470343"/>
                  </a:cubicBezTo>
                  <a:cubicBezTo>
                    <a:pt x="328327" y="1479233"/>
                    <a:pt x="316263" y="1457643"/>
                    <a:pt x="306102" y="1455103"/>
                  </a:cubicBezTo>
                  <a:cubicBezTo>
                    <a:pt x="290227" y="1451293"/>
                    <a:pt x="269272" y="1462087"/>
                    <a:pt x="257207" y="1450658"/>
                  </a:cubicBezTo>
                  <a:cubicBezTo>
                    <a:pt x="250857" y="1444943"/>
                    <a:pt x="281972" y="1398587"/>
                    <a:pt x="287688" y="1398587"/>
                  </a:cubicBezTo>
                  <a:cubicBezTo>
                    <a:pt x="302292" y="1397953"/>
                    <a:pt x="313088" y="1422718"/>
                    <a:pt x="327057" y="1418273"/>
                  </a:cubicBezTo>
                  <a:cubicBezTo>
                    <a:pt x="337217" y="1415098"/>
                    <a:pt x="318167" y="1397318"/>
                    <a:pt x="321977" y="1387793"/>
                  </a:cubicBezTo>
                  <a:cubicBezTo>
                    <a:pt x="326422" y="1376362"/>
                    <a:pt x="351822" y="1373823"/>
                    <a:pt x="348013" y="1362393"/>
                  </a:cubicBezTo>
                  <a:cubicBezTo>
                    <a:pt x="344202" y="1352233"/>
                    <a:pt x="327692" y="1378903"/>
                    <a:pt x="317532" y="1375093"/>
                  </a:cubicBezTo>
                  <a:cubicBezTo>
                    <a:pt x="309277" y="1371918"/>
                    <a:pt x="321342" y="1350962"/>
                    <a:pt x="312452" y="1348423"/>
                  </a:cubicBezTo>
                  <a:cubicBezTo>
                    <a:pt x="304197" y="1345883"/>
                    <a:pt x="304197" y="1367473"/>
                    <a:pt x="295307" y="1368743"/>
                  </a:cubicBezTo>
                  <a:cubicBezTo>
                    <a:pt x="278163" y="1370648"/>
                    <a:pt x="262288" y="1354773"/>
                    <a:pt x="245142" y="1357312"/>
                  </a:cubicBezTo>
                  <a:cubicBezTo>
                    <a:pt x="241332" y="1357948"/>
                    <a:pt x="203867" y="1404303"/>
                    <a:pt x="197517" y="1408748"/>
                  </a:cubicBezTo>
                  <a:cubicBezTo>
                    <a:pt x="194977" y="1410653"/>
                    <a:pt x="195613" y="1403033"/>
                    <a:pt x="194342" y="1400493"/>
                  </a:cubicBezTo>
                  <a:cubicBezTo>
                    <a:pt x="189897" y="1393508"/>
                    <a:pt x="187357" y="1383983"/>
                    <a:pt x="179738" y="1379537"/>
                  </a:cubicBezTo>
                  <a:cubicBezTo>
                    <a:pt x="176563" y="1377633"/>
                    <a:pt x="177832" y="1387158"/>
                    <a:pt x="175292" y="1389698"/>
                  </a:cubicBezTo>
                  <a:cubicBezTo>
                    <a:pt x="164497" y="1401762"/>
                    <a:pt x="149257" y="1437958"/>
                    <a:pt x="139732" y="1423987"/>
                  </a:cubicBezTo>
                  <a:cubicBezTo>
                    <a:pt x="130207" y="1410018"/>
                    <a:pt x="177197" y="1366837"/>
                    <a:pt x="166402" y="1380173"/>
                  </a:cubicBezTo>
                  <a:cubicBezTo>
                    <a:pt x="111792" y="1446848"/>
                    <a:pt x="164497" y="1387793"/>
                    <a:pt x="127667" y="1438593"/>
                  </a:cubicBezTo>
                  <a:cubicBezTo>
                    <a:pt x="119412" y="1449387"/>
                    <a:pt x="97822" y="1480503"/>
                    <a:pt x="99092" y="1467168"/>
                  </a:cubicBezTo>
                  <a:cubicBezTo>
                    <a:pt x="99727" y="1460818"/>
                    <a:pt x="157513" y="1386523"/>
                    <a:pt x="162592" y="1378903"/>
                  </a:cubicBezTo>
                  <a:cubicBezTo>
                    <a:pt x="163863" y="1376998"/>
                    <a:pt x="160052" y="1372553"/>
                    <a:pt x="158782" y="1374458"/>
                  </a:cubicBezTo>
                  <a:cubicBezTo>
                    <a:pt x="148622" y="1385887"/>
                    <a:pt x="142272" y="1399858"/>
                    <a:pt x="133382" y="1412558"/>
                  </a:cubicBezTo>
                  <a:cubicBezTo>
                    <a:pt x="130842" y="1417003"/>
                    <a:pt x="122587" y="1429703"/>
                    <a:pt x="125127" y="1425258"/>
                  </a:cubicBezTo>
                  <a:cubicBezTo>
                    <a:pt x="132747" y="1410653"/>
                    <a:pt x="141002" y="1396683"/>
                    <a:pt x="149257" y="1383348"/>
                  </a:cubicBezTo>
                  <a:cubicBezTo>
                    <a:pt x="150527" y="1381443"/>
                    <a:pt x="153702" y="1376362"/>
                    <a:pt x="152432" y="1378268"/>
                  </a:cubicBezTo>
                  <a:cubicBezTo>
                    <a:pt x="139097" y="1400493"/>
                    <a:pt x="126397" y="1422083"/>
                    <a:pt x="112427" y="1444308"/>
                  </a:cubicBezTo>
                  <a:cubicBezTo>
                    <a:pt x="108617" y="1450658"/>
                    <a:pt x="99727" y="1469708"/>
                    <a:pt x="100362" y="1462723"/>
                  </a:cubicBezTo>
                  <a:cubicBezTo>
                    <a:pt x="100997" y="1451293"/>
                    <a:pt x="109252" y="1441768"/>
                    <a:pt x="113062" y="1431608"/>
                  </a:cubicBezTo>
                  <a:cubicBezTo>
                    <a:pt x="115602" y="1425258"/>
                    <a:pt x="107982" y="1444308"/>
                    <a:pt x="105442" y="1450023"/>
                  </a:cubicBezTo>
                  <a:cubicBezTo>
                    <a:pt x="98457" y="1463993"/>
                    <a:pt x="91472" y="1478598"/>
                    <a:pt x="84487" y="1492568"/>
                  </a:cubicBezTo>
                  <a:cubicBezTo>
                    <a:pt x="78137" y="1504633"/>
                    <a:pt x="57182" y="1540828"/>
                    <a:pt x="64167" y="1528762"/>
                  </a:cubicBezTo>
                  <a:cubicBezTo>
                    <a:pt x="72422" y="1514158"/>
                    <a:pt x="83852" y="1500187"/>
                    <a:pt x="89567" y="1484312"/>
                  </a:cubicBezTo>
                  <a:cubicBezTo>
                    <a:pt x="91472" y="1479233"/>
                    <a:pt x="79407" y="1490028"/>
                    <a:pt x="76867" y="1495108"/>
                  </a:cubicBezTo>
                  <a:cubicBezTo>
                    <a:pt x="70517" y="1505903"/>
                    <a:pt x="68612" y="1519237"/>
                    <a:pt x="62262" y="1530033"/>
                  </a:cubicBezTo>
                  <a:cubicBezTo>
                    <a:pt x="59087" y="1535748"/>
                    <a:pt x="55912" y="1544003"/>
                    <a:pt x="49562" y="1544637"/>
                  </a:cubicBezTo>
                  <a:cubicBezTo>
                    <a:pt x="45117" y="1545273"/>
                    <a:pt x="47657" y="1528762"/>
                    <a:pt x="44482" y="1531937"/>
                  </a:cubicBezTo>
                  <a:cubicBezTo>
                    <a:pt x="31147" y="1544637"/>
                    <a:pt x="22892" y="1563053"/>
                    <a:pt x="12732" y="1578928"/>
                  </a:cubicBezTo>
                  <a:cubicBezTo>
                    <a:pt x="10827" y="1581468"/>
                    <a:pt x="10192" y="1584643"/>
                    <a:pt x="8287" y="1587818"/>
                  </a:cubicBezTo>
                  <a:cubicBezTo>
                    <a:pt x="3207" y="1585912"/>
                    <a:pt x="5112" y="1582737"/>
                    <a:pt x="5112" y="1582103"/>
                  </a:cubicBezTo>
                  <a:lnTo>
                    <a:pt x="5112" y="15821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E5DDE0EA-A2DE-42DF-A420-9AAA17805F61}"/>
                </a:ext>
              </a:extLst>
            </p:cNvPr>
            <p:cNvSpPr/>
            <p:nvPr/>
          </p:nvSpPr>
          <p:spPr>
            <a:xfrm>
              <a:off x="7440027" y="3797728"/>
              <a:ext cx="3765550" cy="2603500"/>
            </a:xfrm>
            <a:custGeom>
              <a:avLst/>
              <a:gdLst>
                <a:gd name="connsiteX0" fmla="*/ 2756803 w 3765550"/>
                <a:gd name="connsiteY0" fmla="*/ 242142 h 2603500"/>
                <a:gd name="connsiteX1" fmla="*/ 2712988 w 3765550"/>
                <a:gd name="connsiteY1" fmla="*/ 249127 h 2603500"/>
                <a:gd name="connsiteX2" fmla="*/ 2678698 w 3765550"/>
                <a:gd name="connsiteY2" fmla="*/ 281512 h 2603500"/>
                <a:gd name="connsiteX3" fmla="*/ 2662188 w 3765550"/>
                <a:gd name="connsiteY3" fmla="*/ 284687 h 2603500"/>
                <a:gd name="connsiteX4" fmla="*/ 2622817 w 3765550"/>
                <a:gd name="connsiteY4" fmla="*/ 322152 h 2603500"/>
                <a:gd name="connsiteX5" fmla="*/ 2473592 w 3765550"/>
                <a:gd name="connsiteY5" fmla="*/ 308182 h 2603500"/>
                <a:gd name="connsiteX6" fmla="*/ 2448828 w 3765550"/>
                <a:gd name="connsiteY6" fmla="*/ 306277 h 2603500"/>
                <a:gd name="connsiteX7" fmla="*/ 2418348 w 3765550"/>
                <a:gd name="connsiteY7" fmla="*/ 319612 h 2603500"/>
                <a:gd name="connsiteX8" fmla="*/ 2343417 w 3765550"/>
                <a:gd name="connsiteY8" fmla="*/ 296752 h 2603500"/>
                <a:gd name="connsiteX9" fmla="*/ 2342783 w 3765550"/>
                <a:gd name="connsiteY9" fmla="*/ 293577 h 2603500"/>
                <a:gd name="connsiteX10" fmla="*/ 2306588 w 3765550"/>
                <a:gd name="connsiteY10" fmla="*/ 296117 h 2603500"/>
                <a:gd name="connsiteX11" fmla="*/ 2292617 w 3765550"/>
                <a:gd name="connsiteY11" fmla="*/ 266907 h 2603500"/>
                <a:gd name="connsiteX12" fmla="*/ 2239278 w 3765550"/>
                <a:gd name="connsiteY12" fmla="*/ 253572 h 2603500"/>
                <a:gd name="connsiteX13" fmla="*/ 2156092 w 3765550"/>
                <a:gd name="connsiteY13" fmla="*/ 289132 h 2603500"/>
                <a:gd name="connsiteX14" fmla="*/ 2098942 w 3765550"/>
                <a:gd name="connsiteY14" fmla="*/ 442802 h 2603500"/>
                <a:gd name="connsiteX15" fmla="*/ 2034173 w 3765550"/>
                <a:gd name="connsiteY15" fmla="*/ 416767 h 2603500"/>
                <a:gd name="connsiteX16" fmla="*/ 1986548 w 3765550"/>
                <a:gd name="connsiteY16" fmla="*/ 401527 h 2603500"/>
                <a:gd name="connsiteX17" fmla="*/ 1881138 w 3765550"/>
                <a:gd name="connsiteY17" fmla="*/ 371682 h 2603500"/>
                <a:gd name="connsiteX18" fmla="*/ 1861453 w 3765550"/>
                <a:gd name="connsiteY18" fmla="*/ 324057 h 2603500"/>
                <a:gd name="connsiteX19" fmla="*/ 1702703 w 3765550"/>
                <a:gd name="connsiteY19" fmla="*/ 301197 h 2603500"/>
                <a:gd name="connsiteX20" fmla="*/ 1613167 w 3765550"/>
                <a:gd name="connsiteY20" fmla="*/ 245317 h 2603500"/>
                <a:gd name="connsiteX21" fmla="*/ 1592213 w 3765550"/>
                <a:gd name="connsiteY21" fmla="*/ 245317 h 2603500"/>
                <a:gd name="connsiteX22" fmla="*/ 1636663 w 3765550"/>
                <a:gd name="connsiteY22" fmla="*/ 144987 h 2603500"/>
                <a:gd name="connsiteX23" fmla="*/ 1599198 w 3765550"/>
                <a:gd name="connsiteY23" fmla="*/ 87202 h 2603500"/>
                <a:gd name="connsiteX24" fmla="*/ 1568082 w 3765550"/>
                <a:gd name="connsiteY24" fmla="*/ 6557 h 2603500"/>
                <a:gd name="connsiteX25" fmla="*/ 1502678 w 3765550"/>
                <a:gd name="connsiteY25" fmla="*/ 31322 h 2603500"/>
                <a:gd name="connsiteX26" fmla="*/ 1457592 w 3765550"/>
                <a:gd name="connsiteY26" fmla="*/ 30052 h 2603500"/>
                <a:gd name="connsiteX27" fmla="*/ 1425842 w 3765550"/>
                <a:gd name="connsiteY27" fmla="*/ 30052 h 2603500"/>
                <a:gd name="connsiteX28" fmla="*/ 1389648 w 3765550"/>
                <a:gd name="connsiteY28" fmla="*/ 17352 h 2603500"/>
                <a:gd name="connsiteX29" fmla="*/ 1376948 w 3765550"/>
                <a:gd name="connsiteY29" fmla="*/ 27512 h 2603500"/>
                <a:gd name="connsiteX30" fmla="*/ 1328688 w 3765550"/>
                <a:gd name="connsiteY30" fmla="*/ 43387 h 2603500"/>
                <a:gd name="connsiteX31" fmla="*/ 1246773 w 3765550"/>
                <a:gd name="connsiteY31" fmla="*/ 20527 h 2603500"/>
                <a:gd name="connsiteX32" fmla="*/ 1066432 w 3765550"/>
                <a:gd name="connsiteY32" fmla="*/ 46562 h 2603500"/>
                <a:gd name="connsiteX33" fmla="*/ 1045478 w 3765550"/>
                <a:gd name="connsiteY33" fmla="*/ 68152 h 2603500"/>
                <a:gd name="connsiteX34" fmla="*/ 1002932 w 3765550"/>
                <a:gd name="connsiteY34" fmla="*/ 66882 h 2603500"/>
                <a:gd name="connsiteX35" fmla="*/ 948323 w 3765550"/>
                <a:gd name="connsiteY35" fmla="*/ 101807 h 2603500"/>
                <a:gd name="connsiteX36" fmla="*/ 890538 w 3765550"/>
                <a:gd name="connsiteY36" fmla="*/ 71327 h 2603500"/>
                <a:gd name="connsiteX37" fmla="*/ 869582 w 3765550"/>
                <a:gd name="connsiteY37" fmla="*/ 84027 h 2603500"/>
                <a:gd name="connsiteX38" fmla="*/ 800367 w 3765550"/>
                <a:gd name="connsiteY38" fmla="*/ 69422 h 2603500"/>
                <a:gd name="connsiteX39" fmla="*/ 776238 w 3765550"/>
                <a:gd name="connsiteY39" fmla="*/ 40847 h 2603500"/>
                <a:gd name="connsiteX40" fmla="*/ 745123 w 3765550"/>
                <a:gd name="connsiteY40" fmla="*/ 21162 h 2603500"/>
                <a:gd name="connsiteX41" fmla="*/ 675273 w 3765550"/>
                <a:gd name="connsiteY41" fmla="*/ 127842 h 2603500"/>
                <a:gd name="connsiteX42" fmla="*/ 589548 w 3765550"/>
                <a:gd name="connsiteY42" fmla="*/ 151337 h 2603500"/>
                <a:gd name="connsiteX43" fmla="*/ 567323 w 3765550"/>
                <a:gd name="connsiteY43" fmla="*/ 171657 h 2603500"/>
                <a:gd name="connsiteX44" fmla="*/ 543828 w 3765550"/>
                <a:gd name="connsiteY44" fmla="*/ 186262 h 2603500"/>
                <a:gd name="connsiteX45" fmla="*/ 540017 w 3765550"/>
                <a:gd name="connsiteY45" fmla="*/ 209122 h 2603500"/>
                <a:gd name="connsiteX46" fmla="*/ 513982 w 3765550"/>
                <a:gd name="connsiteY46" fmla="*/ 238332 h 2603500"/>
                <a:gd name="connsiteX47" fmla="*/ 472707 w 3765550"/>
                <a:gd name="connsiteY47" fmla="*/ 363427 h 2603500"/>
                <a:gd name="connsiteX48" fmla="*/ 359678 w 3765550"/>
                <a:gd name="connsiteY48" fmla="*/ 421212 h 2603500"/>
                <a:gd name="connsiteX49" fmla="*/ 301257 w 3765550"/>
                <a:gd name="connsiteY49" fmla="*/ 428832 h 2603500"/>
                <a:gd name="connsiteX50" fmla="*/ 278398 w 3765550"/>
                <a:gd name="connsiteY50" fmla="*/ 469472 h 2603500"/>
                <a:gd name="connsiteX51" fmla="*/ 222517 w 3765550"/>
                <a:gd name="connsiteY51" fmla="*/ 496142 h 2603500"/>
                <a:gd name="connsiteX52" fmla="*/ 197753 w 3765550"/>
                <a:gd name="connsiteY52" fmla="*/ 539957 h 2603500"/>
                <a:gd name="connsiteX53" fmla="*/ 188863 w 3765550"/>
                <a:gd name="connsiteY53" fmla="*/ 575517 h 2603500"/>
                <a:gd name="connsiteX54" fmla="*/ 148223 w 3765550"/>
                <a:gd name="connsiteY54" fmla="*/ 600917 h 2603500"/>
                <a:gd name="connsiteX55" fmla="*/ 126632 w 3765550"/>
                <a:gd name="connsiteY55" fmla="*/ 613617 h 2603500"/>
                <a:gd name="connsiteX56" fmla="*/ 139332 w 3765550"/>
                <a:gd name="connsiteY56" fmla="*/ 606632 h 2603500"/>
                <a:gd name="connsiteX57" fmla="*/ 111392 w 3765550"/>
                <a:gd name="connsiteY57" fmla="*/ 651717 h 2603500"/>
                <a:gd name="connsiteX58" fmla="*/ 103773 w 3765550"/>
                <a:gd name="connsiteY58" fmla="*/ 658702 h 2603500"/>
                <a:gd name="connsiteX59" fmla="*/ 93613 w 3765550"/>
                <a:gd name="connsiteY59" fmla="*/ 680292 h 2603500"/>
                <a:gd name="connsiteX60" fmla="*/ 70117 w 3765550"/>
                <a:gd name="connsiteY60" fmla="*/ 693627 h 2603500"/>
                <a:gd name="connsiteX61" fmla="*/ 66942 w 3765550"/>
                <a:gd name="connsiteY61" fmla="*/ 705057 h 2603500"/>
                <a:gd name="connsiteX62" fmla="*/ 55513 w 3765550"/>
                <a:gd name="connsiteY62" fmla="*/ 756492 h 2603500"/>
                <a:gd name="connsiteX63" fmla="*/ 72657 w 3765550"/>
                <a:gd name="connsiteY63" fmla="*/ 768557 h 2603500"/>
                <a:gd name="connsiteX64" fmla="*/ 92978 w 3765550"/>
                <a:gd name="connsiteY64" fmla="*/ 803482 h 2603500"/>
                <a:gd name="connsiteX65" fmla="*/ 72023 w 3765550"/>
                <a:gd name="connsiteY65" fmla="*/ 842217 h 2603500"/>
                <a:gd name="connsiteX66" fmla="*/ 88532 w 3765550"/>
                <a:gd name="connsiteY66" fmla="*/ 940642 h 2603500"/>
                <a:gd name="connsiteX67" fmla="*/ 63132 w 3765550"/>
                <a:gd name="connsiteY67" fmla="*/ 990807 h 2603500"/>
                <a:gd name="connsiteX68" fmla="*/ 38367 w 3765550"/>
                <a:gd name="connsiteY68" fmla="*/ 1054307 h 2603500"/>
                <a:gd name="connsiteX69" fmla="*/ 5348 w 3765550"/>
                <a:gd name="connsiteY69" fmla="*/ 1064467 h 2603500"/>
                <a:gd name="connsiteX70" fmla="*/ 21857 w 3765550"/>
                <a:gd name="connsiteY70" fmla="*/ 1077167 h 2603500"/>
                <a:gd name="connsiteX71" fmla="*/ 60592 w 3765550"/>
                <a:gd name="connsiteY71" fmla="*/ 1118442 h 2603500"/>
                <a:gd name="connsiteX72" fmla="*/ 54242 w 3765550"/>
                <a:gd name="connsiteY72" fmla="*/ 1126697 h 2603500"/>
                <a:gd name="connsiteX73" fmla="*/ 49798 w 3765550"/>
                <a:gd name="connsiteY73" fmla="*/ 1143207 h 2603500"/>
                <a:gd name="connsiteX74" fmla="*/ 57417 w 3765550"/>
                <a:gd name="connsiteY74" fmla="*/ 1159082 h 2603500"/>
                <a:gd name="connsiteX75" fmla="*/ 68848 w 3765550"/>
                <a:gd name="connsiteY75" fmla="*/ 1167337 h 2603500"/>
                <a:gd name="connsiteX76" fmla="*/ 41542 w 3765550"/>
                <a:gd name="connsiteY76" fmla="*/ 1146382 h 2603500"/>
                <a:gd name="connsiteX77" fmla="*/ 40273 w 3765550"/>
                <a:gd name="connsiteY77" fmla="*/ 1166702 h 2603500"/>
                <a:gd name="connsiteX78" fmla="*/ 94882 w 3765550"/>
                <a:gd name="connsiteY78" fmla="*/ 1214327 h 2603500"/>
                <a:gd name="connsiteX79" fmla="*/ 75832 w 3765550"/>
                <a:gd name="connsiteY79" fmla="*/ 1201627 h 2603500"/>
                <a:gd name="connsiteX80" fmla="*/ 40907 w 3765550"/>
                <a:gd name="connsiteY80" fmla="*/ 1202262 h 2603500"/>
                <a:gd name="connsiteX81" fmla="*/ 69482 w 3765550"/>
                <a:gd name="connsiteY81" fmla="*/ 1235282 h 2603500"/>
                <a:gd name="connsiteX82" fmla="*/ 91073 w 3765550"/>
                <a:gd name="connsiteY82" fmla="*/ 1237822 h 2603500"/>
                <a:gd name="connsiteX83" fmla="*/ 77738 w 3765550"/>
                <a:gd name="connsiteY83" fmla="*/ 1246077 h 2603500"/>
                <a:gd name="connsiteX84" fmla="*/ 125998 w 3765550"/>
                <a:gd name="connsiteY84" fmla="*/ 1254332 h 2603500"/>
                <a:gd name="connsiteX85" fmla="*/ 101232 w 3765550"/>
                <a:gd name="connsiteY85" fmla="*/ 1272747 h 2603500"/>
                <a:gd name="connsiteX86" fmla="*/ 124728 w 3765550"/>
                <a:gd name="connsiteY86" fmla="*/ 1302592 h 2603500"/>
                <a:gd name="connsiteX87" fmla="*/ 142507 w 3765550"/>
                <a:gd name="connsiteY87" fmla="*/ 1331802 h 2603500"/>
                <a:gd name="connsiteX88" fmla="*/ 176798 w 3765550"/>
                <a:gd name="connsiteY88" fmla="*/ 1358472 h 2603500"/>
                <a:gd name="connsiteX89" fmla="*/ 213628 w 3765550"/>
                <a:gd name="connsiteY89" fmla="*/ 1411812 h 2603500"/>
                <a:gd name="connsiteX90" fmla="*/ 213628 w 3765550"/>
                <a:gd name="connsiteY90" fmla="*/ 1426417 h 2603500"/>
                <a:gd name="connsiteX91" fmla="*/ 236488 w 3765550"/>
                <a:gd name="connsiteY91" fmla="*/ 1476582 h 2603500"/>
                <a:gd name="connsiteX92" fmla="*/ 232678 w 3765550"/>
                <a:gd name="connsiteY92" fmla="*/ 1484202 h 2603500"/>
                <a:gd name="connsiteX93" fmla="*/ 273953 w 3765550"/>
                <a:gd name="connsiteY93" fmla="*/ 1512142 h 2603500"/>
                <a:gd name="connsiteX94" fmla="*/ 258078 w 3765550"/>
                <a:gd name="connsiteY94" fmla="*/ 1515952 h 2603500"/>
                <a:gd name="connsiteX95" fmla="*/ 293638 w 3765550"/>
                <a:gd name="connsiteY95" fmla="*/ 1538812 h 2603500"/>
                <a:gd name="connsiteX96" fmla="*/ 319038 w 3765550"/>
                <a:gd name="connsiteY96" fmla="*/ 1566752 h 2603500"/>
                <a:gd name="connsiteX97" fmla="*/ 375553 w 3765550"/>
                <a:gd name="connsiteY97" fmla="*/ 1609932 h 2603500"/>
                <a:gd name="connsiteX98" fmla="*/ 509538 w 3765550"/>
                <a:gd name="connsiteY98" fmla="*/ 1718517 h 2603500"/>
                <a:gd name="connsiteX99" fmla="*/ 795923 w 3765550"/>
                <a:gd name="connsiteY99" fmla="*/ 1760427 h 2603500"/>
                <a:gd name="connsiteX100" fmla="*/ 781317 w 3765550"/>
                <a:gd name="connsiteY100" fmla="*/ 1761062 h 2603500"/>
                <a:gd name="connsiteX101" fmla="*/ 887998 w 3765550"/>
                <a:gd name="connsiteY101" fmla="*/ 1781382 h 2603500"/>
                <a:gd name="connsiteX102" fmla="*/ 939432 w 3765550"/>
                <a:gd name="connsiteY102" fmla="*/ 1773127 h 2603500"/>
                <a:gd name="connsiteX103" fmla="*/ 1205498 w 3765550"/>
                <a:gd name="connsiteY103" fmla="*/ 1768047 h 2603500"/>
                <a:gd name="connsiteX104" fmla="*/ 1264553 w 3765550"/>
                <a:gd name="connsiteY104" fmla="*/ 1802337 h 2603500"/>
                <a:gd name="connsiteX105" fmla="*/ 1278523 w 3765550"/>
                <a:gd name="connsiteY105" fmla="*/ 1797257 h 2603500"/>
                <a:gd name="connsiteX106" fmla="*/ 1329323 w 3765550"/>
                <a:gd name="connsiteY106" fmla="*/ 1870282 h 2603500"/>
                <a:gd name="connsiteX107" fmla="*/ 1366153 w 3765550"/>
                <a:gd name="connsiteY107" fmla="*/ 1848692 h 2603500"/>
                <a:gd name="connsiteX108" fmla="*/ 1423938 w 3765550"/>
                <a:gd name="connsiteY108" fmla="*/ 1865837 h 2603500"/>
                <a:gd name="connsiteX109" fmla="*/ 1462673 w 3765550"/>
                <a:gd name="connsiteY109" fmla="*/ 1865202 h 2603500"/>
                <a:gd name="connsiteX110" fmla="*/ 1455053 w 3765550"/>
                <a:gd name="connsiteY110" fmla="*/ 1846787 h 2603500"/>
                <a:gd name="connsiteX111" fmla="*/ 1512203 w 3765550"/>
                <a:gd name="connsiteY111" fmla="*/ 1889332 h 2603500"/>
                <a:gd name="connsiteX112" fmla="*/ 1550938 w 3765550"/>
                <a:gd name="connsiteY112" fmla="*/ 1885522 h 2603500"/>
                <a:gd name="connsiteX113" fmla="*/ 1555382 w 3765550"/>
                <a:gd name="connsiteY113" fmla="*/ 1957277 h 2603500"/>
                <a:gd name="connsiteX114" fmla="*/ 1554748 w 3765550"/>
                <a:gd name="connsiteY114" fmla="*/ 2009347 h 2603500"/>
                <a:gd name="connsiteX115" fmla="*/ 1489978 w 3765550"/>
                <a:gd name="connsiteY115" fmla="*/ 2067767 h 2603500"/>
                <a:gd name="connsiteX116" fmla="*/ 1506488 w 3765550"/>
                <a:gd name="connsiteY116" fmla="*/ 2089357 h 2603500"/>
                <a:gd name="connsiteX117" fmla="*/ 1522998 w 3765550"/>
                <a:gd name="connsiteY117" fmla="*/ 2110947 h 2603500"/>
                <a:gd name="connsiteX118" fmla="*/ 1540142 w 3765550"/>
                <a:gd name="connsiteY118" fmla="*/ 2118567 h 2603500"/>
                <a:gd name="connsiteX119" fmla="*/ 1524267 w 3765550"/>
                <a:gd name="connsiteY119" fmla="*/ 2111582 h 2603500"/>
                <a:gd name="connsiteX120" fmla="*/ 1576338 w 3765550"/>
                <a:gd name="connsiteY120" fmla="*/ 2134442 h 2603500"/>
                <a:gd name="connsiteX121" fmla="*/ 1550303 w 3765550"/>
                <a:gd name="connsiteY121" fmla="*/ 2131902 h 2603500"/>
                <a:gd name="connsiteX122" fmla="*/ 1672857 w 3765550"/>
                <a:gd name="connsiteY122" fmla="*/ 2199847 h 2603500"/>
                <a:gd name="connsiteX123" fmla="*/ 1700798 w 3765550"/>
                <a:gd name="connsiteY123" fmla="*/ 2246202 h 2603500"/>
                <a:gd name="connsiteX124" fmla="*/ 1764298 w 3765550"/>
                <a:gd name="connsiteY124" fmla="*/ 2317322 h 2603500"/>
                <a:gd name="connsiteX125" fmla="*/ 1740803 w 3765550"/>
                <a:gd name="connsiteY125" fmla="*/ 2327482 h 2603500"/>
                <a:gd name="connsiteX126" fmla="*/ 1783982 w 3765550"/>
                <a:gd name="connsiteY126" fmla="*/ 2390982 h 2603500"/>
                <a:gd name="connsiteX127" fmla="*/ 1734453 w 3765550"/>
                <a:gd name="connsiteY127" fmla="*/ 2418922 h 2603500"/>
                <a:gd name="connsiteX128" fmla="*/ 1710957 w 3765550"/>
                <a:gd name="connsiteY128" fmla="*/ 2428447 h 2603500"/>
                <a:gd name="connsiteX129" fmla="*/ 1690003 w 3765550"/>
                <a:gd name="connsiteY129" fmla="*/ 2462737 h 2603500"/>
                <a:gd name="connsiteX130" fmla="*/ 1667142 w 3765550"/>
                <a:gd name="connsiteY130" fmla="*/ 2475437 h 2603500"/>
                <a:gd name="connsiteX131" fmla="*/ 1668413 w 3765550"/>
                <a:gd name="connsiteY131" fmla="*/ 2498932 h 2603500"/>
                <a:gd name="connsiteX132" fmla="*/ 1669682 w 3765550"/>
                <a:gd name="connsiteY132" fmla="*/ 2511632 h 2603500"/>
                <a:gd name="connsiteX133" fmla="*/ 1709053 w 3765550"/>
                <a:gd name="connsiteY133" fmla="*/ 2525602 h 2603500"/>
                <a:gd name="connsiteX134" fmla="*/ 1796682 w 3765550"/>
                <a:gd name="connsiteY134" fmla="*/ 2561162 h 2603500"/>
                <a:gd name="connsiteX135" fmla="*/ 1803032 w 3765550"/>
                <a:gd name="connsiteY135" fmla="*/ 2564972 h 2603500"/>
                <a:gd name="connsiteX136" fmla="*/ 1797953 w 3765550"/>
                <a:gd name="connsiteY136" fmla="*/ 2569417 h 2603500"/>
                <a:gd name="connsiteX137" fmla="*/ 1942098 w 3765550"/>
                <a:gd name="connsiteY137" fmla="*/ 2600532 h 2603500"/>
                <a:gd name="connsiteX138" fmla="*/ 1931938 w 3765550"/>
                <a:gd name="connsiteY138" fmla="*/ 2599897 h 2603500"/>
                <a:gd name="connsiteX139" fmla="*/ 2081798 w 3765550"/>
                <a:gd name="connsiteY139" fmla="*/ 2581482 h 2603500"/>
                <a:gd name="connsiteX140" fmla="*/ 2474228 w 3765550"/>
                <a:gd name="connsiteY140" fmla="*/ 2485597 h 2603500"/>
                <a:gd name="connsiteX141" fmla="*/ 2479308 w 3765550"/>
                <a:gd name="connsiteY141" fmla="*/ 2485597 h 2603500"/>
                <a:gd name="connsiteX142" fmla="*/ 2697113 w 3765550"/>
                <a:gd name="connsiteY142" fmla="*/ 2396697 h 2603500"/>
                <a:gd name="connsiteX143" fmla="*/ 2761248 w 3765550"/>
                <a:gd name="connsiteY143" fmla="*/ 2367487 h 2603500"/>
                <a:gd name="connsiteX144" fmla="*/ 2783473 w 3765550"/>
                <a:gd name="connsiteY144" fmla="*/ 2323672 h 2603500"/>
                <a:gd name="connsiteX145" fmla="*/ 2812683 w 3765550"/>
                <a:gd name="connsiteY145" fmla="*/ 2311607 h 2603500"/>
                <a:gd name="connsiteX146" fmla="*/ 2906028 w 3765550"/>
                <a:gd name="connsiteY146" fmla="*/ 2253822 h 2603500"/>
                <a:gd name="connsiteX147" fmla="*/ 3114942 w 3765550"/>
                <a:gd name="connsiteY147" fmla="*/ 2110947 h 2603500"/>
                <a:gd name="connsiteX148" fmla="*/ 3139708 w 3765550"/>
                <a:gd name="connsiteY148" fmla="*/ 2069672 h 2603500"/>
                <a:gd name="connsiteX149" fmla="*/ 3145423 w 3765550"/>
                <a:gd name="connsiteY149" fmla="*/ 2041097 h 2603500"/>
                <a:gd name="connsiteX150" fmla="*/ 3166378 w 3765550"/>
                <a:gd name="connsiteY150" fmla="*/ 2018237 h 2603500"/>
                <a:gd name="connsiteX151" fmla="*/ 3159392 w 3765550"/>
                <a:gd name="connsiteY151" fmla="*/ 2018237 h 2603500"/>
                <a:gd name="connsiteX152" fmla="*/ 3136533 w 3765550"/>
                <a:gd name="connsiteY152" fmla="*/ 1971882 h 2603500"/>
                <a:gd name="connsiteX153" fmla="*/ 3158758 w 3765550"/>
                <a:gd name="connsiteY153" fmla="*/ 1941402 h 2603500"/>
                <a:gd name="connsiteX154" fmla="*/ 3132723 w 3765550"/>
                <a:gd name="connsiteY154" fmla="*/ 1929972 h 2603500"/>
                <a:gd name="connsiteX155" fmla="*/ 3194317 w 3765550"/>
                <a:gd name="connsiteY155" fmla="*/ 1846152 h 2603500"/>
                <a:gd name="connsiteX156" fmla="*/ 3210192 w 3765550"/>
                <a:gd name="connsiteY156" fmla="*/ 1818212 h 2603500"/>
                <a:gd name="connsiteX157" fmla="*/ 3219083 w 3765550"/>
                <a:gd name="connsiteY157" fmla="*/ 1811862 h 2603500"/>
                <a:gd name="connsiteX158" fmla="*/ 3227338 w 3765550"/>
                <a:gd name="connsiteY158" fmla="*/ 1790907 h 2603500"/>
                <a:gd name="connsiteX159" fmla="*/ 3265438 w 3765550"/>
                <a:gd name="connsiteY159" fmla="*/ 1760427 h 2603500"/>
                <a:gd name="connsiteX160" fmla="*/ 3264167 w 3765550"/>
                <a:gd name="connsiteY160" fmla="*/ 1750902 h 2603500"/>
                <a:gd name="connsiteX161" fmla="*/ 3284488 w 3765550"/>
                <a:gd name="connsiteY161" fmla="*/ 1740742 h 2603500"/>
                <a:gd name="connsiteX162" fmla="*/ 3321317 w 3765550"/>
                <a:gd name="connsiteY162" fmla="*/ 1688037 h 2603500"/>
                <a:gd name="connsiteX163" fmla="*/ 3443873 w 3765550"/>
                <a:gd name="connsiteY163" fmla="*/ 1544527 h 2603500"/>
                <a:gd name="connsiteX164" fmla="*/ 3521342 w 3765550"/>
                <a:gd name="connsiteY164" fmla="*/ 1461977 h 2603500"/>
                <a:gd name="connsiteX165" fmla="*/ 3612148 w 3765550"/>
                <a:gd name="connsiteY165" fmla="*/ 1329897 h 2603500"/>
                <a:gd name="connsiteX166" fmla="*/ 3662948 w 3765550"/>
                <a:gd name="connsiteY166" fmla="*/ 1230837 h 2603500"/>
                <a:gd name="connsiteX167" fmla="*/ 3699142 w 3765550"/>
                <a:gd name="connsiteY167" fmla="*/ 1133047 h 2603500"/>
                <a:gd name="connsiteX168" fmla="*/ 3739783 w 3765550"/>
                <a:gd name="connsiteY168" fmla="*/ 1040337 h 2603500"/>
                <a:gd name="connsiteX169" fmla="*/ 3742958 w 3765550"/>
                <a:gd name="connsiteY169" fmla="*/ 997792 h 2603500"/>
                <a:gd name="connsiteX170" fmla="*/ 3762008 w 3765550"/>
                <a:gd name="connsiteY170" fmla="*/ 977472 h 2603500"/>
                <a:gd name="connsiteX171" fmla="*/ 3747403 w 3765550"/>
                <a:gd name="connsiteY171" fmla="*/ 988902 h 2603500"/>
                <a:gd name="connsiteX172" fmla="*/ 3749942 w 3765550"/>
                <a:gd name="connsiteY172" fmla="*/ 945722 h 2603500"/>
                <a:gd name="connsiteX173" fmla="*/ 3756928 w 3765550"/>
                <a:gd name="connsiteY173" fmla="*/ 917147 h 2603500"/>
                <a:gd name="connsiteX174" fmla="*/ 3737878 w 3765550"/>
                <a:gd name="connsiteY174" fmla="*/ 922862 h 2603500"/>
                <a:gd name="connsiteX175" fmla="*/ 3711842 w 3765550"/>
                <a:gd name="connsiteY175" fmla="*/ 964137 h 2603500"/>
                <a:gd name="connsiteX176" fmla="*/ 3678823 w 3765550"/>
                <a:gd name="connsiteY176" fmla="*/ 997157 h 2603500"/>
                <a:gd name="connsiteX177" fmla="*/ 3650248 w 3765550"/>
                <a:gd name="connsiteY177" fmla="*/ 1015572 h 2603500"/>
                <a:gd name="connsiteX178" fmla="*/ 3635008 w 3765550"/>
                <a:gd name="connsiteY178" fmla="*/ 1033987 h 2603500"/>
                <a:gd name="connsiteX179" fmla="*/ 3605163 w 3765550"/>
                <a:gd name="connsiteY179" fmla="*/ 1050497 h 2603500"/>
                <a:gd name="connsiteX180" fmla="*/ 3565792 w 3765550"/>
                <a:gd name="connsiteY180" fmla="*/ 1098122 h 2603500"/>
                <a:gd name="connsiteX181" fmla="*/ 3537217 w 3765550"/>
                <a:gd name="connsiteY181" fmla="*/ 1106377 h 2603500"/>
                <a:gd name="connsiteX182" fmla="*/ 3427998 w 3765550"/>
                <a:gd name="connsiteY182" fmla="*/ 1138762 h 2603500"/>
                <a:gd name="connsiteX183" fmla="*/ 3394342 w 3765550"/>
                <a:gd name="connsiteY183" fmla="*/ 1154637 h 2603500"/>
                <a:gd name="connsiteX184" fmla="*/ 3433713 w 3765550"/>
                <a:gd name="connsiteY184" fmla="*/ 1110187 h 2603500"/>
                <a:gd name="connsiteX185" fmla="*/ 3327033 w 3765550"/>
                <a:gd name="connsiteY185" fmla="*/ 1034622 h 2603500"/>
                <a:gd name="connsiteX186" fmla="*/ 3279408 w 3765550"/>
                <a:gd name="connsiteY186" fmla="*/ 1039702 h 2603500"/>
                <a:gd name="connsiteX187" fmla="*/ 3264167 w 3765550"/>
                <a:gd name="connsiteY187" fmla="*/ 1018747 h 2603500"/>
                <a:gd name="connsiteX188" fmla="*/ 3257183 w 3765550"/>
                <a:gd name="connsiteY188" fmla="*/ 1043512 h 2603500"/>
                <a:gd name="connsiteX189" fmla="*/ 3192413 w 3765550"/>
                <a:gd name="connsiteY189" fmla="*/ 914607 h 2603500"/>
                <a:gd name="connsiteX190" fmla="*/ 3148598 w 3765550"/>
                <a:gd name="connsiteY190" fmla="*/ 894922 h 2603500"/>
                <a:gd name="connsiteX191" fmla="*/ 3131453 w 3765550"/>
                <a:gd name="connsiteY191" fmla="*/ 893017 h 2603500"/>
                <a:gd name="connsiteX192" fmla="*/ 3118753 w 3765550"/>
                <a:gd name="connsiteY192" fmla="*/ 842852 h 2603500"/>
                <a:gd name="connsiteX193" fmla="*/ 3100973 w 3765550"/>
                <a:gd name="connsiteY193" fmla="*/ 780622 h 2603500"/>
                <a:gd name="connsiteX194" fmla="*/ 3110498 w 3765550"/>
                <a:gd name="connsiteY194" fmla="*/ 774907 h 2603500"/>
                <a:gd name="connsiteX195" fmla="*/ 3088908 w 3765550"/>
                <a:gd name="connsiteY195" fmla="*/ 750777 h 2603500"/>
                <a:gd name="connsiteX196" fmla="*/ 3086367 w 3765550"/>
                <a:gd name="connsiteY196" fmla="*/ 727282 h 2603500"/>
                <a:gd name="connsiteX197" fmla="*/ 3048903 w 3765550"/>
                <a:gd name="connsiteY197" fmla="*/ 705692 h 2603500"/>
                <a:gd name="connsiteX198" fmla="*/ 3014613 w 3765550"/>
                <a:gd name="connsiteY198" fmla="*/ 687912 h 2603500"/>
                <a:gd name="connsiteX199" fmla="*/ 3019058 w 3765550"/>
                <a:gd name="connsiteY199" fmla="*/ 639652 h 2603500"/>
                <a:gd name="connsiteX200" fmla="*/ 2980323 w 3765550"/>
                <a:gd name="connsiteY200" fmla="*/ 616792 h 2603500"/>
                <a:gd name="connsiteX201" fmla="*/ 2940953 w 3765550"/>
                <a:gd name="connsiteY201" fmla="*/ 555832 h 2603500"/>
                <a:gd name="connsiteX202" fmla="*/ 2902217 w 3765550"/>
                <a:gd name="connsiteY202" fmla="*/ 510747 h 2603500"/>
                <a:gd name="connsiteX203" fmla="*/ 2903488 w 3765550"/>
                <a:gd name="connsiteY203" fmla="*/ 494872 h 2603500"/>
                <a:gd name="connsiteX204" fmla="*/ 2867928 w 3765550"/>
                <a:gd name="connsiteY204" fmla="*/ 447247 h 2603500"/>
                <a:gd name="connsiteX205" fmla="*/ 2873642 w 3765550"/>
                <a:gd name="connsiteY205" fmla="*/ 444707 h 2603500"/>
                <a:gd name="connsiteX206" fmla="*/ 2794267 w 3765550"/>
                <a:gd name="connsiteY206" fmla="*/ 356442 h 26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3765550" h="2603500">
                  <a:moveTo>
                    <a:pt x="2756803" y="242142"/>
                  </a:moveTo>
                  <a:cubicBezTo>
                    <a:pt x="2742198" y="244682"/>
                    <a:pt x="2726323" y="242777"/>
                    <a:pt x="2712988" y="249127"/>
                  </a:cubicBezTo>
                  <a:cubicBezTo>
                    <a:pt x="2699017" y="256112"/>
                    <a:pt x="2692033" y="272622"/>
                    <a:pt x="2678698" y="281512"/>
                  </a:cubicBezTo>
                  <a:cubicBezTo>
                    <a:pt x="2674253" y="284687"/>
                    <a:pt x="2666633" y="280877"/>
                    <a:pt x="2662188" y="284687"/>
                  </a:cubicBezTo>
                  <a:cubicBezTo>
                    <a:pt x="2659013" y="287227"/>
                    <a:pt x="2635517" y="322152"/>
                    <a:pt x="2622817" y="322152"/>
                  </a:cubicBezTo>
                  <a:cubicBezTo>
                    <a:pt x="2572653" y="321517"/>
                    <a:pt x="2523758" y="312627"/>
                    <a:pt x="2473592" y="308182"/>
                  </a:cubicBezTo>
                  <a:cubicBezTo>
                    <a:pt x="2465338" y="307547"/>
                    <a:pt x="2457083" y="305007"/>
                    <a:pt x="2448828" y="306277"/>
                  </a:cubicBezTo>
                  <a:cubicBezTo>
                    <a:pt x="2438033" y="308817"/>
                    <a:pt x="2429142" y="320247"/>
                    <a:pt x="2418348" y="319612"/>
                  </a:cubicBezTo>
                  <a:cubicBezTo>
                    <a:pt x="2392313" y="317072"/>
                    <a:pt x="2368183" y="305007"/>
                    <a:pt x="2343417" y="296752"/>
                  </a:cubicBezTo>
                  <a:cubicBezTo>
                    <a:pt x="2342148" y="296117"/>
                    <a:pt x="2344053" y="294212"/>
                    <a:pt x="2342783" y="293577"/>
                  </a:cubicBezTo>
                  <a:cubicBezTo>
                    <a:pt x="2331353" y="289132"/>
                    <a:pt x="2316748" y="302467"/>
                    <a:pt x="2306588" y="296117"/>
                  </a:cubicBezTo>
                  <a:cubicBezTo>
                    <a:pt x="2297698" y="289767"/>
                    <a:pt x="2302142" y="272622"/>
                    <a:pt x="2292617" y="266907"/>
                  </a:cubicBezTo>
                  <a:cubicBezTo>
                    <a:pt x="2276742" y="257382"/>
                    <a:pt x="2257058" y="256112"/>
                    <a:pt x="2239278" y="253572"/>
                  </a:cubicBezTo>
                  <a:cubicBezTo>
                    <a:pt x="2224673" y="251667"/>
                    <a:pt x="2160538" y="277067"/>
                    <a:pt x="2156092" y="289132"/>
                  </a:cubicBezTo>
                  <a:cubicBezTo>
                    <a:pt x="2123073" y="384382"/>
                    <a:pt x="2171333" y="384382"/>
                    <a:pt x="2098942" y="442802"/>
                  </a:cubicBezTo>
                  <a:cubicBezTo>
                    <a:pt x="2077353" y="459947"/>
                    <a:pt x="2042428" y="421212"/>
                    <a:pt x="2034173" y="416767"/>
                  </a:cubicBezTo>
                  <a:cubicBezTo>
                    <a:pt x="2018932" y="409782"/>
                    <a:pt x="2003057" y="404702"/>
                    <a:pt x="1986548" y="401527"/>
                  </a:cubicBezTo>
                  <a:cubicBezTo>
                    <a:pt x="1954163" y="395812"/>
                    <a:pt x="1903363" y="407242"/>
                    <a:pt x="1881138" y="371682"/>
                  </a:cubicBezTo>
                  <a:cubicBezTo>
                    <a:pt x="1871613" y="357077"/>
                    <a:pt x="1876692" y="332947"/>
                    <a:pt x="1861453" y="324057"/>
                  </a:cubicBezTo>
                  <a:cubicBezTo>
                    <a:pt x="1712863" y="233887"/>
                    <a:pt x="1803032" y="316437"/>
                    <a:pt x="1702703" y="301197"/>
                  </a:cubicBezTo>
                  <a:cubicBezTo>
                    <a:pt x="1662063" y="294847"/>
                    <a:pt x="1647457" y="263097"/>
                    <a:pt x="1613167" y="245317"/>
                  </a:cubicBezTo>
                  <a:cubicBezTo>
                    <a:pt x="1606817" y="242142"/>
                    <a:pt x="1597928" y="249762"/>
                    <a:pt x="1592213" y="245317"/>
                  </a:cubicBezTo>
                  <a:cubicBezTo>
                    <a:pt x="1533157" y="198327"/>
                    <a:pt x="1638567" y="193882"/>
                    <a:pt x="1636663" y="144987"/>
                  </a:cubicBezTo>
                  <a:cubicBezTo>
                    <a:pt x="1636028" y="133557"/>
                    <a:pt x="1596657" y="94187"/>
                    <a:pt x="1599198" y="87202"/>
                  </a:cubicBezTo>
                  <a:cubicBezTo>
                    <a:pt x="1619517" y="25607"/>
                    <a:pt x="1688732" y="37037"/>
                    <a:pt x="1568082" y="6557"/>
                  </a:cubicBezTo>
                  <a:cubicBezTo>
                    <a:pt x="1531888" y="-2333"/>
                    <a:pt x="1533157" y="24337"/>
                    <a:pt x="1502678" y="31322"/>
                  </a:cubicBezTo>
                  <a:cubicBezTo>
                    <a:pt x="1488073" y="34497"/>
                    <a:pt x="1472832" y="30052"/>
                    <a:pt x="1457592" y="30052"/>
                  </a:cubicBezTo>
                  <a:cubicBezTo>
                    <a:pt x="1446798" y="29417"/>
                    <a:pt x="1436003" y="31957"/>
                    <a:pt x="1425842" y="30052"/>
                  </a:cubicBezTo>
                  <a:cubicBezTo>
                    <a:pt x="1413142" y="27512"/>
                    <a:pt x="1402348" y="17987"/>
                    <a:pt x="1389648" y="17352"/>
                  </a:cubicBezTo>
                  <a:cubicBezTo>
                    <a:pt x="1384567" y="17352"/>
                    <a:pt x="1382028" y="25607"/>
                    <a:pt x="1376948" y="27512"/>
                  </a:cubicBezTo>
                  <a:cubicBezTo>
                    <a:pt x="1361073" y="33862"/>
                    <a:pt x="1345198" y="44022"/>
                    <a:pt x="1328688" y="43387"/>
                  </a:cubicBezTo>
                  <a:cubicBezTo>
                    <a:pt x="1300113" y="42117"/>
                    <a:pt x="1274713" y="25607"/>
                    <a:pt x="1246773" y="20527"/>
                  </a:cubicBezTo>
                  <a:cubicBezTo>
                    <a:pt x="1208673" y="14177"/>
                    <a:pt x="1097548" y="26877"/>
                    <a:pt x="1066432" y="46562"/>
                  </a:cubicBezTo>
                  <a:cubicBezTo>
                    <a:pt x="1058178" y="52277"/>
                    <a:pt x="1055003" y="64977"/>
                    <a:pt x="1045478" y="68152"/>
                  </a:cubicBezTo>
                  <a:cubicBezTo>
                    <a:pt x="1032142" y="72597"/>
                    <a:pt x="1016267" y="61802"/>
                    <a:pt x="1002932" y="66882"/>
                  </a:cubicBezTo>
                  <a:cubicBezTo>
                    <a:pt x="982613" y="73867"/>
                    <a:pt x="968007" y="92917"/>
                    <a:pt x="948323" y="101807"/>
                  </a:cubicBezTo>
                  <a:cubicBezTo>
                    <a:pt x="922288" y="113237"/>
                    <a:pt x="907682" y="76407"/>
                    <a:pt x="890538" y="71327"/>
                  </a:cubicBezTo>
                  <a:cubicBezTo>
                    <a:pt x="882917" y="68787"/>
                    <a:pt x="877838" y="83392"/>
                    <a:pt x="869582" y="84027"/>
                  </a:cubicBezTo>
                  <a:cubicBezTo>
                    <a:pt x="867042" y="84027"/>
                    <a:pt x="813703" y="80852"/>
                    <a:pt x="800367" y="69422"/>
                  </a:cubicBezTo>
                  <a:cubicBezTo>
                    <a:pt x="790842" y="61167"/>
                    <a:pt x="782588" y="51642"/>
                    <a:pt x="776238" y="40847"/>
                  </a:cubicBezTo>
                  <a:cubicBezTo>
                    <a:pt x="771792" y="32592"/>
                    <a:pt x="776238" y="-9953"/>
                    <a:pt x="745123" y="21162"/>
                  </a:cubicBezTo>
                  <a:cubicBezTo>
                    <a:pt x="725438" y="40212"/>
                    <a:pt x="705753" y="117682"/>
                    <a:pt x="675273" y="127842"/>
                  </a:cubicBezTo>
                  <a:cubicBezTo>
                    <a:pt x="647332" y="137367"/>
                    <a:pt x="613042" y="133557"/>
                    <a:pt x="589548" y="151337"/>
                  </a:cubicBezTo>
                  <a:cubicBezTo>
                    <a:pt x="581292" y="157687"/>
                    <a:pt x="574942" y="165942"/>
                    <a:pt x="567323" y="171657"/>
                  </a:cubicBezTo>
                  <a:cubicBezTo>
                    <a:pt x="560338" y="177372"/>
                    <a:pt x="549542" y="179277"/>
                    <a:pt x="543828" y="186262"/>
                  </a:cubicBezTo>
                  <a:cubicBezTo>
                    <a:pt x="539382" y="192612"/>
                    <a:pt x="543828" y="202772"/>
                    <a:pt x="540017" y="209122"/>
                  </a:cubicBezTo>
                  <a:cubicBezTo>
                    <a:pt x="533667" y="220552"/>
                    <a:pt x="518428" y="225632"/>
                    <a:pt x="513982" y="238332"/>
                  </a:cubicBezTo>
                  <a:cubicBezTo>
                    <a:pt x="484773" y="326597"/>
                    <a:pt x="531128" y="305007"/>
                    <a:pt x="472707" y="363427"/>
                  </a:cubicBezTo>
                  <a:cubicBezTo>
                    <a:pt x="450482" y="385652"/>
                    <a:pt x="387617" y="416132"/>
                    <a:pt x="359678" y="421212"/>
                  </a:cubicBezTo>
                  <a:cubicBezTo>
                    <a:pt x="324753" y="428197"/>
                    <a:pt x="321578" y="400892"/>
                    <a:pt x="301257" y="428832"/>
                  </a:cubicBezTo>
                  <a:cubicBezTo>
                    <a:pt x="291732" y="441532"/>
                    <a:pt x="290463" y="459312"/>
                    <a:pt x="278398" y="469472"/>
                  </a:cubicBezTo>
                  <a:cubicBezTo>
                    <a:pt x="262523" y="482807"/>
                    <a:pt x="233313" y="478362"/>
                    <a:pt x="222517" y="496142"/>
                  </a:cubicBezTo>
                  <a:cubicBezTo>
                    <a:pt x="214263" y="510747"/>
                    <a:pt x="204103" y="524082"/>
                    <a:pt x="197753" y="539957"/>
                  </a:cubicBezTo>
                  <a:cubicBezTo>
                    <a:pt x="193307" y="551387"/>
                    <a:pt x="196482" y="565992"/>
                    <a:pt x="188863" y="575517"/>
                  </a:cubicBezTo>
                  <a:cubicBezTo>
                    <a:pt x="178703" y="587582"/>
                    <a:pt x="162192" y="593297"/>
                    <a:pt x="148223" y="600917"/>
                  </a:cubicBezTo>
                  <a:cubicBezTo>
                    <a:pt x="141238" y="604727"/>
                    <a:pt x="113932" y="605362"/>
                    <a:pt x="126632" y="613617"/>
                  </a:cubicBezTo>
                  <a:cubicBezTo>
                    <a:pt x="130442" y="616157"/>
                    <a:pt x="141238" y="602187"/>
                    <a:pt x="139332" y="606632"/>
                  </a:cubicBezTo>
                  <a:cubicBezTo>
                    <a:pt x="132982" y="623142"/>
                    <a:pt x="120917" y="637112"/>
                    <a:pt x="111392" y="651717"/>
                  </a:cubicBezTo>
                  <a:cubicBezTo>
                    <a:pt x="109488" y="654892"/>
                    <a:pt x="105678" y="655527"/>
                    <a:pt x="103773" y="658702"/>
                  </a:cubicBezTo>
                  <a:cubicBezTo>
                    <a:pt x="99328" y="665687"/>
                    <a:pt x="98692" y="674577"/>
                    <a:pt x="93613" y="680292"/>
                  </a:cubicBezTo>
                  <a:cubicBezTo>
                    <a:pt x="87263" y="686642"/>
                    <a:pt x="76467" y="687277"/>
                    <a:pt x="70117" y="693627"/>
                  </a:cubicBezTo>
                  <a:cubicBezTo>
                    <a:pt x="67578" y="696167"/>
                    <a:pt x="67578" y="701247"/>
                    <a:pt x="66942" y="705057"/>
                  </a:cubicBezTo>
                  <a:cubicBezTo>
                    <a:pt x="63132" y="722202"/>
                    <a:pt x="54242" y="739347"/>
                    <a:pt x="55513" y="756492"/>
                  </a:cubicBezTo>
                  <a:cubicBezTo>
                    <a:pt x="56148" y="763477"/>
                    <a:pt x="68213" y="762842"/>
                    <a:pt x="72657" y="768557"/>
                  </a:cubicBezTo>
                  <a:cubicBezTo>
                    <a:pt x="80913" y="779352"/>
                    <a:pt x="92978" y="790147"/>
                    <a:pt x="92978" y="803482"/>
                  </a:cubicBezTo>
                  <a:cubicBezTo>
                    <a:pt x="92978" y="818087"/>
                    <a:pt x="72657" y="827612"/>
                    <a:pt x="72023" y="842217"/>
                  </a:cubicBezTo>
                  <a:cubicBezTo>
                    <a:pt x="71388" y="875237"/>
                    <a:pt x="100598" y="909527"/>
                    <a:pt x="88532" y="940642"/>
                  </a:cubicBezTo>
                  <a:cubicBezTo>
                    <a:pt x="81548" y="957787"/>
                    <a:pt x="69482" y="973027"/>
                    <a:pt x="63132" y="990807"/>
                  </a:cubicBezTo>
                  <a:cubicBezTo>
                    <a:pt x="51703" y="1021287"/>
                    <a:pt x="70753" y="1027002"/>
                    <a:pt x="38367" y="1054307"/>
                  </a:cubicBezTo>
                  <a:cubicBezTo>
                    <a:pt x="29478" y="1061927"/>
                    <a:pt x="12332" y="1054942"/>
                    <a:pt x="5348" y="1064467"/>
                  </a:cubicBezTo>
                  <a:cubicBezTo>
                    <a:pt x="1538" y="1070182"/>
                    <a:pt x="17413" y="1072087"/>
                    <a:pt x="21857" y="1077167"/>
                  </a:cubicBezTo>
                  <a:cubicBezTo>
                    <a:pt x="35192" y="1090502"/>
                    <a:pt x="50432" y="1102567"/>
                    <a:pt x="60592" y="1118442"/>
                  </a:cubicBezTo>
                  <a:cubicBezTo>
                    <a:pt x="62498" y="1120982"/>
                    <a:pt x="56148" y="1123522"/>
                    <a:pt x="54242" y="1126697"/>
                  </a:cubicBezTo>
                  <a:cubicBezTo>
                    <a:pt x="51703" y="1131777"/>
                    <a:pt x="49163" y="1137492"/>
                    <a:pt x="49798" y="1143207"/>
                  </a:cubicBezTo>
                  <a:cubicBezTo>
                    <a:pt x="50432" y="1148922"/>
                    <a:pt x="53607" y="1154637"/>
                    <a:pt x="57417" y="1159082"/>
                  </a:cubicBezTo>
                  <a:cubicBezTo>
                    <a:pt x="60592" y="1162892"/>
                    <a:pt x="69482" y="1162892"/>
                    <a:pt x="68848" y="1167337"/>
                  </a:cubicBezTo>
                  <a:cubicBezTo>
                    <a:pt x="64403" y="1194642"/>
                    <a:pt x="51703" y="1145747"/>
                    <a:pt x="41542" y="1146382"/>
                  </a:cubicBezTo>
                  <a:cubicBezTo>
                    <a:pt x="34557" y="1147017"/>
                    <a:pt x="35828" y="1160987"/>
                    <a:pt x="40273" y="1166702"/>
                  </a:cubicBezTo>
                  <a:cubicBezTo>
                    <a:pt x="54878" y="1185752"/>
                    <a:pt x="77738" y="1197182"/>
                    <a:pt x="94882" y="1214327"/>
                  </a:cubicBezTo>
                  <a:cubicBezTo>
                    <a:pt x="100598" y="1219407"/>
                    <a:pt x="82817" y="1205437"/>
                    <a:pt x="75832" y="1201627"/>
                  </a:cubicBezTo>
                  <a:cubicBezTo>
                    <a:pt x="72657" y="1199722"/>
                    <a:pt x="28207" y="1174957"/>
                    <a:pt x="40907" y="1202262"/>
                  </a:cubicBezTo>
                  <a:cubicBezTo>
                    <a:pt x="47257" y="1215597"/>
                    <a:pt x="57417" y="1227027"/>
                    <a:pt x="69482" y="1235282"/>
                  </a:cubicBezTo>
                  <a:cubicBezTo>
                    <a:pt x="75198" y="1239727"/>
                    <a:pt x="86628" y="1232107"/>
                    <a:pt x="91073" y="1237822"/>
                  </a:cubicBezTo>
                  <a:cubicBezTo>
                    <a:pt x="94248" y="1242267"/>
                    <a:pt x="73292" y="1243537"/>
                    <a:pt x="77738" y="1246077"/>
                  </a:cubicBezTo>
                  <a:cubicBezTo>
                    <a:pt x="92342" y="1253062"/>
                    <a:pt x="115203" y="1242267"/>
                    <a:pt x="125998" y="1254332"/>
                  </a:cubicBezTo>
                  <a:cubicBezTo>
                    <a:pt x="132982" y="1261952"/>
                    <a:pt x="101867" y="1262587"/>
                    <a:pt x="101232" y="1272747"/>
                  </a:cubicBezTo>
                  <a:cubicBezTo>
                    <a:pt x="100598" y="1285447"/>
                    <a:pt x="117107" y="1292432"/>
                    <a:pt x="124728" y="1302592"/>
                  </a:cubicBezTo>
                  <a:cubicBezTo>
                    <a:pt x="131078" y="1312117"/>
                    <a:pt x="134888" y="1323547"/>
                    <a:pt x="142507" y="1331802"/>
                  </a:cubicBezTo>
                  <a:cubicBezTo>
                    <a:pt x="152032" y="1342597"/>
                    <a:pt x="167273" y="1347677"/>
                    <a:pt x="176798" y="1358472"/>
                  </a:cubicBezTo>
                  <a:cubicBezTo>
                    <a:pt x="191403" y="1374347"/>
                    <a:pt x="202832" y="1392762"/>
                    <a:pt x="213628" y="1411812"/>
                  </a:cubicBezTo>
                  <a:cubicBezTo>
                    <a:pt x="216167" y="1416257"/>
                    <a:pt x="212357" y="1421972"/>
                    <a:pt x="213628" y="1426417"/>
                  </a:cubicBezTo>
                  <a:cubicBezTo>
                    <a:pt x="219978" y="1443562"/>
                    <a:pt x="230773" y="1459437"/>
                    <a:pt x="236488" y="1476582"/>
                  </a:cubicBezTo>
                  <a:cubicBezTo>
                    <a:pt x="237123" y="1479122"/>
                    <a:pt x="230138" y="1482297"/>
                    <a:pt x="232678" y="1484202"/>
                  </a:cubicBezTo>
                  <a:cubicBezTo>
                    <a:pt x="244107" y="1495632"/>
                    <a:pt x="274588" y="1501347"/>
                    <a:pt x="273953" y="1512142"/>
                  </a:cubicBezTo>
                  <a:cubicBezTo>
                    <a:pt x="273953" y="1517857"/>
                    <a:pt x="254267" y="1511507"/>
                    <a:pt x="258078" y="1515952"/>
                  </a:cubicBezTo>
                  <a:cubicBezTo>
                    <a:pt x="266332" y="1527382"/>
                    <a:pt x="282207" y="1530557"/>
                    <a:pt x="293638" y="1538812"/>
                  </a:cubicBezTo>
                  <a:cubicBezTo>
                    <a:pt x="350788" y="1580087"/>
                    <a:pt x="290463" y="1536907"/>
                    <a:pt x="319038" y="1566752"/>
                  </a:cubicBezTo>
                  <a:cubicBezTo>
                    <a:pt x="416192" y="1667717"/>
                    <a:pt x="303798" y="1548972"/>
                    <a:pt x="375553" y="1609932"/>
                  </a:cubicBezTo>
                  <a:cubicBezTo>
                    <a:pt x="408573" y="1637872"/>
                    <a:pt x="463817" y="1712167"/>
                    <a:pt x="509538" y="1718517"/>
                  </a:cubicBezTo>
                  <a:cubicBezTo>
                    <a:pt x="602882" y="1730582"/>
                    <a:pt x="705117" y="1728677"/>
                    <a:pt x="795923" y="1760427"/>
                  </a:cubicBezTo>
                  <a:cubicBezTo>
                    <a:pt x="800367" y="1762332"/>
                    <a:pt x="776873" y="1759792"/>
                    <a:pt x="781317" y="1761062"/>
                  </a:cubicBezTo>
                  <a:cubicBezTo>
                    <a:pt x="816878" y="1769317"/>
                    <a:pt x="851803" y="1778842"/>
                    <a:pt x="887998" y="1781382"/>
                  </a:cubicBezTo>
                  <a:cubicBezTo>
                    <a:pt x="905142" y="1782652"/>
                    <a:pt x="922288" y="1773762"/>
                    <a:pt x="939432" y="1773127"/>
                  </a:cubicBezTo>
                  <a:cubicBezTo>
                    <a:pt x="1028332" y="1769317"/>
                    <a:pt x="1116598" y="1768047"/>
                    <a:pt x="1205498" y="1768047"/>
                  </a:cubicBezTo>
                  <a:cubicBezTo>
                    <a:pt x="1235978" y="1768047"/>
                    <a:pt x="1232803" y="1787732"/>
                    <a:pt x="1264553" y="1802337"/>
                  </a:cubicBezTo>
                  <a:cubicBezTo>
                    <a:pt x="1268998" y="1804242"/>
                    <a:pt x="1275982" y="1792812"/>
                    <a:pt x="1278523" y="1797257"/>
                  </a:cubicBezTo>
                  <a:cubicBezTo>
                    <a:pt x="1297573" y="1826467"/>
                    <a:pt x="1274713" y="1865837"/>
                    <a:pt x="1329323" y="1870282"/>
                  </a:cubicBezTo>
                  <a:cubicBezTo>
                    <a:pt x="1343292" y="1871552"/>
                    <a:pt x="1352182" y="1849327"/>
                    <a:pt x="1366153" y="1848692"/>
                  </a:cubicBezTo>
                  <a:cubicBezTo>
                    <a:pt x="1386473" y="1848057"/>
                    <a:pt x="1404253" y="1862662"/>
                    <a:pt x="1423938" y="1865837"/>
                  </a:cubicBezTo>
                  <a:cubicBezTo>
                    <a:pt x="1436638" y="1868377"/>
                    <a:pt x="1451242" y="1872187"/>
                    <a:pt x="1462673" y="1865202"/>
                  </a:cubicBezTo>
                  <a:cubicBezTo>
                    <a:pt x="1468388" y="1861392"/>
                    <a:pt x="1449338" y="1849962"/>
                    <a:pt x="1455053" y="1846787"/>
                  </a:cubicBezTo>
                  <a:cubicBezTo>
                    <a:pt x="1477278" y="1834087"/>
                    <a:pt x="1486803" y="1878537"/>
                    <a:pt x="1512203" y="1889332"/>
                  </a:cubicBezTo>
                  <a:cubicBezTo>
                    <a:pt x="1524267" y="1894412"/>
                    <a:pt x="1540142" y="1877902"/>
                    <a:pt x="1550938" y="1885522"/>
                  </a:cubicBezTo>
                  <a:cubicBezTo>
                    <a:pt x="1582688" y="1909652"/>
                    <a:pt x="1557923" y="1933147"/>
                    <a:pt x="1555382" y="1957277"/>
                  </a:cubicBezTo>
                  <a:cubicBezTo>
                    <a:pt x="1553478" y="1974422"/>
                    <a:pt x="1560463" y="1992837"/>
                    <a:pt x="1554748" y="2009347"/>
                  </a:cubicBezTo>
                  <a:cubicBezTo>
                    <a:pt x="1468388" y="2248107"/>
                    <a:pt x="1587767" y="1812497"/>
                    <a:pt x="1489978" y="2067767"/>
                  </a:cubicBezTo>
                  <a:cubicBezTo>
                    <a:pt x="1486803" y="2076022"/>
                    <a:pt x="1500773" y="2082372"/>
                    <a:pt x="1506488" y="2089357"/>
                  </a:cubicBezTo>
                  <a:cubicBezTo>
                    <a:pt x="1512203" y="2096342"/>
                    <a:pt x="1516013" y="2105232"/>
                    <a:pt x="1522998" y="2110947"/>
                  </a:cubicBezTo>
                  <a:cubicBezTo>
                    <a:pt x="1527442" y="2114757"/>
                    <a:pt x="1534428" y="2115392"/>
                    <a:pt x="1540142" y="2118567"/>
                  </a:cubicBezTo>
                  <a:cubicBezTo>
                    <a:pt x="1545223" y="2121742"/>
                    <a:pt x="1518553" y="2109042"/>
                    <a:pt x="1524267" y="2111582"/>
                  </a:cubicBezTo>
                  <a:cubicBezTo>
                    <a:pt x="1541413" y="2119202"/>
                    <a:pt x="1561098" y="2123012"/>
                    <a:pt x="1576338" y="2134442"/>
                  </a:cubicBezTo>
                  <a:cubicBezTo>
                    <a:pt x="1583323" y="2139522"/>
                    <a:pt x="1543953" y="2126187"/>
                    <a:pt x="1550303" y="2131902"/>
                  </a:cubicBezTo>
                  <a:cubicBezTo>
                    <a:pt x="1573163" y="2152222"/>
                    <a:pt x="1643013" y="2180162"/>
                    <a:pt x="1672857" y="2199847"/>
                  </a:cubicBezTo>
                  <a:cubicBezTo>
                    <a:pt x="1703338" y="2220167"/>
                    <a:pt x="1671588" y="2214452"/>
                    <a:pt x="1700798" y="2246202"/>
                  </a:cubicBezTo>
                  <a:cubicBezTo>
                    <a:pt x="1710957" y="2257632"/>
                    <a:pt x="1761757" y="2300812"/>
                    <a:pt x="1764298" y="2317322"/>
                  </a:cubicBezTo>
                  <a:cubicBezTo>
                    <a:pt x="1765567" y="2325577"/>
                    <a:pt x="1739532" y="2318592"/>
                    <a:pt x="1740803" y="2327482"/>
                  </a:cubicBezTo>
                  <a:cubicBezTo>
                    <a:pt x="1743342" y="2342087"/>
                    <a:pt x="1804938" y="2368122"/>
                    <a:pt x="1783982" y="2390982"/>
                  </a:cubicBezTo>
                  <a:cubicBezTo>
                    <a:pt x="1771282" y="2404952"/>
                    <a:pt x="1751598" y="2410032"/>
                    <a:pt x="1734453" y="2418922"/>
                  </a:cubicBezTo>
                  <a:cubicBezTo>
                    <a:pt x="1726832" y="2422732"/>
                    <a:pt x="1717307" y="2422732"/>
                    <a:pt x="1710957" y="2428447"/>
                  </a:cubicBezTo>
                  <a:cubicBezTo>
                    <a:pt x="1701432" y="2437972"/>
                    <a:pt x="1698892" y="2452577"/>
                    <a:pt x="1690003" y="2462737"/>
                  </a:cubicBezTo>
                  <a:cubicBezTo>
                    <a:pt x="1684288" y="2469087"/>
                    <a:pt x="1671588" y="2467817"/>
                    <a:pt x="1667142" y="2475437"/>
                  </a:cubicBezTo>
                  <a:cubicBezTo>
                    <a:pt x="1663332" y="2482422"/>
                    <a:pt x="1667778" y="2491312"/>
                    <a:pt x="1668413" y="2498932"/>
                  </a:cubicBezTo>
                  <a:cubicBezTo>
                    <a:pt x="1668413" y="2503377"/>
                    <a:pt x="1665873" y="2509727"/>
                    <a:pt x="1669682" y="2511632"/>
                  </a:cubicBezTo>
                  <a:cubicBezTo>
                    <a:pt x="1681113" y="2519252"/>
                    <a:pt x="1695717" y="2520522"/>
                    <a:pt x="1709053" y="2525602"/>
                  </a:cubicBezTo>
                  <a:cubicBezTo>
                    <a:pt x="1738263" y="2537032"/>
                    <a:pt x="1767473" y="2549097"/>
                    <a:pt x="1796682" y="2561162"/>
                  </a:cubicBezTo>
                  <a:cubicBezTo>
                    <a:pt x="1799223" y="2562432"/>
                    <a:pt x="1803032" y="2562432"/>
                    <a:pt x="1803032" y="2564972"/>
                  </a:cubicBezTo>
                  <a:cubicBezTo>
                    <a:pt x="1803667" y="2567512"/>
                    <a:pt x="1796048" y="2568782"/>
                    <a:pt x="1797953" y="2569417"/>
                  </a:cubicBezTo>
                  <a:cubicBezTo>
                    <a:pt x="1845578" y="2581482"/>
                    <a:pt x="1893838" y="2589737"/>
                    <a:pt x="1942098" y="2600532"/>
                  </a:cubicBezTo>
                  <a:lnTo>
                    <a:pt x="1931938" y="2599897"/>
                  </a:lnTo>
                  <a:cubicBezTo>
                    <a:pt x="1982103" y="2595452"/>
                    <a:pt x="2032267" y="2589737"/>
                    <a:pt x="2081798" y="2581482"/>
                  </a:cubicBezTo>
                  <a:cubicBezTo>
                    <a:pt x="2215148" y="2558622"/>
                    <a:pt x="2345958" y="2526872"/>
                    <a:pt x="2474228" y="2485597"/>
                  </a:cubicBezTo>
                  <a:lnTo>
                    <a:pt x="2479308" y="2485597"/>
                  </a:lnTo>
                  <a:cubicBezTo>
                    <a:pt x="2554238" y="2460197"/>
                    <a:pt x="2624088" y="2426542"/>
                    <a:pt x="2697113" y="2396697"/>
                  </a:cubicBezTo>
                  <a:cubicBezTo>
                    <a:pt x="2709178" y="2391617"/>
                    <a:pt x="2752358" y="2377012"/>
                    <a:pt x="2761248" y="2367487"/>
                  </a:cubicBezTo>
                  <a:cubicBezTo>
                    <a:pt x="2771408" y="2355422"/>
                    <a:pt x="2772042" y="2335737"/>
                    <a:pt x="2783473" y="2323672"/>
                  </a:cubicBezTo>
                  <a:cubicBezTo>
                    <a:pt x="2790458" y="2316052"/>
                    <a:pt x="2803158" y="2316687"/>
                    <a:pt x="2812683" y="2311607"/>
                  </a:cubicBezTo>
                  <a:cubicBezTo>
                    <a:pt x="2854592" y="2290652"/>
                    <a:pt x="2870467" y="2276682"/>
                    <a:pt x="2906028" y="2253822"/>
                  </a:cubicBezTo>
                  <a:cubicBezTo>
                    <a:pt x="2970798" y="2211912"/>
                    <a:pt x="3071763" y="2178892"/>
                    <a:pt x="3114942" y="2110947"/>
                  </a:cubicBezTo>
                  <a:cubicBezTo>
                    <a:pt x="3123198" y="2097612"/>
                    <a:pt x="3133358" y="2084277"/>
                    <a:pt x="3139708" y="2069672"/>
                  </a:cubicBezTo>
                  <a:cubicBezTo>
                    <a:pt x="3143517" y="2060782"/>
                    <a:pt x="3140978" y="2049987"/>
                    <a:pt x="3145423" y="2041097"/>
                  </a:cubicBezTo>
                  <a:cubicBezTo>
                    <a:pt x="3149867" y="2032207"/>
                    <a:pt x="3160663" y="2027127"/>
                    <a:pt x="3166378" y="2018237"/>
                  </a:cubicBezTo>
                  <a:cubicBezTo>
                    <a:pt x="3167648" y="2016332"/>
                    <a:pt x="3160663" y="2020142"/>
                    <a:pt x="3159392" y="2018237"/>
                  </a:cubicBezTo>
                  <a:cubicBezTo>
                    <a:pt x="3149867" y="2003632"/>
                    <a:pt x="3136533" y="1989027"/>
                    <a:pt x="3136533" y="1971882"/>
                  </a:cubicBezTo>
                  <a:cubicBezTo>
                    <a:pt x="3136533" y="1959182"/>
                    <a:pt x="3160028" y="1954102"/>
                    <a:pt x="3158758" y="1941402"/>
                  </a:cubicBezTo>
                  <a:cubicBezTo>
                    <a:pt x="3158123" y="1931877"/>
                    <a:pt x="3132088" y="1939497"/>
                    <a:pt x="3132723" y="1929972"/>
                  </a:cubicBezTo>
                  <a:cubicBezTo>
                    <a:pt x="3135898" y="1900762"/>
                    <a:pt x="3177808" y="1868377"/>
                    <a:pt x="3194317" y="1846152"/>
                  </a:cubicBezTo>
                  <a:cubicBezTo>
                    <a:pt x="3200667" y="1837262"/>
                    <a:pt x="3203842" y="1827102"/>
                    <a:pt x="3210192" y="1818212"/>
                  </a:cubicBezTo>
                  <a:cubicBezTo>
                    <a:pt x="3212098" y="1815037"/>
                    <a:pt x="3217178" y="1815037"/>
                    <a:pt x="3219083" y="1811862"/>
                  </a:cubicBezTo>
                  <a:cubicBezTo>
                    <a:pt x="3222892" y="1805512"/>
                    <a:pt x="3222258" y="1796622"/>
                    <a:pt x="3227338" y="1790907"/>
                  </a:cubicBezTo>
                  <a:cubicBezTo>
                    <a:pt x="3238133" y="1778842"/>
                    <a:pt x="3254642" y="1772492"/>
                    <a:pt x="3265438" y="1760427"/>
                  </a:cubicBezTo>
                  <a:cubicBezTo>
                    <a:pt x="3267342" y="1757887"/>
                    <a:pt x="3262263" y="1753442"/>
                    <a:pt x="3264167" y="1750902"/>
                  </a:cubicBezTo>
                  <a:cubicBezTo>
                    <a:pt x="3269248" y="1745187"/>
                    <a:pt x="3278773" y="1745187"/>
                    <a:pt x="3284488" y="1740742"/>
                  </a:cubicBezTo>
                  <a:cubicBezTo>
                    <a:pt x="3300998" y="1727407"/>
                    <a:pt x="3308617" y="1705182"/>
                    <a:pt x="3321317" y="1688037"/>
                  </a:cubicBezTo>
                  <a:cubicBezTo>
                    <a:pt x="3358783" y="1639142"/>
                    <a:pt x="3403233" y="1592152"/>
                    <a:pt x="3443873" y="1544527"/>
                  </a:cubicBezTo>
                  <a:cubicBezTo>
                    <a:pt x="3468638" y="1515952"/>
                    <a:pt x="3497213" y="1491187"/>
                    <a:pt x="3521342" y="1461977"/>
                  </a:cubicBezTo>
                  <a:cubicBezTo>
                    <a:pt x="3554998" y="1422607"/>
                    <a:pt x="3586113" y="1375617"/>
                    <a:pt x="3612148" y="1329897"/>
                  </a:cubicBezTo>
                  <a:cubicBezTo>
                    <a:pt x="3629928" y="1298147"/>
                    <a:pt x="3648978" y="1263857"/>
                    <a:pt x="3662948" y="1230837"/>
                  </a:cubicBezTo>
                  <a:cubicBezTo>
                    <a:pt x="3676283" y="1199087"/>
                    <a:pt x="3684538" y="1164797"/>
                    <a:pt x="3699142" y="1133047"/>
                  </a:cubicBezTo>
                  <a:cubicBezTo>
                    <a:pt x="3712478" y="1103837"/>
                    <a:pt x="3732798" y="1072087"/>
                    <a:pt x="3739783" y="1040337"/>
                  </a:cubicBezTo>
                  <a:cubicBezTo>
                    <a:pt x="3742958" y="1026367"/>
                    <a:pt x="3738513" y="1011127"/>
                    <a:pt x="3742958" y="997792"/>
                  </a:cubicBezTo>
                  <a:cubicBezTo>
                    <a:pt x="3746133" y="988902"/>
                    <a:pt x="3758198" y="985727"/>
                    <a:pt x="3762008" y="977472"/>
                  </a:cubicBezTo>
                  <a:cubicBezTo>
                    <a:pt x="3765183" y="971757"/>
                    <a:pt x="3749308" y="995252"/>
                    <a:pt x="3747403" y="988902"/>
                  </a:cubicBezTo>
                  <a:cubicBezTo>
                    <a:pt x="3742323" y="975567"/>
                    <a:pt x="3748038" y="960327"/>
                    <a:pt x="3749942" y="945722"/>
                  </a:cubicBezTo>
                  <a:cubicBezTo>
                    <a:pt x="3751213" y="936197"/>
                    <a:pt x="3761373" y="926037"/>
                    <a:pt x="3756928" y="917147"/>
                  </a:cubicBezTo>
                  <a:cubicBezTo>
                    <a:pt x="3753753" y="911432"/>
                    <a:pt x="3742958" y="918417"/>
                    <a:pt x="3737878" y="922862"/>
                  </a:cubicBezTo>
                  <a:cubicBezTo>
                    <a:pt x="3726448" y="934292"/>
                    <a:pt x="3722003" y="951437"/>
                    <a:pt x="3711842" y="964137"/>
                  </a:cubicBezTo>
                  <a:cubicBezTo>
                    <a:pt x="3702317" y="976202"/>
                    <a:pt x="3690253" y="986362"/>
                    <a:pt x="3678823" y="997157"/>
                  </a:cubicBezTo>
                  <a:cubicBezTo>
                    <a:pt x="3640723" y="1034622"/>
                    <a:pt x="3709303" y="967312"/>
                    <a:pt x="3650248" y="1015572"/>
                  </a:cubicBezTo>
                  <a:cubicBezTo>
                    <a:pt x="3643898" y="1020652"/>
                    <a:pt x="3641358" y="1029542"/>
                    <a:pt x="3635008" y="1033987"/>
                  </a:cubicBezTo>
                  <a:cubicBezTo>
                    <a:pt x="3626117" y="1040972"/>
                    <a:pt x="3613417" y="1042877"/>
                    <a:pt x="3605163" y="1050497"/>
                  </a:cubicBezTo>
                  <a:cubicBezTo>
                    <a:pt x="3589923" y="1064467"/>
                    <a:pt x="3581667" y="1084787"/>
                    <a:pt x="3565792" y="1098122"/>
                  </a:cubicBezTo>
                  <a:cubicBezTo>
                    <a:pt x="3558173" y="1104472"/>
                    <a:pt x="3546742" y="1103202"/>
                    <a:pt x="3537217" y="1106377"/>
                  </a:cubicBezTo>
                  <a:cubicBezTo>
                    <a:pt x="3501023" y="1117172"/>
                    <a:pt x="3463558" y="1126062"/>
                    <a:pt x="3427998" y="1138762"/>
                  </a:cubicBezTo>
                  <a:cubicBezTo>
                    <a:pt x="3415933" y="1142572"/>
                    <a:pt x="3391803" y="1167337"/>
                    <a:pt x="3394342" y="1154637"/>
                  </a:cubicBezTo>
                  <a:cubicBezTo>
                    <a:pt x="3398153" y="1134952"/>
                    <a:pt x="3426728" y="1128602"/>
                    <a:pt x="3433713" y="1110187"/>
                  </a:cubicBezTo>
                  <a:cubicBezTo>
                    <a:pt x="3441967" y="1088597"/>
                    <a:pt x="3336558" y="1036527"/>
                    <a:pt x="3327033" y="1034622"/>
                  </a:cubicBezTo>
                  <a:cubicBezTo>
                    <a:pt x="3311158" y="1030812"/>
                    <a:pt x="3294648" y="1043512"/>
                    <a:pt x="3279408" y="1039702"/>
                  </a:cubicBezTo>
                  <a:cubicBezTo>
                    <a:pt x="3271153" y="1037797"/>
                    <a:pt x="3273058" y="1017477"/>
                    <a:pt x="3264167" y="1018747"/>
                  </a:cubicBezTo>
                  <a:cubicBezTo>
                    <a:pt x="3255913" y="1020017"/>
                    <a:pt x="3265438" y="1046687"/>
                    <a:pt x="3257183" y="1043512"/>
                  </a:cubicBezTo>
                  <a:cubicBezTo>
                    <a:pt x="3226703" y="1032082"/>
                    <a:pt x="3223528" y="941912"/>
                    <a:pt x="3192413" y="914607"/>
                  </a:cubicBezTo>
                  <a:cubicBezTo>
                    <a:pt x="3180348" y="903812"/>
                    <a:pt x="3163838" y="900002"/>
                    <a:pt x="3148598" y="894922"/>
                  </a:cubicBezTo>
                  <a:cubicBezTo>
                    <a:pt x="3143517" y="893017"/>
                    <a:pt x="3134628" y="898097"/>
                    <a:pt x="3131453" y="893017"/>
                  </a:cubicBezTo>
                  <a:cubicBezTo>
                    <a:pt x="3123198" y="877777"/>
                    <a:pt x="3123198" y="859362"/>
                    <a:pt x="3118753" y="842852"/>
                  </a:cubicBezTo>
                  <a:cubicBezTo>
                    <a:pt x="3113038" y="821897"/>
                    <a:pt x="3103513" y="802212"/>
                    <a:pt x="3100973" y="780622"/>
                  </a:cubicBezTo>
                  <a:cubicBezTo>
                    <a:pt x="3100338" y="776812"/>
                    <a:pt x="3111767" y="778717"/>
                    <a:pt x="3110498" y="774907"/>
                  </a:cubicBezTo>
                  <a:cubicBezTo>
                    <a:pt x="3106688" y="764747"/>
                    <a:pt x="3093988" y="760302"/>
                    <a:pt x="3088908" y="750777"/>
                  </a:cubicBezTo>
                  <a:cubicBezTo>
                    <a:pt x="3085098" y="743792"/>
                    <a:pt x="3091448" y="733632"/>
                    <a:pt x="3086367" y="727282"/>
                  </a:cubicBezTo>
                  <a:cubicBezTo>
                    <a:pt x="3076842" y="716487"/>
                    <a:pt x="3061603" y="712677"/>
                    <a:pt x="3048903" y="705692"/>
                  </a:cubicBezTo>
                  <a:cubicBezTo>
                    <a:pt x="3037473" y="699342"/>
                    <a:pt x="3020328" y="699977"/>
                    <a:pt x="3014613" y="687912"/>
                  </a:cubicBezTo>
                  <a:cubicBezTo>
                    <a:pt x="3007628" y="673307"/>
                    <a:pt x="3026042" y="654257"/>
                    <a:pt x="3019058" y="639652"/>
                  </a:cubicBezTo>
                  <a:cubicBezTo>
                    <a:pt x="3012708" y="626317"/>
                    <a:pt x="2991117" y="626952"/>
                    <a:pt x="2980323" y="616792"/>
                  </a:cubicBezTo>
                  <a:cubicBezTo>
                    <a:pt x="2942223" y="579327"/>
                    <a:pt x="2962542" y="583772"/>
                    <a:pt x="2940953" y="555832"/>
                  </a:cubicBezTo>
                  <a:cubicBezTo>
                    <a:pt x="2921903" y="531702"/>
                    <a:pt x="2922538" y="550752"/>
                    <a:pt x="2902217" y="510747"/>
                  </a:cubicBezTo>
                  <a:cubicBezTo>
                    <a:pt x="2899678" y="505667"/>
                    <a:pt x="2906028" y="499317"/>
                    <a:pt x="2903488" y="494872"/>
                  </a:cubicBezTo>
                  <a:cubicBezTo>
                    <a:pt x="2893963" y="477727"/>
                    <a:pt x="2878088" y="464392"/>
                    <a:pt x="2867928" y="447247"/>
                  </a:cubicBezTo>
                  <a:cubicBezTo>
                    <a:pt x="2866658" y="445342"/>
                    <a:pt x="2874913" y="445977"/>
                    <a:pt x="2873642" y="444707"/>
                  </a:cubicBezTo>
                  <a:cubicBezTo>
                    <a:pt x="2839988" y="407877"/>
                    <a:pt x="2811413" y="414862"/>
                    <a:pt x="2794267" y="35644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EBAE8016-DBC4-49A2-8B94-C7DD3FBA8A22}"/>
                </a:ext>
              </a:extLst>
            </p:cNvPr>
            <p:cNvSpPr/>
            <p:nvPr/>
          </p:nvSpPr>
          <p:spPr>
            <a:xfrm>
              <a:off x="8040537" y="839152"/>
              <a:ext cx="3790950" cy="4038600"/>
            </a:xfrm>
            <a:custGeom>
              <a:avLst/>
              <a:gdLst>
                <a:gd name="connsiteX0" fmla="*/ 2197568 w 3790950"/>
                <a:gd name="connsiteY0" fmla="*/ 3313748 h 4038600"/>
                <a:gd name="connsiteX1" fmla="*/ 2217253 w 3790950"/>
                <a:gd name="connsiteY1" fmla="*/ 3309303 h 4038600"/>
                <a:gd name="connsiteX2" fmla="*/ 2308058 w 3790950"/>
                <a:gd name="connsiteY2" fmla="*/ 3396298 h 4038600"/>
                <a:gd name="connsiteX3" fmla="*/ 2330918 w 3790950"/>
                <a:gd name="connsiteY3" fmla="*/ 3341688 h 4038600"/>
                <a:gd name="connsiteX4" fmla="*/ 2323933 w 3790950"/>
                <a:gd name="connsiteY4" fmla="*/ 3372168 h 4038600"/>
                <a:gd name="connsiteX5" fmla="*/ 2356318 w 3790950"/>
                <a:gd name="connsiteY5" fmla="*/ 3363913 h 4038600"/>
                <a:gd name="connsiteX6" fmla="*/ 2410293 w 3790950"/>
                <a:gd name="connsiteY6" fmla="*/ 3427413 h 4038600"/>
                <a:gd name="connsiteX7" fmla="*/ 2434423 w 3790950"/>
                <a:gd name="connsiteY7" fmla="*/ 3455988 h 4038600"/>
                <a:gd name="connsiteX8" fmla="*/ 2445218 w 3790950"/>
                <a:gd name="connsiteY8" fmla="*/ 3457258 h 4038600"/>
                <a:gd name="connsiteX9" fmla="*/ 2448393 w 3790950"/>
                <a:gd name="connsiteY9" fmla="*/ 3473768 h 4038600"/>
                <a:gd name="connsiteX10" fmla="*/ 2478238 w 3790950"/>
                <a:gd name="connsiteY10" fmla="*/ 3497898 h 4038600"/>
                <a:gd name="connsiteX11" fmla="*/ 2523323 w 3790950"/>
                <a:gd name="connsiteY11" fmla="*/ 3541713 h 4038600"/>
                <a:gd name="connsiteX12" fmla="*/ 2551898 w 3790950"/>
                <a:gd name="connsiteY12" fmla="*/ 3556953 h 4038600"/>
                <a:gd name="connsiteX13" fmla="*/ 2596348 w 3790950"/>
                <a:gd name="connsiteY13" fmla="*/ 3621723 h 4038600"/>
                <a:gd name="connsiteX14" fmla="*/ 2590633 w 3790950"/>
                <a:gd name="connsiteY14" fmla="*/ 3652838 h 4038600"/>
                <a:gd name="connsiteX15" fmla="*/ 2607143 w 3790950"/>
                <a:gd name="connsiteY15" fmla="*/ 3693478 h 4038600"/>
                <a:gd name="connsiteX16" fmla="*/ 2689693 w 3790950"/>
                <a:gd name="connsiteY16" fmla="*/ 3734118 h 4038600"/>
                <a:gd name="connsiteX17" fmla="*/ 2748113 w 3790950"/>
                <a:gd name="connsiteY17" fmla="*/ 3814763 h 4038600"/>
                <a:gd name="connsiteX18" fmla="*/ 2773513 w 3790950"/>
                <a:gd name="connsiteY18" fmla="*/ 3823653 h 4038600"/>
                <a:gd name="connsiteX19" fmla="*/ 2796373 w 3790950"/>
                <a:gd name="connsiteY19" fmla="*/ 3929698 h 4038600"/>
                <a:gd name="connsiteX20" fmla="*/ 2811613 w 3790950"/>
                <a:gd name="connsiteY20" fmla="*/ 3936683 h 4038600"/>
                <a:gd name="connsiteX21" fmla="*/ 2830028 w 3790950"/>
                <a:gd name="connsiteY21" fmla="*/ 3990023 h 4038600"/>
                <a:gd name="connsiteX22" fmla="*/ 2842728 w 3790950"/>
                <a:gd name="connsiteY22" fmla="*/ 4034473 h 4038600"/>
                <a:gd name="connsiteX23" fmla="*/ 2934168 w 3790950"/>
                <a:gd name="connsiteY23" fmla="*/ 3951923 h 4038600"/>
                <a:gd name="connsiteX24" fmla="*/ 2977348 w 3790950"/>
                <a:gd name="connsiteY24" fmla="*/ 3921443 h 4038600"/>
                <a:gd name="connsiteX25" fmla="*/ 3030053 w 3790950"/>
                <a:gd name="connsiteY25" fmla="*/ 3857943 h 4038600"/>
                <a:gd name="connsiteX26" fmla="*/ 3057993 w 3790950"/>
                <a:gd name="connsiteY26" fmla="*/ 3840798 h 4038600"/>
                <a:gd name="connsiteX27" fmla="*/ 3082758 w 3790950"/>
                <a:gd name="connsiteY27" fmla="*/ 3794443 h 4038600"/>
                <a:gd name="connsiteX28" fmla="*/ 3126573 w 3790950"/>
                <a:gd name="connsiteY28" fmla="*/ 3743008 h 4038600"/>
                <a:gd name="connsiteX29" fmla="*/ 3186263 w 3790950"/>
                <a:gd name="connsiteY29" fmla="*/ 3670618 h 4038600"/>
                <a:gd name="connsiteX30" fmla="*/ 3186263 w 3790950"/>
                <a:gd name="connsiteY30" fmla="*/ 3636328 h 4038600"/>
                <a:gd name="connsiteX31" fmla="*/ 3245318 w 3790950"/>
                <a:gd name="connsiteY31" fmla="*/ 3550603 h 4038600"/>
                <a:gd name="connsiteX32" fmla="*/ 3277703 w 3790950"/>
                <a:gd name="connsiteY32" fmla="*/ 3523933 h 4038600"/>
                <a:gd name="connsiteX33" fmla="*/ 3285323 w 3790950"/>
                <a:gd name="connsiteY33" fmla="*/ 3473768 h 4038600"/>
                <a:gd name="connsiteX34" fmla="*/ 3313898 w 3790950"/>
                <a:gd name="connsiteY34" fmla="*/ 3443288 h 4038600"/>
                <a:gd name="connsiteX35" fmla="*/ 3323423 w 3790950"/>
                <a:gd name="connsiteY35" fmla="*/ 3389948 h 4038600"/>
                <a:gd name="connsiteX36" fmla="*/ 3380573 w 3790950"/>
                <a:gd name="connsiteY36" fmla="*/ 3134043 h 4038600"/>
                <a:gd name="connsiteX37" fmla="*/ 3285323 w 3790950"/>
                <a:gd name="connsiteY37" fmla="*/ 3117533 h 4038600"/>
                <a:gd name="connsiteX38" fmla="*/ 3235793 w 3790950"/>
                <a:gd name="connsiteY38" fmla="*/ 3050223 h 4038600"/>
                <a:gd name="connsiteX39" fmla="*/ 3214203 w 3790950"/>
                <a:gd name="connsiteY39" fmla="*/ 3073083 h 4038600"/>
                <a:gd name="connsiteX40" fmla="*/ 3212298 w 3790950"/>
                <a:gd name="connsiteY40" fmla="*/ 3099118 h 4038600"/>
                <a:gd name="connsiteX41" fmla="*/ 3193883 w 3790950"/>
                <a:gd name="connsiteY41" fmla="*/ 3170873 h 4038600"/>
                <a:gd name="connsiteX42" fmla="*/ 3104983 w 3790950"/>
                <a:gd name="connsiteY42" fmla="*/ 3246438 h 4038600"/>
                <a:gd name="connsiteX43" fmla="*/ 3089108 w 3790950"/>
                <a:gd name="connsiteY43" fmla="*/ 3201988 h 4038600"/>
                <a:gd name="connsiteX44" fmla="*/ 3052278 w 3790950"/>
                <a:gd name="connsiteY44" fmla="*/ 3197543 h 4038600"/>
                <a:gd name="connsiteX45" fmla="*/ 3064343 w 3790950"/>
                <a:gd name="connsiteY45" fmla="*/ 3235008 h 4038600"/>
                <a:gd name="connsiteX46" fmla="*/ 3016083 w 3790950"/>
                <a:gd name="connsiteY46" fmla="*/ 3147378 h 4038600"/>
                <a:gd name="connsiteX47" fmla="*/ 2970363 w 3790950"/>
                <a:gd name="connsiteY47" fmla="*/ 3119438 h 4038600"/>
                <a:gd name="connsiteX48" fmla="*/ 2953853 w 3790950"/>
                <a:gd name="connsiteY48" fmla="*/ 3123883 h 4038600"/>
                <a:gd name="connsiteX49" fmla="*/ 2925278 w 3790950"/>
                <a:gd name="connsiteY49" fmla="*/ 3080703 h 4038600"/>
                <a:gd name="connsiteX50" fmla="*/ 2885273 w 3790950"/>
                <a:gd name="connsiteY50" fmla="*/ 3049588 h 4038600"/>
                <a:gd name="connsiteX51" fmla="*/ 2901148 w 3790950"/>
                <a:gd name="connsiteY51" fmla="*/ 3029903 h 4038600"/>
                <a:gd name="connsiteX52" fmla="*/ 2885908 w 3790950"/>
                <a:gd name="connsiteY52" fmla="*/ 3008313 h 4038600"/>
                <a:gd name="connsiteX53" fmla="*/ 2908768 w 3790950"/>
                <a:gd name="connsiteY53" fmla="*/ 2998788 h 4038600"/>
                <a:gd name="connsiteX54" fmla="*/ 2963378 w 3790950"/>
                <a:gd name="connsiteY54" fmla="*/ 2954338 h 4038600"/>
                <a:gd name="connsiteX55" fmla="*/ 3019258 w 3790950"/>
                <a:gd name="connsiteY55" fmla="*/ 3012123 h 4038600"/>
                <a:gd name="connsiteX56" fmla="*/ 3038308 w 3790950"/>
                <a:gd name="connsiteY56" fmla="*/ 3042603 h 4038600"/>
                <a:gd name="connsiteX57" fmla="*/ 3085933 w 3790950"/>
                <a:gd name="connsiteY57" fmla="*/ 3039428 h 4038600"/>
                <a:gd name="connsiteX58" fmla="*/ 3172928 w 3790950"/>
                <a:gd name="connsiteY58" fmla="*/ 3047683 h 4038600"/>
                <a:gd name="connsiteX59" fmla="*/ 3231983 w 3790950"/>
                <a:gd name="connsiteY59" fmla="*/ 2959418 h 4038600"/>
                <a:gd name="connsiteX60" fmla="*/ 3266273 w 3790950"/>
                <a:gd name="connsiteY60" fmla="*/ 3017838 h 4038600"/>
                <a:gd name="connsiteX61" fmla="*/ 3321518 w 3790950"/>
                <a:gd name="connsiteY61" fmla="*/ 2992438 h 4038600"/>
                <a:gd name="connsiteX62" fmla="*/ 3362158 w 3790950"/>
                <a:gd name="connsiteY62" fmla="*/ 2951163 h 4038600"/>
                <a:gd name="connsiteX63" fmla="*/ 3393273 w 3790950"/>
                <a:gd name="connsiteY63" fmla="*/ 2934653 h 4038600"/>
                <a:gd name="connsiteX64" fmla="*/ 3466933 w 3790950"/>
                <a:gd name="connsiteY64" fmla="*/ 2852738 h 4038600"/>
                <a:gd name="connsiteX65" fmla="*/ 3466933 w 3790950"/>
                <a:gd name="connsiteY65" fmla="*/ 2843213 h 4038600"/>
                <a:gd name="connsiteX66" fmla="*/ 3489158 w 3790950"/>
                <a:gd name="connsiteY66" fmla="*/ 2807653 h 4038600"/>
                <a:gd name="connsiteX67" fmla="*/ 3497413 w 3790950"/>
                <a:gd name="connsiteY67" fmla="*/ 2783523 h 4038600"/>
                <a:gd name="connsiteX68" fmla="*/ 3511383 w 3790950"/>
                <a:gd name="connsiteY68" fmla="*/ 2798763 h 4038600"/>
                <a:gd name="connsiteX69" fmla="*/ 3558373 w 3790950"/>
                <a:gd name="connsiteY69" fmla="*/ 2822258 h 4038600"/>
                <a:gd name="connsiteX70" fmla="*/ 3588218 w 3790950"/>
                <a:gd name="connsiteY70" fmla="*/ 2838133 h 4038600"/>
                <a:gd name="connsiteX71" fmla="*/ 3607268 w 3790950"/>
                <a:gd name="connsiteY71" fmla="*/ 2788603 h 4038600"/>
                <a:gd name="connsiteX72" fmla="*/ 3607903 w 3790950"/>
                <a:gd name="connsiteY72" fmla="*/ 2824163 h 4038600"/>
                <a:gd name="connsiteX73" fmla="*/ 3594568 w 3790950"/>
                <a:gd name="connsiteY73" fmla="*/ 2864803 h 4038600"/>
                <a:gd name="connsiteX74" fmla="*/ 3588853 w 3790950"/>
                <a:gd name="connsiteY74" fmla="*/ 2871153 h 4038600"/>
                <a:gd name="connsiteX75" fmla="*/ 3652988 w 3790950"/>
                <a:gd name="connsiteY75" fmla="*/ 2756853 h 4038600"/>
                <a:gd name="connsiteX76" fmla="*/ 3657433 w 3790950"/>
                <a:gd name="connsiteY76" fmla="*/ 2807653 h 4038600"/>
                <a:gd name="connsiteX77" fmla="*/ 3682198 w 3790950"/>
                <a:gd name="connsiteY77" fmla="*/ 2913063 h 4038600"/>
                <a:gd name="connsiteX78" fmla="*/ 3683468 w 3790950"/>
                <a:gd name="connsiteY78" fmla="*/ 2897188 h 4038600"/>
                <a:gd name="connsiteX79" fmla="*/ 3698073 w 3790950"/>
                <a:gd name="connsiteY79" fmla="*/ 2961323 h 4038600"/>
                <a:gd name="connsiteX80" fmla="*/ 3705693 w 3790950"/>
                <a:gd name="connsiteY80" fmla="*/ 3005773 h 4038600"/>
                <a:gd name="connsiteX81" fmla="*/ 3735538 w 3790950"/>
                <a:gd name="connsiteY81" fmla="*/ 3086418 h 4038600"/>
                <a:gd name="connsiteX82" fmla="*/ 3757128 w 3790950"/>
                <a:gd name="connsiteY82" fmla="*/ 3226118 h 4038600"/>
                <a:gd name="connsiteX83" fmla="*/ 3760303 w 3790950"/>
                <a:gd name="connsiteY83" fmla="*/ 3233738 h 4038600"/>
                <a:gd name="connsiteX84" fmla="*/ 3771098 w 3790950"/>
                <a:gd name="connsiteY84" fmla="*/ 2408873 h 4038600"/>
                <a:gd name="connsiteX85" fmla="*/ 3764113 w 3790950"/>
                <a:gd name="connsiteY85" fmla="*/ 2382838 h 4038600"/>
                <a:gd name="connsiteX86" fmla="*/ 3756493 w 3790950"/>
                <a:gd name="connsiteY86" fmla="*/ 2265363 h 4038600"/>
                <a:gd name="connsiteX87" fmla="*/ 3759668 w 3790950"/>
                <a:gd name="connsiteY87" fmla="*/ 2229803 h 4038600"/>
                <a:gd name="connsiteX88" fmla="*/ 3753318 w 3790950"/>
                <a:gd name="connsiteY88" fmla="*/ 2200593 h 4038600"/>
                <a:gd name="connsiteX89" fmla="*/ 3586313 w 3790950"/>
                <a:gd name="connsiteY89" fmla="*/ 1680528 h 4038600"/>
                <a:gd name="connsiteX90" fmla="*/ 3031958 w 3790950"/>
                <a:gd name="connsiteY90" fmla="*/ 851218 h 4038600"/>
                <a:gd name="connsiteX91" fmla="*/ 1617813 w 3790950"/>
                <a:gd name="connsiteY91" fmla="*/ 65088 h 4038600"/>
                <a:gd name="connsiteX92" fmla="*/ 1144103 w 3790950"/>
                <a:gd name="connsiteY92" fmla="*/ 8573 h 4038600"/>
                <a:gd name="connsiteX93" fmla="*/ 1145373 w 3790950"/>
                <a:gd name="connsiteY93" fmla="*/ 4763 h 4038600"/>
                <a:gd name="connsiteX94" fmla="*/ 1550503 w 3790950"/>
                <a:gd name="connsiteY94" fmla="*/ 68263 h 4038600"/>
                <a:gd name="connsiteX95" fmla="*/ 1650198 w 3790950"/>
                <a:gd name="connsiteY95" fmla="*/ 95568 h 4038600"/>
                <a:gd name="connsiteX96" fmla="*/ 1677503 w 3790950"/>
                <a:gd name="connsiteY96" fmla="*/ 120968 h 4038600"/>
                <a:gd name="connsiteX97" fmla="*/ 1779738 w 3790950"/>
                <a:gd name="connsiteY97" fmla="*/ 159703 h 4038600"/>
                <a:gd name="connsiteX98" fmla="*/ 1789263 w 3790950"/>
                <a:gd name="connsiteY98" fmla="*/ 157163 h 4038600"/>
                <a:gd name="connsiteX99" fmla="*/ 1829268 w 3790950"/>
                <a:gd name="connsiteY99" fmla="*/ 180023 h 4038600"/>
                <a:gd name="connsiteX100" fmla="*/ 1848953 w 3790950"/>
                <a:gd name="connsiteY100" fmla="*/ 197168 h 4038600"/>
                <a:gd name="connsiteX101" fmla="*/ 1916263 w 3790950"/>
                <a:gd name="connsiteY101" fmla="*/ 214313 h 4038600"/>
                <a:gd name="connsiteX102" fmla="*/ 1895308 w 3790950"/>
                <a:gd name="connsiteY102" fmla="*/ 258763 h 4038600"/>
                <a:gd name="connsiteX103" fmla="*/ 1904833 w 3790950"/>
                <a:gd name="connsiteY103" fmla="*/ 279083 h 4038600"/>
                <a:gd name="connsiteX104" fmla="*/ 1887053 w 3790950"/>
                <a:gd name="connsiteY104" fmla="*/ 274638 h 4038600"/>
                <a:gd name="connsiteX105" fmla="*/ 1937218 w 3790950"/>
                <a:gd name="connsiteY105" fmla="*/ 312738 h 4038600"/>
                <a:gd name="connsiteX106" fmla="*/ 1899753 w 3790950"/>
                <a:gd name="connsiteY106" fmla="*/ 307023 h 4038600"/>
                <a:gd name="connsiteX107" fmla="*/ 1908008 w 3790950"/>
                <a:gd name="connsiteY107" fmla="*/ 319088 h 4038600"/>
                <a:gd name="connsiteX108" fmla="*/ 1931503 w 3790950"/>
                <a:gd name="connsiteY108" fmla="*/ 331153 h 4038600"/>
                <a:gd name="connsiteX109" fmla="*/ 1960078 w 3790950"/>
                <a:gd name="connsiteY109" fmla="*/ 360998 h 4038600"/>
                <a:gd name="connsiteX110" fmla="*/ 1984208 w 3790950"/>
                <a:gd name="connsiteY110" fmla="*/ 375603 h 4038600"/>
                <a:gd name="connsiteX111" fmla="*/ 1819108 w 3790950"/>
                <a:gd name="connsiteY111" fmla="*/ 289243 h 4038600"/>
                <a:gd name="connsiteX112" fmla="*/ 1720683 w 3790950"/>
                <a:gd name="connsiteY112" fmla="*/ 321628 h 4038600"/>
                <a:gd name="connsiteX113" fmla="*/ 1864828 w 3790950"/>
                <a:gd name="connsiteY113" fmla="*/ 374968 h 4038600"/>
                <a:gd name="connsiteX114" fmla="*/ 1844508 w 3790950"/>
                <a:gd name="connsiteY114" fmla="*/ 376238 h 4038600"/>
                <a:gd name="connsiteX115" fmla="*/ 1805138 w 3790950"/>
                <a:gd name="connsiteY115" fmla="*/ 367983 h 4038600"/>
                <a:gd name="connsiteX116" fmla="*/ 1823553 w 3790950"/>
                <a:gd name="connsiteY116" fmla="*/ 401638 h 4038600"/>
                <a:gd name="connsiteX117" fmla="*/ 1840063 w 3790950"/>
                <a:gd name="connsiteY117" fmla="*/ 438468 h 4038600"/>
                <a:gd name="connsiteX118" fmla="*/ 1883878 w 3790950"/>
                <a:gd name="connsiteY118" fmla="*/ 470853 h 4038600"/>
                <a:gd name="connsiteX119" fmla="*/ 1874353 w 3790950"/>
                <a:gd name="connsiteY119" fmla="*/ 475933 h 4038600"/>
                <a:gd name="connsiteX120" fmla="*/ 1970873 w 3790950"/>
                <a:gd name="connsiteY120" fmla="*/ 506413 h 4038600"/>
                <a:gd name="connsiteX121" fmla="*/ 1941663 w 3790950"/>
                <a:gd name="connsiteY121" fmla="*/ 503238 h 4038600"/>
                <a:gd name="connsiteX122" fmla="*/ 1921343 w 3790950"/>
                <a:gd name="connsiteY122" fmla="*/ 486728 h 4038600"/>
                <a:gd name="connsiteX123" fmla="*/ 1916263 w 3790950"/>
                <a:gd name="connsiteY123" fmla="*/ 538163 h 4038600"/>
                <a:gd name="connsiteX124" fmla="*/ 1949283 w 3790950"/>
                <a:gd name="connsiteY124" fmla="*/ 550863 h 4038600"/>
                <a:gd name="connsiteX125" fmla="*/ 2033103 w 3790950"/>
                <a:gd name="connsiteY125" fmla="*/ 562293 h 4038600"/>
                <a:gd name="connsiteX126" fmla="*/ 2057233 w 3790950"/>
                <a:gd name="connsiteY126" fmla="*/ 578803 h 4038600"/>
                <a:gd name="connsiteX127" fmla="*/ 2111843 w 3790950"/>
                <a:gd name="connsiteY127" fmla="*/ 604838 h 4038600"/>
                <a:gd name="connsiteX128" fmla="*/ 2081998 w 3790950"/>
                <a:gd name="connsiteY128" fmla="*/ 601663 h 4038600"/>
                <a:gd name="connsiteX129" fmla="*/ 1967698 w 3790950"/>
                <a:gd name="connsiteY129" fmla="*/ 581978 h 4038600"/>
                <a:gd name="connsiteX130" fmla="*/ 2046438 w 3790950"/>
                <a:gd name="connsiteY130" fmla="*/ 623253 h 4038600"/>
                <a:gd name="connsiteX131" fmla="*/ 2005798 w 3790950"/>
                <a:gd name="connsiteY131" fmla="*/ 635318 h 4038600"/>
                <a:gd name="connsiteX132" fmla="*/ 1943568 w 3790950"/>
                <a:gd name="connsiteY132" fmla="*/ 598488 h 4038600"/>
                <a:gd name="connsiteX133" fmla="*/ 1921978 w 3790950"/>
                <a:gd name="connsiteY133" fmla="*/ 594678 h 4038600"/>
                <a:gd name="connsiteX134" fmla="*/ 1961348 w 3790950"/>
                <a:gd name="connsiteY134" fmla="*/ 616268 h 4038600"/>
                <a:gd name="connsiteX135" fmla="*/ 1982938 w 3790950"/>
                <a:gd name="connsiteY135" fmla="*/ 651193 h 4038600"/>
                <a:gd name="connsiteX136" fmla="*/ 2029293 w 3790950"/>
                <a:gd name="connsiteY136" fmla="*/ 662623 h 4038600"/>
                <a:gd name="connsiteX137" fmla="*/ 2041358 w 3790950"/>
                <a:gd name="connsiteY137" fmla="*/ 671513 h 4038600"/>
                <a:gd name="connsiteX138" fmla="*/ 2102953 w 3790950"/>
                <a:gd name="connsiteY138" fmla="*/ 713423 h 4038600"/>
                <a:gd name="connsiteX139" fmla="*/ 2142323 w 3790950"/>
                <a:gd name="connsiteY139" fmla="*/ 686753 h 4038600"/>
                <a:gd name="connsiteX140" fmla="*/ 2198838 w 3790950"/>
                <a:gd name="connsiteY140" fmla="*/ 722313 h 4038600"/>
                <a:gd name="connsiteX141" fmla="*/ 2219158 w 3790950"/>
                <a:gd name="connsiteY141" fmla="*/ 713423 h 4038600"/>
                <a:gd name="connsiteX142" fmla="*/ 2195028 w 3790950"/>
                <a:gd name="connsiteY142" fmla="*/ 725488 h 4038600"/>
                <a:gd name="connsiteX143" fmla="*/ 2130893 w 3790950"/>
                <a:gd name="connsiteY143" fmla="*/ 694373 h 4038600"/>
                <a:gd name="connsiteX144" fmla="*/ 2128988 w 3790950"/>
                <a:gd name="connsiteY144" fmla="*/ 721043 h 4038600"/>
                <a:gd name="connsiteX145" fmla="*/ 2182328 w 3790950"/>
                <a:gd name="connsiteY145" fmla="*/ 751523 h 4038600"/>
                <a:gd name="connsiteX146" fmla="*/ 2215983 w 3790950"/>
                <a:gd name="connsiteY146" fmla="*/ 808673 h 4038600"/>
                <a:gd name="connsiteX147" fmla="*/ 2229318 w 3790950"/>
                <a:gd name="connsiteY147" fmla="*/ 820102 h 4038600"/>
                <a:gd name="connsiteX148" fmla="*/ 2171533 w 3790950"/>
                <a:gd name="connsiteY148" fmla="*/ 835977 h 4038600"/>
                <a:gd name="connsiteX149" fmla="*/ 2188043 w 3790950"/>
                <a:gd name="connsiteY149" fmla="*/ 808673 h 4038600"/>
                <a:gd name="connsiteX150" fmla="*/ 2133433 w 3790950"/>
                <a:gd name="connsiteY150" fmla="*/ 736918 h 4038600"/>
                <a:gd name="connsiteX151" fmla="*/ 2099778 w 3790950"/>
                <a:gd name="connsiteY151" fmla="*/ 730568 h 4038600"/>
                <a:gd name="connsiteX152" fmla="*/ 2035008 w 3790950"/>
                <a:gd name="connsiteY152" fmla="*/ 691833 h 4038600"/>
                <a:gd name="connsiteX153" fmla="*/ 2008338 w 3790950"/>
                <a:gd name="connsiteY153" fmla="*/ 670243 h 4038600"/>
                <a:gd name="connsiteX154" fmla="*/ 1970238 w 3790950"/>
                <a:gd name="connsiteY154" fmla="*/ 660083 h 4038600"/>
                <a:gd name="connsiteX155" fmla="*/ 1916263 w 3790950"/>
                <a:gd name="connsiteY155" fmla="*/ 616903 h 4038600"/>
                <a:gd name="connsiteX156" fmla="*/ 1931503 w 3790950"/>
                <a:gd name="connsiteY156" fmla="*/ 679768 h 4038600"/>
                <a:gd name="connsiteX157" fmla="*/ 1945473 w 3790950"/>
                <a:gd name="connsiteY157" fmla="*/ 712153 h 4038600"/>
                <a:gd name="connsiteX158" fmla="*/ 1967063 w 3790950"/>
                <a:gd name="connsiteY158" fmla="*/ 716598 h 4038600"/>
                <a:gd name="connsiteX159" fmla="*/ 2062948 w 3790950"/>
                <a:gd name="connsiteY159" fmla="*/ 766128 h 4038600"/>
                <a:gd name="connsiteX160" fmla="*/ 2071838 w 3790950"/>
                <a:gd name="connsiteY160" fmla="*/ 761048 h 4038600"/>
                <a:gd name="connsiteX161" fmla="*/ 2013418 w 3790950"/>
                <a:gd name="connsiteY161" fmla="*/ 785178 h 4038600"/>
                <a:gd name="connsiteX162" fmla="*/ 1937218 w 3790950"/>
                <a:gd name="connsiteY162" fmla="*/ 796608 h 4038600"/>
                <a:gd name="connsiteX163" fmla="*/ 1963253 w 3790950"/>
                <a:gd name="connsiteY163" fmla="*/ 822643 h 4038600"/>
                <a:gd name="connsiteX164" fmla="*/ 1976588 w 3790950"/>
                <a:gd name="connsiteY164" fmla="*/ 848677 h 4038600"/>
                <a:gd name="connsiteX165" fmla="*/ 1989923 w 3790950"/>
                <a:gd name="connsiteY165" fmla="*/ 863283 h 4038600"/>
                <a:gd name="connsiteX166" fmla="*/ 1948013 w 3790950"/>
                <a:gd name="connsiteY166" fmla="*/ 873443 h 4038600"/>
                <a:gd name="connsiteX167" fmla="*/ 1902293 w 3790950"/>
                <a:gd name="connsiteY167" fmla="*/ 915352 h 4038600"/>
                <a:gd name="connsiteX168" fmla="*/ 1905468 w 3790950"/>
                <a:gd name="connsiteY168" fmla="*/ 903923 h 4038600"/>
                <a:gd name="connsiteX169" fmla="*/ 1890228 w 3790950"/>
                <a:gd name="connsiteY169" fmla="*/ 875348 h 4038600"/>
                <a:gd name="connsiteX170" fmla="*/ 1875623 w 3790950"/>
                <a:gd name="connsiteY170" fmla="*/ 890588 h 4038600"/>
                <a:gd name="connsiteX171" fmla="*/ 1871178 w 3790950"/>
                <a:gd name="connsiteY171" fmla="*/ 909002 h 4038600"/>
                <a:gd name="connsiteX172" fmla="*/ 1835618 w 3790950"/>
                <a:gd name="connsiteY172" fmla="*/ 981393 h 4038600"/>
                <a:gd name="connsiteX173" fmla="*/ 1827363 w 3790950"/>
                <a:gd name="connsiteY173" fmla="*/ 1026477 h 4038600"/>
                <a:gd name="connsiteX174" fmla="*/ 1789898 w 3790950"/>
                <a:gd name="connsiteY174" fmla="*/ 1011238 h 4038600"/>
                <a:gd name="connsiteX175" fmla="*/ 1807043 w 3790950"/>
                <a:gd name="connsiteY175" fmla="*/ 978852 h 4038600"/>
                <a:gd name="connsiteX176" fmla="*/ 1754973 w 3790950"/>
                <a:gd name="connsiteY176" fmla="*/ 989648 h 4038600"/>
                <a:gd name="connsiteX177" fmla="*/ 1805773 w 3790950"/>
                <a:gd name="connsiteY177" fmla="*/ 1044258 h 4038600"/>
                <a:gd name="connsiteX178" fmla="*/ 1763228 w 3790950"/>
                <a:gd name="connsiteY178" fmla="*/ 1065848 h 4038600"/>
                <a:gd name="connsiteX179" fmla="*/ 1763228 w 3790950"/>
                <a:gd name="connsiteY179" fmla="*/ 1086803 h 4038600"/>
                <a:gd name="connsiteX180" fmla="*/ 1741003 w 3790950"/>
                <a:gd name="connsiteY180" fmla="*/ 1124268 h 4038600"/>
                <a:gd name="connsiteX181" fmla="*/ 1781008 w 3790950"/>
                <a:gd name="connsiteY181" fmla="*/ 1161098 h 4038600"/>
                <a:gd name="connsiteX182" fmla="*/ 1728303 w 3790950"/>
                <a:gd name="connsiteY182" fmla="*/ 1183323 h 4038600"/>
                <a:gd name="connsiteX183" fmla="*/ 1730208 w 3790950"/>
                <a:gd name="connsiteY183" fmla="*/ 1169353 h 4038600"/>
                <a:gd name="connsiteX184" fmla="*/ 1685758 w 3790950"/>
                <a:gd name="connsiteY184" fmla="*/ 1163003 h 4038600"/>
                <a:gd name="connsiteX185" fmla="*/ 1690203 w 3790950"/>
                <a:gd name="connsiteY185" fmla="*/ 1185863 h 4038600"/>
                <a:gd name="connsiteX186" fmla="*/ 1736558 w 3790950"/>
                <a:gd name="connsiteY186" fmla="*/ 1199198 h 4038600"/>
                <a:gd name="connsiteX187" fmla="*/ 1738463 w 3790950"/>
                <a:gd name="connsiteY187" fmla="*/ 1226503 h 4038600"/>
                <a:gd name="connsiteX188" fmla="*/ 1674328 w 3790950"/>
                <a:gd name="connsiteY188" fmla="*/ 1213168 h 4038600"/>
                <a:gd name="connsiteX189" fmla="*/ 1652103 w 3790950"/>
                <a:gd name="connsiteY189" fmla="*/ 1206183 h 4038600"/>
                <a:gd name="connsiteX190" fmla="*/ 1620988 w 3790950"/>
                <a:gd name="connsiteY190" fmla="*/ 1166813 h 4038600"/>
                <a:gd name="connsiteX191" fmla="*/ 1627973 w 3790950"/>
                <a:gd name="connsiteY191" fmla="*/ 1147128 h 4038600"/>
                <a:gd name="connsiteX192" fmla="*/ 1597493 w 3790950"/>
                <a:gd name="connsiteY192" fmla="*/ 1127443 h 4038600"/>
                <a:gd name="connsiteX193" fmla="*/ 1662898 w 3790950"/>
                <a:gd name="connsiteY193" fmla="*/ 1109028 h 4038600"/>
                <a:gd name="connsiteX194" fmla="*/ 1676233 w 3790950"/>
                <a:gd name="connsiteY194" fmla="*/ 1112203 h 4038600"/>
                <a:gd name="connsiteX195" fmla="*/ 1685758 w 3790950"/>
                <a:gd name="connsiteY195" fmla="*/ 1112203 h 4038600"/>
                <a:gd name="connsiteX196" fmla="*/ 1701633 w 3790950"/>
                <a:gd name="connsiteY196" fmla="*/ 1018223 h 4038600"/>
                <a:gd name="connsiteX197" fmla="*/ 1669248 w 3790950"/>
                <a:gd name="connsiteY197" fmla="*/ 1009968 h 4038600"/>
                <a:gd name="connsiteX198" fmla="*/ 1561298 w 3790950"/>
                <a:gd name="connsiteY198" fmla="*/ 977583 h 4038600"/>
                <a:gd name="connsiteX199" fmla="*/ 1516848 w 3790950"/>
                <a:gd name="connsiteY199" fmla="*/ 978852 h 4038600"/>
                <a:gd name="connsiteX200" fmla="*/ 1509863 w 3790950"/>
                <a:gd name="connsiteY200" fmla="*/ 989648 h 4038600"/>
                <a:gd name="connsiteX201" fmla="*/ 1465413 w 3790950"/>
                <a:gd name="connsiteY201" fmla="*/ 971233 h 4038600"/>
                <a:gd name="connsiteX202" fmla="*/ 1443188 w 3790950"/>
                <a:gd name="connsiteY202" fmla="*/ 970598 h 4038600"/>
                <a:gd name="connsiteX203" fmla="*/ 1410168 w 3790950"/>
                <a:gd name="connsiteY203" fmla="*/ 930593 h 4038600"/>
                <a:gd name="connsiteX204" fmla="*/ 1387943 w 3790950"/>
                <a:gd name="connsiteY204" fmla="*/ 927418 h 4038600"/>
                <a:gd name="connsiteX205" fmla="*/ 1355558 w 3790950"/>
                <a:gd name="connsiteY205" fmla="*/ 920433 h 4038600"/>
                <a:gd name="connsiteX206" fmla="*/ 1287613 w 3790950"/>
                <a:gd name="connsiteY206" fmla="*/ 985838 h 4038600"/>
                <a:gd name="connsiteX207" fmla="*/ 1239988 w 3790950"/>
                <a:gd name="connsiteY207" fmla="*/ 977583 h 4038600"/>
                <a:gd name="connsiteX208" fmla="*/ 1264118 w 3790950"/>
                <a:gd name="connsiteY208" fmla="*/ 997902 h 4038600"/>
                <a:gd name="connsiteX209" fmla="*/ 1236813 w 3790950"/>
                <a:gd name="connsiteY209" fmla="*/ 991552 h 4038600"/>
                <a:gd name="connsiteX210" fmla="*/ 1213318 w 3790950"/>
                <a:gd name="connsiteY210" fmla="*/ 999173 h 4038600"/>
                <a:gd name="connsiteX211" fmla="*/ 1172678 w 3790950"/>
                <a:gd name="connsiteY211" fmla="*/ 1082358 h 4038600"/>
                <a:gd name="connsiteX212" fmla="*/ 1145373 w 3790950"/>
                <a:gd name="connsiteY212" fmla="*/ 1082358 h 4038600"/>
                <a:gd name="connsiteX213" fmla="*/ 1152993 w 3790950"/>
                <a:gd name="connsiteY213" fmla="*/ 1093788 h 4038600"/>
                <a:gd name="connsiteX214" fmla="*/ 1106638 w 3790950"/>
                <a:gd name="connsiteY214" fmla="*/ 1136968 h 4038600"/>
                <a:gd name="connsiteX215" fmla="*/ 1099018 w 3790950"/>
                <a:gd name="connsiteY215" fmla="*/ 1156018 h 4038600"/>
                <a:gd name="connsiteX216" fmla="*/ 1079333 w 3790950"/>
                <a:gd name="connsiteY216" fmla="*/ 1162368 h 4038600"/>
                <a:gd name="connsiteX217" fmla="*/ 1091398 w 3790950"/>
                <a:gd name="connsiteY217" fmla="*/ 1184593 h 4038600"/>
                <a:gd name="connsiteX218" fmla="*/ 1076158 w 3790950"/>
                <a:gd name="connsiteY218" fmla="*/ 1233488 h 4038600"/>
                <a:gd name="connsiteX219" fmla="*/ 1035518 w 3790950"/>
                <a:gd name="connsiteY219" fmla="*/ 1265873 h 4038600"/>
                <a:gd name="connsiteX220" fmla="*/ 1042503 w 3790950"/>
                <a:gd name="connsiteY220" fmla="*/ 1278573 h 4038600"/>
                <a:gd name="connsiteX221" fmla="*/ 1010753 w 3790950"/>
                <a:gd name="connsiteY221" fmla="*/ 1280478 h 4038600"/>
                <a:gd name="connsiteX222" fmla="*/ 983448 w 3790950"/>
                <a:gd name="connsiteY222" fmla="*/ 1316038 h 4038600"/>
                <a:gd name="connsiteX223" fmla="*/ 1032978 w 3790950"/>
                <a:gd name="connsiteY223" fmla="*/ 1297623 h 4038600"/>
                <a:gd name="connsiteX224" fmla="*/ 1037423 w 3790950"/>
                <a:gd name="connsiteY224" fmla="*/ 1315403 h 4038600"/>
                <a:gd name="connsiteX225" fmla="*/ 988528 w 3790950"/>
                <a:gd name="connsiteY225" fmla="*/ 1323658 h 4038600"/>
                <a:gd name="connsiteX226" fmla="*/ 965033 w 3790950"/>
                <a:gd name="connsiteY226" fmla="*/ 1347153 h 4038600"/>
                <a:gd name="connsiteX227" fmla="*/ 942808 w 3790950"/>
                <a:gd name="connsiteY227" fmla="*/ 1350963 h 4038600"/>
                <a:gd name="connsiteX228" fmla="*/ 937093 w 3790950"/>
                <a:gd name="connsiteY228" fmla="*/ 1359218 h 4038600"/>
                <a:gd name="connsiteX229" fmla="*/ 904708 w 3790950"/>
                <a:gd name="connsiteY229" fmla="*/ 1361123 h 4038600"/>
                <a:gd name="connsiteX230" fmla="*/ 885023 w 3790950"/>
                <a:gd name="connsiteY230" fmla="*/ 1408113 h 4038600"/>
                <a:gd name="connsiteX231" fmla="*/ 848193 w 3790950"/>
                <a:gd name="connsiteY231" fmla="*/ 1398588 h 4038600"/>
                <a:gd name="connsiteX232" fmla="*/ 848193 w 3790950"/>
                <a:gd name="connsiteY232" fmla="*/ 1414463 h 4038600"/>
                <a:gd name="connsiteX233" fmla="*/ 898358 w 3790950"/>
                <a:gd name="connsiteY233" fmla="*/ 1418908 h 4038600"/>
                <a:gd name="connsiteX234" fmla="*/ 838033 w 3790950"/>
                <a:gd name="connsiteY234" fmla="*/ 1450658 h 4038600"/>
                <a:gd name="connsiteX235" fmla="*/ 845018 w 3790950"/>
                <a:gd name="connsiteY235" fmla="*/ 1459548 h 4038600"/>
                <a:gd name="connsiteX236" fmla="*/ 910423 w 3790950"/>
                <a:gd name="connsiteY236" fmla="*/ 1451928 h 4038600"/>
                <a:gd name="connsiteX237" fmla="*/ 922488 w 3790950"/>
                <a:gd name="connsiteY237" fmla="*/ 1455103 h 4038600"/>
                <a:gd name="connsiteX238" fmla="*/ 838033 w 3790950"/>
                <a:gd name="connsiteY238" fmla="*/ 1474153 h 4038600"/>
                <a:gd name="connsiteX239" fmla="*/ 853273 w 3790950"/>
                <a:gd name="connsiteY239" fmla="*/ 1472883 h 4038600"/>
                <a:gd name="connsiteX240" fmla="*/ 834223 w 3790950"/>
                <a:gd name="connsiteY240" fmla="*/ 1475423 h 4038600"/>
                <a:gd name="connsiteX241" fmla="*/ 871688 w 3790950"/>
                <a:gd name="connsiteY241" fmla="*/ 1496378 h 4038600"/>
                <a:gd name="connsiteX242" fmla="*/ 900898 w 3790950"/>
                <a:gd name="connsiteY242" fmla="*/ 1495743 h 4038600"/>
                <a:gd name="connsiteX243" fmla="*/ 838668 w 3790950"/>
                <a:gd name="connsiteY243" fmla="*/ 1594168 h 4038600"/>
                <a:gd name="connsiteX244" fmla="*/ 922488 w 3790950"/>
                <a:gd name="connsiteY244" fmla="*/ 1629093 h 4038600"/>
                <a:gd name="connsiteX245" fmla="*/ 928838 w 3790950"/>
                <a:gd name="connsiteY245" fmla="*/ 1635443 h 4038600"/>
                <a:gd name="connsiteX246" fmla="*/ 966938 w 3790950"/>
                <a:gd name="connsiteY246" fmla="*/ 1592263 h 4038600"/>
                <a:gd name="connsiteX247" fmla="*/ 975193 w 3790950"/>
                <a:gd name="connsiteY247" fmla="*/ 1577658 h 4038600"/>
                <a:gd name="connsiteX248" fmla="*/ 1005673 w 3790950"/>
                <a:gd name="connsiteY248" fmla="*/ 1554798 h 4038600"/>
                <a:gd name="connsiteX249" fmla="*/ 1009483 w 3790950"/>
                <a:gd name="connsiteY249" fmla="*/ 1533843 h 4038600"/>
                <a:gd name="connsiteX250" fmla="*/ 1014563 w 3790950"/>
                <a:gd name="connsiteY250" fmla="*/ 1572578 h 4038600"/>
                <a:gd name="connsiteX251" fmla="*/ 1053298 w 3790950"/>
                <a:gd name="connsiteY251" fmla="*/ 1624013 h 4038600"/>
                <a:gd name="connsiteX252" fmla="*/ 1047583 w 3790950"/>
                <a:gd name="connsiteY252" fmla="*/ 1661478 h 4038600"/>
                <a:gd name="connsiteX253" fmla="*/ 1090763 w 3790950"/>
                <a:gd name="connsiteY253" fmla="*/ 1724343 h 4038600"/>
                <a:gd name="connsiteX254" fmla="*/ 1088858 w 3790950"/>
                <a:gd name="connsiteY254" fmla="*/ 1748473 h 4038600"/>
                <a:gd name="connsiteX255" fmla="*/ 1075523 w 3790950"/>
                <a:gd name="connsiteY255" fmla="*/ 1744663 h 4038600"/>
                <a:gd name="connsiteX256" fmla="*/ 1091398 w 3790950"/>
                <a:gd name="connsiteY256" fmla="*/ 1799908 h 4038600"/>
                <a:gd name="connsiteX257" fmla="*/ 1141563 w 3790950"/>
                <a:gd name="connsiteY257" fmla="*/ 1798638 h 4038600"/>
                <a:gd name="connsiteX258" fmla="*/ 1156803 w 3790950"/>
                <a:gd name="connsiteY258" fmla="*/ 1750378 h 4038600"/>
                <a:gd name="connsiteX259" fmla="*/ 1217763 w 3790950"/>
                <a:gd name="connsiteY259" fmla="*/ 1711643 h 4038600"/>
                <a:gd name="connsiteX260" fmla="*/ 1214588 w 3790950"/>
                <a:gd name="connsiteY260" fmla="*/ 1681163 h 4038600"/>
                <a:gd name="connsiteX261" fmla="*/ 1221573 w 3790950"/>
                <a:gd name="connsiteY261" fmla="*/ 1669733 h 4038600"/>
                <a:gd name="connsiteX262" fmla="*/ 1209508 w 3790950"/>
                <a:gd name="connsiteY262" fmla="*/ 1644968 h 4038600"/>
                <a:gd name="connsiteX263" fmla="*/ 1221573 w 3790950"/>
                <a:gd name="connsiteY263" fmla="*/ 1645603 h 4038600"/>
                <a:gd name="connsiteX264" fmla="*/ 1220303 w 3790950"/>
                <a:gd name="connsiteY264" fmla="*/ 1620203 h 4038600"/>
                <a:gd name="connsiteX265" fmla="*/ 1198078 w 3790950"/>
                <a:gd name="connsiteY265" fmla="*/ 1602423 h 4038600"/>
                <a:gd name="connsiteX266" fmla="*/ 1236813 w 3790950"/>
                <a:gd name="connsiteY266" fmla="*/ 1593533 h 4038600"/>
                <a:gd name="connsiteX267" fmla="*/ 1268563 w 3790950"/>
                <a:gd name="connsiteY267" fmla="*/ 1568768 h 4038600"/>
                <a:gd name="connsiteX268" fmla="*/ 1250148 w 3790950"/>
                <a:gd name="connsiteY268" fmla="*/ 1564958 h 4038600"/>
                <a:gd name="connsiteX269" fmla="*/ 1237448 w 3790950"/>
                <a:gd name="connsiteY269" fmla="*/ 1531938 h 4038600"/>
                <a:gd name="connsiteX270" fmla="*/ 1247608 w 3790950"/>
                <a:gd name="connsiteY270" fmla="*/ 1556703 h 4038600"/>
                <a:gd name="connsiteX271" fmla="*/ 1285708 w 3790950"/>
                <a:gd name="connsiteY271" fmla="*/ 1532573 h 4038600"/>
                <a:gd name="connsiteX272" fmla="*/ 1243163 w 3790950"/>
                <a:gd name="connsiteY272" fmla="*/ 1485583 h 4038600"/>
                <a:gd name="connsiteX273" fmla="*/ 1210778 w 3790950"/>
                <a:gd name="connsiteY273" fmla="*/ 1381443 h 4038600"/>
                <a:gd name="connsiteX274" fmla="*/ 1235543 w 3790950"/>
                <a:gd name="connsiteY274" fmla="*/ 1361123 h 4038600"/>
                <a:gd name="connsiteX275" fmla="*/ 1262848 w 3790950"/>
                <a:gd name="connsiteY275" fmla="*/ 1317943 h 4038600"/>
                <a:gd name="connsiteX276" fmla="*/ 1295233 w 3790950"/>
                <a:gd name="connsiteY276" fmla="*/ 1302703 h 4038600"/>
                <a:gd name="connsiteX277" fmla="*/ 1293963 w 3790950"/>
                <a:gd name="connsiteY277" fmla="*/ 1246823 h 4038600"/>
                <a:gd name="connsiteX278" fmla="*/ 1306028 w 3790950"/>
                <a:gd name="connsiteY278" fmla="*/ 1229043 h 4038600"/>
                <a:gd name="connsiteX279" fmla="*/ 1295233 w 3790950"/>
                <a:gd name="connsiteY279" fmla="*/ 1220153 h 4038600"/>
                <a:gd name="connsiteX280" fmla="*/ 1363178 w 3790950"/>
                <a:gd name="connsiteY280" fmla="*/ 1187133 h 4038600"/>
                <a:gd name="connsiteX281" fmla="*/ 1408898 w 3790950"/>
                <a:gd name="connsiteY281" fmla="*/ 1227773 h 4038600"/>
                <a:gd name="connsiteX282" fmla="*/ 1387943 w 3790950"/>
                <a:gd name="connsiteY282" fmla="*/ 1238568 h 4038600"/>
                <a:gd name="connsiteX283" fmla="*/ 1373973 w 3790950"/>
                <a:gd name="connsiteY283" fmla="*/ 1282383 h 4038600"/>
                <a:gd name="connsiteX284" fmla="*/ 1356193 w 3790950"/>
                <a:gd name="connsiteY284" fmla="*/ 1305243 h 4038600"/>
                <a:gd name="connsiteX285" fmla="*/ 1343493 w 3790950"/>
                <a:gd name="connsiteY285" fmla="*/ 1312863 h 4038600"/>
                <a:gd name="connsiteX286" fmla="*/ 1347938 w 3790950"/>
                <a:gd name="connsiteY286" fmla="*/ 1326198 h 4038600"/>
                <a:gd name="connsiteX287" fmla="*/ 1318728 w 3790950"/>
                <a:gd name="connsiteY287" fmla="*/ 1356678 h 4038600"/>
                <a:gd name="connsiteX288" fmla="*/ 1343493 w 3790950"/>
                <a:gd name="connsiteY288" fmla="*/ 1450658 h 4038600"/>
                <a:gd name="connsiteX289" fmla="*/ 1351748 w 3790950"/>
                <a:gd name="connsiteY289" fmla="*/ 1476693 h 4038600"/>
                <a:gd name="connsiteX290" fmla="*/ 1417153 w 3790950"/>
                <a:gd name="connsiteY290" fmla="*/ 1502093 h 4038600"/>
                <a:gd name="connsiteX291" fmla="*/ 1406358 w 3790950"/>
                <a:gd name="connsiteY291" fmla="*/ 1516063 h 4038600"/>
                <a:gd name="connsiteX292" fmla="*/ 1453348 w 3790950"/>
                <a:gd name="connsiteY292" fmla="*/ 1490028 h 4038600"/>
                <a:gd name="connsiteX293" fmla="*/ 1469223 w 3790950"/>
                <a:gd name="connsiteY293" fmla="*/ 1488123 h 4038600"/>
                <a:gd name="connsiteX294" fmla="*/ 1507958 w 3790950"/>
                <a:gd name="connsiteY294" fmla="*/ 1456373 h 4038600"/>
                <a:gd name="connsiteX295" fmla="*/ 1514943 w 3790950"/>
                <a:gd name="connsiteY295" fmla="*/ 1465898 h 4038600"/>
                <a:gd name="connsiteX296" fmla="*/ 1546693 w 3790950"/>
                <a:gd name="connsiteY296" fmla="*/ 1452563 h 4038600"/>
                <a:gd name="connsiteX297" fmla="*/ 1629243 w 3790950"/>
                <a:gd name="connsiteY297" fmla="*/ 1472883 h 4038600"/>
                <a:gd name="connsiteX298" fmla="*/ 1593683 w 3790950"/>
                <a:gd name="connsiteY298" fmla="*/ 1479233 h 4038600"/>
                <a:gd name="connsiteX299" fmla="*/ 1567648 w 3790950"/>
                <a:gd name="connsiteY299" fmla="*/ 1493203 h 4038600"/>
                <a:gd name="connsiteX300" fmla="*/ 1456523 w 3790950"/>
                <a:gd name="connsiteY300" fmla="*/ 1531303 h 4038600"/>
                <a:gd name="connsiteX301" fmla="*/ 1451443 w 3790950"/>
                <a:gd name="connsiteY301" fmla="*/ 1541463 h 4038600"/>
                <a:gd name="connsiteX302" fmla="*/ 1432393 w 3790950"/>
                <a:gd name="connsiteY302" fmla="*/ 1546543 h 4038600"/>
                <a:gd name="connsiteX303" fmla="*/ 1452078 w 3790950"/>
                <a:gd name="connsiteY303" fmla="*/ 1596073 h 4038600"/>
                <a:gd name="connsiteX304" fmla="*/ 1479383 w 3790950"/>
                <a:gd name="connsiteY304" fmla="*/ 1593533 h 4038600"/>
                <a:gd name="connsiteX305" fmla="*/ 1476843 w 3790950"/>
                <a:gd name="connsiteY305" fmla="*/ 1624013 h 4038600"/>
                <a:gd name="connsiteX306" fmla="*/ 1488908 w 3790950"/>
                <a:gd name="connsiteY306" fmla="*/ 1657668 h 4038600"/>
                <a:gd name="connsiteX307" fmla="*/ 1394293 w 3790950"/>
                <a:gd name="connsiteY307" fmla="*/ 1648778 h 4038600"/>
                <a:gd name="connsiteX308" fmla="*/ 1387943 w 3790950"/>
                <a:gd name="connsiteY308" fmla="*/ 1671638 h 4038600"/>
                <a:gd name="connsiteX309" fmla="*/ 1380958 w 3790950"/>
                <a:gd name="connsiteY309" fmla="*/ 1722438 h 4038600"/>
                <a:gd name="connsiteX310" fmla="*/ 1400643 w 3790950"/>
                <a:gd name="connsiteY310" fmla="*/ 1791653 h 4038600"/>
                <a:gd name="connsiteX311" fmla="*/ 1405723 w 3790950"/>
                <a:gd name="connsiteY311" fmla="*/ 1806258 h 4038600"/>
                <a:gd name="connsiteX312" fmla="*/ 1358733 w 3790950"/>
                <a:gd name="connsiteY312" fmla="*/ 1810703 h 4038600"/>
                <a:gd name="connsiteX313" fmla="*/ 1349208 w 3790950"/>
                <a:gd name="connsiteY313" fmla="*/ 1841183 h 4038600"/>
                <a:gd name="connsiteX314" fmla="*/ 1299043 w 3790950"/>
                <a:gd name="connsiteY314" fmla="*/ 1822768 h 4038600"/>
                <a:gd name="connsiteX315" fmla="*/ 1247608 w 3790950"/>
                <a:gd name="connsiteY315" fmla="*/ 1840548 h 4038600"/>
                <a:gd name="connsiteX316" fmla="*/ 1234273 w 3790950"/>
                <a:gd name="connsiteY316" fmla="*/ 1844358 h 4038600"/>
                <a:gd name="connsiteX317" fmla="*/ 1221573 w 3790950"/>
                <a:gd name="connsiteY317" fmla="*/ 1862773 h 4038600"/>
                <a:gd name="connsiteX318" fmla="*/ 1189823 w 3790950"/>
                <a:gd name="connsiteY318" fmla="*/ 1871663 h 4038600"/>
                <a:gd name="connsiteX319" fmla="*/ 1149183 w 3790950"/>
                <a:gd name="connsiteY319" fmla="*/ 1890713 h 4038600"/>
                <a:gd name="connsiteX320" fmla="*/ 1151723 w 3790950"/>
                <a:gd name="connsiteY320" fmla="*/ 1898968 h 4038600"/>
                <a:gd name="connsiteX321" fmla="*/ 1083778 w 3790950"/>
                <a:gd name="connsiteY321" fmla="*/ 1854518 h 4038600"/>
                <a:gd name="connsiteX322" fmla="*/ 1068538 w 3790950"/>
                <a:gd name="connsiteY322" fmla="*/ 1878013 h 4038600"/>
                <a:gd name="connsiteX323" fmla="*/ 982813 w 3790950"/>
                <a:gd name="connsiteY323" fmla="*/ 1856423 h 4038600"/>
                <a:gd name="connsiteX324" fmla="*/ 986623 w 3790950"/>
                <a:gd name="connsiteY324" fmla="*/ 1836738 h 4038600"/>
                <a:gd name="connsiteX325" fmla="*/ 966938 w 3790950"/>
                <a:gd name="connsiteY325" fmla="*/ 1833563 h 4038600"/>
                <a:gd name="connsiteX326" fmla="*/ 972018 w 3790950"/>
                <a:gd name="connsiteY326" fmla="*/ 1779588 h 4038600"/>
                <a:gd name="connsiteX327" fmla="*/ 989163 w 3790950"/>
                <a:gd name="connsiteY327" fmla="*/ 1779588 h 4038600"/>
                <a:gd name="connsiteX328" fmla="*/ 1001228 w 3790950"/>
                <a:gd name="connsiteY328" fmla="*/ 1746568 h 4038600"/>
                <a:gd name="connsiteX329" fmla="*/ 1014563 w 3790950"/>
                <a:gd name="connsiteY329" fmla="*/ 1753553 h 4038600"/>
                <a:gd name="connsiteX330" fmla="*/ 1009483 w 3790950"/>
                <a:gd name="connsiteY330" fmla="*/ 1657668 h 4038600"/>
                <a:gd name="connsiteX331" fmla="*/ 988528 w 3790950"/>
                <a:gd name="connsiteY331" fmla="*/ 1667193 h 4038600"/>
                <a:gd name="connsiteX332" fmla="*/ 968843 w 3790950"/>
                <a:gd name="connsiteY332" fmla="*/ 1691958 h 4038600"/>
                <a:gd name="connsiteX333" fmla="*/ 987893 w 3790950"/>
                <a:gd name="connsiteY333" fmla="*/ 1698308 h 4038600"/>
                <a:gd name="connsiteX334" fmla="*/ 955508 w 3790950"/>
                <a:gd name="connsiteY334" fmla="*/ 1712913 h 4038600"/>
                <a:gd name="connsiteX335" fmla="*/ 917408 w 3790950"/>
                <a:gd name="connsiteY335" fmla="*/ 1787208 h 4038600"/>
                <a:gd name="connsiteX336" fmla="*/ 947253 w 3790950"/>
                <a:gd name="connsiteY336" fmla="*/ 1863408 h 4038600"/>
                <a:gd name="connsiteX337" fmla="*/ 944078 w 3790950"/>
                <a:gd name="connsiteY337" fmla="*/ 1886268 h 4038600"/>
                <a:gd name="connsiteX338" fmla="*/ 979638 w 3790950"/>
                <a:gd name="connsiteY338" fmla="*/ 1912303 h 4038600"/>
                <a:gd name="connsiteX339" fmla="*/ 935188 w 3790950"/>
                <a:gd name="connsiteY339" fmla="*/ 1888808 h 4038600"/>
                <a:gd name="connsiteX340" fmla="*/ 927568 w 3790950"/>
                <a:gd name="connsiteY340" fmla="*/ 1923098 h 4038600"/>
                <a:gd name="connsiteX341" fmla="*/ 907883 w 3790950"/>
                <a:gd name="connsiteY341" fmla="*/ 1899603 h 4038600"/>
                <a:gd name="connsiteX342" fmla="*/ 876768 w 3790950"/>
                <a:gd name="connsiteY342" fmla="*/ 1928813 h 4038600"/>
                <a:gd name="connsiteX343" fmla="*/ 830413 w 3790950"/>
                <a:gd name="connsiteY343" fmla="*/ 1916748 h 4038600"/>
                <a:gd name="connsiteX344" fmla="*/ 793583 w 3790950"/>
                <a:gd name="connsiteY344" fmla="*/ 1941513 h 4038600"/>
                <a:gd name="connsiteX345" fmla="*/ 778978 w 3790950"/>
                <a:gd name="connsiteY345" fmla="*/ 1940878 h 4038600"/>
                <a:gd name="connsiteX346" fmla="*/ 762468 w 3790950"/>
                <a:gd name="connsiteY346" fmla="*/ 1985963 h 4038600"/>
                <a:gd name="connsiteX347" fmla="*/ 745958 w 3790950"/>
                <a:gd name="connsiteY347" fmla="*/ 2010093 h 4038600"/>
                <a:gd name="connsiteX348" fmla="*/ 751673 w 3790950"/>
                <a:gd name="connsiteY348" fmla="*/ 2032318 h 4038600"/>
                <a:gd name="connsiteX349" fmla="*/ 718018 w 3790950"/>
                <a:gd name="connsiteY349" fmla="*/ 2026603 h 4038600"/>
                <a:gd name="connsiteX350" fmla="*/ 678648 w 3790950"/>
                <a:gd name="connsiteY350" fmla="*/ 2052003 h 4038600"/>
                <a:gd name="connsiteX351" fmla="*/ 638008 w 3790950"/>
                <a:gd name="connsiteY351" fmla="*/ 2062163 h 4038600"/>
                <a:gd name="connsiteX352" fmla="*/ 635468 w 3790950"/>
                <a:gd name="connsiteY352" fmla="*/ 2105343 h 4038600"/>
                <a:gd name="connsiteX353" fmla="*/ 589748 w 3790950"/>
                <a:gd name="connsiteY353" fmla="*/ 2121218 h 4038600"/>
                <a:gd name="connsiteX354" fmla="*/ 563713 w 3790950"/>
                <a:gd name="connsiteY354" fmla="*/ 2140903 h 4038600"/>
                <a:gd name="connsiteX355" fmla="*/ 557998 w 3790950"/>
                <a:gd name="connsiteY355" fmla="*/ 2152333 h 4038600"/>
                <a:gd name="connsiteX356" fmla="*/ 511008 w 3790950"/>
                <a:gd name="connsiteY356" fmla="*/ 2146618 h 4038600"/>
                <a:gd name="connsiteX357" fmla="*/ 510373 w 3790950"/>
                <a:gd name="connsiteY357" fmla="*/ 2123123 h 4038600"/>
                <a:gd name="connsiteX358" fmla="*/ 483068 w 3790950"/>
                <a:gd name="connsiteY358" fmla="*/ 2117408 h 4038600"/>
                <a:gd name="connsiteX359" fmla="*/ 471003 w 3790950"/>
                <a:gd name="connsiteY359" fmla="*/ 2182813 h 4038600"/>
                <a:gd name="connsiteX360" fmla="*/ 437348 w 3790950"/>
                <a:gd name="connsiteY360" fmla="*/ 2191068 h 4038600"/>
                <a:gd name="connsiteX361" fmla="*/ 419568 w 3790950"/>
                <a:gd name="connsiteY361" fmla="*/ 2164398 h 4038600"/>
                <a:gd name="connsiteX362" fmla="*/ 350353 w 3790950"/>
                <a:gd name="connsiteY362" fmla="*/ 2175828 h 4038600"/>
                <a:gd name="connsiteX363" fmla="*/ 405598 w 3790950"/>
                <a:gd name="connsiteY363" fmla="*/ 2253298 h 4038600"/>
                <a:gd name="connsiteX364" fmla="*/ 438618 w 3790950"/>
                <a:gd name="connsiteY364" fmla="*/ 2255838 h 4038600"/>
                <a:gd name="connsiteX365" fmla="*/ 429093 w 3790950"/>
                <a:gd name="connsiteY365" fmla="*/ 2267903 h 4038600"/>
                <a:gd name="connsiteX366" fmla="*/ 462113 w 3790950"/>
                <a:gd name="connsiteY366" fmla="*/ 2278063 h 4038600"/>
                <a:gd name="connsiteX367" fmla="*/ 440523 w 3790950"/>
                <a:gd name="connsiteY367" fmla="*/ 2300288 h 4038600"/>
                <a:gd name="connsiteX368" fmla="*/ 450683 w 3790950"/>
                <a:gd name="connsiteY368" fmla="*/ 2324418 h 4038600"/>
                <a:gd name="connsiteX369" fmla="*/ 472273 w 3790950"/>
                <a:gd name="connsiteY369" fmla="*/ 2388553 h 4038600"/>
                <a:gd name="connsiteX370" fmla="*/ 450048 w 3790950"/>
                <a:gd name="connsiteY370" fmla="*/ 2470468 h 4038600"/>
                <a:gd name="connsiteX371" fmla="*/ 432903 w 3790950"/>
                <a:gd name="connsiteY371" fmla="*/ 2516823 h 4038600"/>
                <a:gd name="connsiteX372" fmla="*/ 375118 w 3790950"/>
                <a:gd name="connsiteY372" fmla="*/ 2513013 h 4038600"/>
                <a:gd name="connsiteX373" fmla="*/ 361783 w 3790950"/>
                <a:gd name="connsiteY373" fmla="*/ 2519998 h 4038600"/>
                <a:gd name="connsiteX374" fmla="*/ 338288 w 3790950"/>
                <a:gd name="connsiteY374" fmla="*/ 2502853 h 4038600"/>
                <a:gd name="connsiteX375" fmla="*/ 295743 w 3790950"/>
                <a:gd name="connsiteY375" fmla="*/ 2504758 h 4038600"/>
                <a:gd name="connsiteX376" fmla="*/ 185253 w 3790950"/>
                <a:gd name="connsiteY376" fmla="*/ 2473008 h 4038600"/>
                <a:gd name="connsiteX377" fmla="*/ 182713 w 3790950"/>
                <a:gd name="connsiteY377" fmla="*/ 2476818 h 4038600"/>
                <a:gd name="connsiteX378" fmla="*/ 149693 w 3790950"/>
                <a:gd name="connsiteY378" fmla="*/ 2450783 h 4038600"/>
                <a:gd name="connsiteX379" fmla="*/ 96988 w 3790950"/>
                <a:gd name="connsiteY379" fmla="*/ 2534603 h 4038600"/>
                <a:gd name="connsiteX380" fmla="*/ 73493 w 3790950"/>
                <a:gd name="connsiteY380" fmla="*/ 2630488 h 4038600"/>
                <a:gd name="connsiteX381" fmla="*/ 76033 w 3790950"/>
                <a:gd name="connsiteY381" fmla="*/ 2636838 h 4038600"/>
                <a:gd name="connsiteX382" fmla="*/ 28408 w 3790950"/>
                <a:gd name="connsiteY382" fmla="*/ 2714943 h 4038600"/>
                <a:gd name="connsiteX383" fmla="*/ 17613 w 3790950"/>
                <a:gd name="connsiteY383" fmla="*/ 2715578 h 4038600"/>
                <a:gd name="connsiteX384" fmla="*/ 4913 w 3790950"/>
                <a:gd name="connsiteY384" fmla="*/ 2756218 h 4038600"/>
                <a:gd name="connsiteX385" fmla="*/ 83018 w 3790950"/>
                <a:gd name="connsiteY385" fmla="*/ 2876868 h 4038600"/>
                <a:gd name="connsiteX386" fmla="*/ 111593 w 3790950"/>
                <a:gd name="connsiteY386" fmla="*/ 2876233 h 4038600"/>
                <a:gd name="connsiteX387" fmla="*/ 125563 w 3790950"/>
                <a:gd name="connsiteY387" fmla="*/ 2915603 h 4038600"/>
                <a:gd name="connsiteX388" fmla="*/ 170648 w 3790950"/>
                <a:gd name="connsiteY388" fmla="*/ 2963228 h 4038600"/>
                <a:gd name="connsiteX389" fmla="*/ 171283 w 3790950"/>
                <a:gd name="connsiteY389" fmla="*/ 2963228 h 4038600"/>
                <a:gd name="connsiteX390" fmla="*/ 328128 w 3790950"/>
                <a:gd name="connsiteY390" fmla="*/ 2945448 h 4038600"/>
                <a:gd name="connsiteX391" fmla="*/ 338923 w 3790950"/>
                <a:gd name="connsiteY391" fmla="*/ 2953703 h 4038600"/>
                <a:gd name="connsiteX392" fmla="*/ 368768 w 3790950"/>
                <a:gd name="connsiteY392" fmla="*/ 2915603 h 4038600"/>
                <a:gd name="connsiteX393" fmla="*/ 417663 w 3790950"/>
                <a:gd name="connsiteY393" fmla="*/ 2907348 h 4038600"/>
                <a:gd name="connsiteX394" fmla="*/ 424648 w 3790950"/>
                <a:gd name="connsiteY394" fmla="*/ 2873058 h 4038600"/>
                <a:gd name="connsiteX395" fmla="*/ 461478 w 3790950"/>
                <a:gd name="connsiteY395" fmla="*/ 2847023 h 4038600"/>
                <a:gd name="connsiteX396" fmla="*/ 451953 w 3790950"/>
                <a:gd name="connsiteY396" fmla="*/ 2787333 h 4038600"/>
                <a:gd name="connsiteX397" fmla="*/ 471638 w 3790950"/>
                <a:gd name="connsiteY397" fmla="*/ 2760028 h 4038600"/>
                <a:gd name="connsiteX398" fmla="*/ 555458 w 3790950"/>
                <a:gd name="connsiteY398" fmla="*/ 2687638 h 4038600"/>
                <a:gd name="connsiteX399" fmla="*/ 629753 w 3790950"/>
                <a:gd name="connsiteY399" fmla="*/ 2658428 h 4038600"/>
                <a:gd name="connsiteX400" fmla="*/ 646263 w 3790950"/>
                <a:gd name="connsiteY400" fmla="*/ 2613343 h 4038600"/>
                <a:gd name="connsiteX401" fmla="*/ 644993 w 3790950"/>
                <a:gd name="connsiteY401" fmla="*/ 2568258 h 4038600"/>
                <a:gd name="connsiteX402" fmla="*/ 738973 w 3790950"/>
                <a:gd name="connsiteY402" fmla="*/ 2546668 h 4038600"/>
                <a:gd name="connsiteX403" fmla="*/ 738338 w 3790950"/>
                <a:gd name="connsiteY403" fmla="*/ 2560003 h 4038600"/>
                <a:gd name="connsiteX404" fmla="*/ 753578 w 3790950"/>
                <a:gd name="connsiteY404" fmla="*/ 2569528 h 4038600"/>
                <a:gd name="connsiteX405" fmla="*/ 791043 w 3790950"/>
                <a:gd name="connsiteY405" fmla="*/ 2582863 h 4038600"/>
                <a:gd name="connsiteX406" fmla="*/ 851368 w 3790950"/>
                <a:gd name="connsiteY406" fmla="*/ 2540318 h 4038600"/>
                <a:gd name="connsiteX407" fmla="*/ 884388 w 3790950"/>
                <a:gd name="connsiteY407" fmla="*/ 2530793 h 4038600"/>
                <a:gd name="connsiteX408" fmla="*/ 918678 w 3790950"/>
                <a:gd name="connsiteY408" fmla="*/ 2496503 h 4038600"/>
                <a:gd name="connsiteX409" fmla="*/ 1001228 w 3790950"/>
                <a:gd name="connsiteY409" fmla="*/ 2576513 h 4038600"/>
                <a:gd name="connsiteX410" fmla="*/ 999323 w 3790950"/>
                <a:gd name="connsiteY410" fmla="*/ 2596198 h 4038600"/>
                <a:gd name="connsiteX411" fmla="*/ 1028533 w 3790950"/>
                <a:gd name="connsiteY411" fmla="*/ 2631758 h 4038600"/>
                <a:gd name="connsiteX412" fmla="*/ 1053933 w 3790950"/>
                <a:gd name="connsiteY412" fmla="*/ 2638108 h 4038600"/>
                <a:gd name="connsiteX413" fmla="*/ 1064728 w 3790950"/>
                <a:gd name="connsiteY413" fmla="*/ 2655888 h 4038600"/>
                <a:gd name="connsiteX414" fmla="*/ 1118703 w 3790950"/>
                <a:gd name="connsiteY414" fmla="*/ 2697798 h 4038600"/>
                <a:gd name="connsiteX415" fmla="*/ 1125688 w 3790950"/>
                <a:gd name="connsiteY415" fmla="*/ 2708593 h 4038600"/>
                <a:gd name="connsiteX416" fmla="*/ 1158708 w 3790950"/>
                <a:gd name="connsiteY416" fmla="*/ 2705418 h 4038600"/>
                <a:gd name="connsiteX417" fmla="*/ 1176488 w 3790950"/>
                <a:gd name="connsiteY417" fmla="*/ 2734628 h 4038600"/>
                <a:gd name="connsiteX418" fmla="*/ 1213318 w 3790950"/>
                <a:gd name="connsiteY418" fmla="*/ 2742248 h 4038600"/>
                <a:gd name="connsiteX419" fmla="*/ 1239353 w 3790950"/>
                <a:gd name="connsiteY419" fmla="*/ 2782888 h 4038600"/>
                <a:gd name="connsiteX420" fmla="*/ 1259673 w 3790950"/>
                <a:gd name="connsiteY420" fmla="*/ 2781618 h 4038600"/>
                <a:gd name="connsiteX421" fmla="*/ 1291423 w 3790950"/>
                <a:gd name="connsiteY421" fmla="*/ 2854008 h 4038600"/>
                <a:gd name="connsiteX422" fmla="*/ 1264753 w 3790950"/>
                <a:gd name="connsiteY422" fmla="*/ 2916238 h 4038600"/>
                <a:gd name="connsiteX423" fmla="*/ 1311743 w 3790950"/>
                <a:gd name="connsiteY423" fmla="*/ 2885123 h 4038600"/>
                <a:gd name="connsiteX424" fmla="*/ 1311743 w 3790950"/>
                <a:gd name="connsiteY424" fmla="*/ 2860993 h 4038600"/>
                <a:gd name="connsiteX425" fmla="*/ 1341588 w 3790950"/>
                <a:gd name="connsiteY425" fmla="*/ 2844483 h 4038600"/>
                <a:gd name="connsiteX426" fmla="*/ 1307298 w 3790950"/>
                <a:gd name="connsiteY426" fmla="*/ 2775268 h 4038600"/>
                <a:gd name="connsiteX427" fmla="*/ 1368893 w 3790950"/>
                <a:gd name="connsiteY427" fmla="*/ 2758758 h 4038600"/>
                <a:gd name="connsiteX428" fmla="*/ 1379688 w 3790950"/>
                <a:gd name="connsiteY428" fmla="*/ 2780983 h 4038600"/>
                <a:gd name="connsiteX429" fmla="*/ 1401913 w 3790950"/>
                <a:gd name="connsiteY429" fmla="*/ 2765743 h 4038600"/>
                <a:gd name="connsiteX430" fmla="*/ 1270468 w 3790950"/>
                <a:gd name="connsiteY430" fmla="*/ 2688908 h 4038600"/>
                <a:gd name="connsiteX431" fmla="*/ 1176488 w 3790950"/>
                <a:gd name="connsiteY431" fmla="*/ 2620328 h 4038600"/>
                <a:gd name="connsiteX432" fmla="*/ 1149183 w 3790950"/>
                <a:gd name="connsiteY432" fmla="*/ 2554288 h 4038600"/>
                <a:gd name="connsiteX433" fmla="*/ 1082508 w 3790950"/>
                <a:gd name="connsiteY433" fmla="*/ 2478723 h 4038600"/>
                <a:gd name="connsiteX434" fmla="*/ 1140928 w 3790950"/>
                <a:gd name="connsiteY434" fmla="*/ 2407603 h 4038600"/>
                <a:gd name="connsiteX435" fmla="*/ 1149183 w 3790950"/>
                <a:gd name="connsiteY435" fmla="*/ 2419668 h 4038600"/>
                <a:gd name="connsiteX436" fmla="*/ 1189188 w 3790950"/>
                <a:gd name="connsiteY436" fmla="*/ 2438083 h 4038600"/>
                <a:gd name="connsiteX437" fmla="*/ 1210778 w 3790950"/>
                <a:gd name="connsiteY437" fmla="*/ 2484438 h 4038600"/>
                <a:gd name="connsiteX438" fmla="*/ 1237448 w 3790950"/>
                <a:gd name="connsiteY438" fmla="*/ 2504123 h 4038600"/>
                <a:gd name="connsiteX439" fmla="*/ 1219668 w 3790950"/>
                <a:gd name="connsiteY439" fmla="*/ 2510473 h 4038600"/>
                <a:gd name="connsiteX440" fmla="*/ 1348573 w 3790950"/>
                <a:gd name="connsiteY440" fmla="*/ 2591753 h 4038600"/>
                <a:gd name="connsiteX441" fmla="*/ 1313648 w 3790950"/>
                <a:gd name="connsiteY441" fmla="*/ 2583498 h 4038600"/>
                <a:gd name="connsiteX442" fmla="*/ 1396198 w 3790950"/>
                <a:gd name="connsiteY442" fmla="*/ 2611438 h 4038600"/>
                <a:gd name="connsiteX443" fmla="*/ 1392388 w 3790950"/>
                <a:gd name="connsiteY443" fmla="*/ 2618423 h 4038600"/>
                <a:gd name="connsiteX444" fmla="*/ 1448268 w 3790950"/>
                <a:gd name="connsiteY444" fmla="*/ 2742248 h 4038600"/>
                <a:gd name="connsiteX445" fmla="*/ 1438743 w 3790950"/>
                <a:gd name="connsiteY445" fmla="*/ 2744153 h 4038600"/>
                <a:gd name="connsiteX446" fmla="*/ 1469858 w 3790950"/>
                <a:gd name="connsiteY446" fmla="*/ 2766378 h 4038600"/>
                <a:gd name="connsiteX447" fmla="*/ 1480018 w 3790950"/>
                <a:gd name="connsiteY447" fmla="*/ 2788603 h 4038600"/>
                <a:gd name="connsiteX448" fmla="*/ 1500973 w 3790950"/>
                <a:gd name="connsiteY448" fmla="*/ 2812733 h 4038600"/>
                <a:gd name="connsiteX449" fmla="*/ 1521928 w 3790950"/>
                <a:gd name="connsiteY449" fmla="*/ 2842578 h 4038600"/>
                <a:gd name="connsiteX450" fmla="*/ 1565108 w 3790950"/>
                <a:gd name="connsiteY450" fmla="*/ 2870518 h 4038600"/>
                <a:gd name="connsiteX451" fmla="*/ 1608288 w 3790950"/>
                <a:gd name="connsiteY451" fmla="*/ 2862898 h 4038600"/>
                <a:gd name="connsiteX452" fmla="*/ 1608288 w 3790950"/>
                <a:gd name="connsiteY452" fmla="*/ 2855278 h 4038600"/>
                <a:gd name="connsiteX453" fmla="*/ 1652103 w 3790950"/>
                <a:gd name="connsiteY453" fmla="*/ 2869248 h 4038600"/>
                <a:gd name="connsiteX454" fmla="*/ 1635593 w 3790950"/>
                <a:gd name="connsiteY454" fmla="*/ 2885758 h 4038600"/>
                <a:gd name="connsiteX455" fmla="*/ 1546693 w 3790950"/>
                <a:gd name="connsiteY455" fmla="*/ 2902903 h 4038600"/>
                <a:gd name="connsiteX456" fmla="*/ 1577808 w 3790950"/>
                <a:gd name="connsiteY456" fmla="*/ 2925763 h 4038600"/>
                <a:gd name="connsiteX457" fmla="*/ 1584793 w 3790950"/>
                <a:gd name="connsiteY457" fmla="*/ 2966403 h 4038600"/>
                <a:gd name="connsiteX458" fmla="*/ 1606383 w 3790950"/>
                <a:gd name="connsiteY458" fmla="*/ 2950528 h 4038600"/>
                <a:gd name="connsiteX459" fmla="*/ 1622258 w 3790950"/>
                <a:gd name="connsiteY459" fmla="*/ 2983548 h 4038600"/>
                <a:gd name="connsiteX460" fmla="*/ 1637498 w 3790950"/>
                <a:gd name="connsiteY460" fmla="*/ 2960688 h 4038600"/>
                <a:gd name="connsiteX461" fmla="*/ 1664168 w 3790950"/>
                <a:gd name="connsiteY461" fmla="*/ 2981008 h 4038600"/>
                <a:gd name="connsiteX462" fmla="*/ 1657183 w 3790950"/>
                <a:gd name="connsiteY462" fmla="*/ 2960053 h 4038600"/>
                <a:gd name="connsiteX463" fmla="*/ 1630513 w 3790950"/>
                <a:gd name="connsiteY463" fmla="*/ 2911158 h 4038600"/>
                <a:gd name="connsiteX464" fmla="*/ 1669248 w 3790950"/>
                <a:gd name="connsiteY464" fmla="*/ 2873693 h 4038600"/>
                <a:gd name="connsiteX465" fmla="*/ 1695918 w 3790950"/>
                <a:gd name="connsiteY465" fmla="*/ 2895918 h 4038600"/>
                <a:gd name="connsiteX466" fmla="*/ 1692743 w 3790950"/>
                <a:gd name="connsiteY466" fmla="*/ 2859723 h 4038600"/>
                <a:gd name="connsiteX467" fmla="*/ 1636863 w 3790950"/>
                <a:gd name="connsiteY467" fmla="*/ 2831148 h 4038600"/>
                <a:gd name="connsiteX468" fmla="*/ 1610193 w 3790950"/>
                <a:gd name="connsiteY468" fmla="*/ 2827973 h 4038600"/>
                <a:gd name="connsiteX469" fmla="*/ 1648928 w 3790950"/>
                <a:gd name="connsiteY469" fmla="*/ 2800668 h 4038600"/>
                <a:gd name="connsiteX470" fmla="*/ 1605113 w 3790950"/>
                <a:gd name="connsiteY470" fmla="*/ 2751138 h 4038600"/>
                <a:gd name="connsiteX471" fmla="*/ 1600668 w 3790950"/>
                <a:gd name="connsiteY471" fmla="*/ 2721928 h 4038600"/>
                <a:gd name="connsiteX472" fmla="*/ 1673058 w 3790950"/>
                <a:gd name="connsiteY472" fmla="*/ 2746058 h 4038600"/>
                <a:gd name="connsiteX473" fmla="*/ 1662898 w 3790950"/>
                <a:gd name="connsiteY473" fmla="*/ 2720023 h 4038600"/>
                <a:gd name="connsiteX474" fmla="*/ 1691473 w 3790950"/>
                <a:gd name="connsiteY474" fmla="*/ 2730183 h 4038600"/>
                <a:gd name="connsiteX475" fmla="*/ 1652103 w 3790950"/>
                <a:gd name="connsiteY475" fmla="*/ 2698433 h 4038600"/>
                <a:gd name="connsiteX476" fmla="*/ 1671153 w 3790950"/>
                <a:gd name="connsiteY476" fmla="*/ 2695893 h 4038600"/>
                <a:gd name="connsiteX477" fmla="*/ 1702903 w 3790950"/>
                <a:gd name="connsiteY477" fmla="*/ 2681923 h 4038600"/>
                <a:gd name="connsiteX478" fmla="*/ 1716873 w 3790950"/>
                <a:gd name="connsiteY478" fmla="*/ 2668588 h 4038600"/>
                <a:gd name="connsiteX479" fmla="*/ 1762593 w 3790950"/>
                <a:gd name="connsiteY479" fmla="*/ 2680018 h 4038600"/>
                <a:gd name="connsiteX480" fmla="*/ 1777198 w 3790950"/>
                <a:gd name="connsiteY480" fmla="*/ 2723198 h 4038600"/>
                <a:gd name="connsiteX481" fmla="*/ 1796248 w 3790950"/>
                <a:gd name="connsiteY481" fmla="*/ 2693353 h 4038600"/>
                <a:gd name="connsiteX482" fmla="*/ 1822283 w 3790950"/>
                <a:gd name="connsiteY482" fmla="*/ 2671763 h 4038600"/>
                <a:gd name="connsiteX483" fmla="*/ 1827998 w 3790950"/>
                <a:gd name="connsiteY483" fmla="*/ 2652078 h 4038600"/>
                <a:gd name="connsiteX484" fmla="*/ 1888958 w 3790950"/>
                <a:gd name="connsiteY484" fmla="*/ 2641918 h 4038600"/>
                <a:gd name="connsiteX485" fmla="*/ 1895943 w 3790950"/>
                <a:gd name="connsiteY485" fmla="*/ 2636838 h 4038600"/>
                <a:gd name="connsiteX486" fmla="*/ 1852763 w 3790950"/>
                <a:gd name="connsiteY486" fmla="*/ 2610168 h 4038600"/>
                <a:gd name="connsiteX487" fmla="*/ 1838793 w 3790950"/>
                <a:gd name="connsiteY487" fmla="*/ 2582863 h 4038600"/>
                <a:gd name="connsiteX488" fmla="*/ 1806408 w 3790950"/>
                <a:gd name="connsiteY488" fmla="*/ 2555558 h 4038600"/>
                <a:gd name="connsiteX489" fmla="*/ 1817203 w 3790950"/>
                <a:gd name="connsiteY489" fmla="*/ 2506028 h 4038600"/>
                <a:gd name="connsiteX490" fmla="*/ 1834983 w 3790950"/>
                <a:gd name="connsiteY490" fmla="*/ 2411413 h 4038600"/>
                <a:gd name="connsiteX491" fmla="*/ 1835618 w 3790950"/>
                <a:gd name="connsiteY491" fmla="*/ 2386013 h 4038600"/>
                <a:gd name="connsiteX492" fmla="*/ 1866098 w 3790950"/>
                <a:gd name="connsiteY492" fmla="*/ 2361883 h 4038600"/>
                <a:gd name="connsiteX493" fmla="*/ 1880703 w 3790950"/>
                <a:gd name="connsiteY493" fmla="*/ 2315528 h 4038600"/>
                <a:gd name="connsiteX494" fmla="*/ 1891498 w 3790950"/>
                <a:gd name="connsiteY494" fmla="*/ 2267903 h 4038600"/>
                <a:gd name="connsiteX495" fmla="*/ 1914358 w 3790950"/>
                <a:gd name="connsiteY495" fmla="*/ 2246313 h 4038600"/>
                <a:gd name="connsiteX496" fmla="*/ 1935313 w 3790950"/>
                <a:gd name="connsiteY496" fmla="*/ 2251393 h 4038600"/>
                <a:gd name="connsiteX497" fmla="*/ 1918803 w 3790950"/>
                <a:gd name="connsiteY497" fmla="*/ 2215198 h 4038600"/>
                <a:gd name="connsiteX498" fmla="*/ 1945473 w 3790950"/>
                <a:gd name="connsiteY498" fmla="*/ 2264093 h 4038600"/>
                <a:gd name="connsiteX499" fmla="*/ 1937853 w 3790950"/>
                <a:gd name="connsiteY499" fmla="*/ 2274888 h 4038600"/>
                <a:gd name="connsiteX500" fmla="*/ 2008338 w 3790950"/>
                <a:gd name="connsiteY500" fmla="*/ 2272983 h 4038600"/>
                <a:gd name="connsiteX501" fmla="*/ 2013418 w 3790950"/>
                <a:gd name="connsiteY501" fmla="*/ 2265363 h 4038600"/>
                <a:gd name="connsiteX502" fmla="*/ 2024213 w 3790950"/>
                <a:gd name="connsiteY502" fmla="*/ 2276793 h 4038600"/>
                <a:gd name="connsiteX503" fmla="*/ 1981668 w 3790950"/>
                <a:gd name="connsiteY503" fmla="*/ 2323148 h 4038600"/>
                <a:gd name="connsiteX504" fmla="*/ 2030563 w 3790950"/>
                <a:gd name="connsiteY504" fmla="*/ 2330768 h 4038600"/>
                <a:gd name="connsiteX505" fmla="*/ 2045803 w 3790950"/>
                <a:gd name="connsiteY505" fmla="*/ 2371408 h 4038600"/>
                <a:gd name="connsiteX506" fmla="*/ 2074378 w 3790950"/>
                <a:gd name="connsiteY506" fmla="*/ 2344738 h 4038600"/>
                <a:gd name="connsiteX507" fmla="*/ 2098508 w 3790950"/>
                <a:gd name="connsiteY507" fmla="*/ 2333308 h 4038600"/>
                <a:gd name="connsiteX508" fmla="*/ 2109303 w 3790950"/>
                <a:gd name="connsiteY508" fmla="*/ 2307908 h 4038600"/>
                <a:gd name="connsiteX509" fmla="*/ 2144863 w 3790950"/>
                <a:gd name="connsiteY509" fmla="*/ 2303463 h 4038600"/>
                <a:gd name="connsiteX510" fmla="*/ 2094698 w 3790950"/>
                <a:gd name="connsiteY510" fmla="*/ 2292033 h 4038600"/>
                <a:gd name="connsiteX511" fmla="*/ 2061678 w 3790950"/>
                <a:gd name="connsiteY511" fmla="*/ 2250123 h 4038600"/>
                <a:gd name="connsiteX512" fmla="*/ 2128353 w 3790950"/>
                <a:gd name="connsiteY512" fmla="*/ 2201228 h 4038600"/>
                <a:gd name="connsiteX513" fmla="*/ 2133433 w 3790950"/>
                <a:gd name="connsiteY513" fmla="*/ 2184083 h 4038600"/>
                <a:gd name="connsiteX514" fmla="*/ 2173438 w 3790950"/>
                <a:gd name="connsiteY514" fmla="*/ 2154873 h 4038600"/>
                <a:gd name="connsiteX515" fmla="*/ 2214713 w 3790950"/>
                <a:gd name="connsiteY515" fmla="*/ 2141538 h 4038600"/>
                <a:gd name="connsiteX516" fmla="*/ 2163913 w 3790950"/>
                <a:gd name="connsiteY516" fmla="*/ 2188528 h 4038600"/>
                <a:gd name="connsiteX517" fmla="*/ 2208998 w 3790950"/>
                <a:gd name="connsiteY517" fmla="*/ 2216468 h 4038600"/>
                <a:gd name="connsiteX518" fmla="*/ 2184868 w 3790950"/>
                <a:gd name="connsiteY518" fmla="*/ 2224088 h 4038600"/>
                <a:gd name="connsiteX519" fmla="*/ 2193123 w 3790950"/>
                <a:gd name="connsiteY519" fmla="*/ 2271078 h 4038600"/>
                <a:gd name="connsiteX520" fmla="*/ 2150578 w 3790950"/>
                <a:gd name="connsiteY520" fmla="*/ 2292033 h 4038600"/>
                <a:gd name="connsiteX521" fmla="*/ 2229953 w 3790950"/>
                <a:gd name="connsiteY521" fmla="*/ 2321243 h 4038600"/>
                <a:gd name="connsiteX522" fmla="*/ 2253448 w 3790950"/>
                <a:gd name="connsiteY522" fmla="*/ 2321243 h 4038600"/>
                <a:gd name="connsiteX523" fmla="*/ 2312503 w 3790950"/>
                <a:gd name="connsiteY523" fmla="*/ 2352993 h 4038600"/>
                <a:gd name="connsiteX524" fmla="*/ 2421088 w 3790950"/>
                <a:gd name="connsiteY524" fmla="*/ 2426018 h 4038600"/>
                <a:gd name="connsiteX525" fmla="*/ 2417913 w 3790950"/>
                <a:gd name="connsiteY525" fmla="*/ 2450148 h 4038600"/>
                <a:gd name="connsiteX526" fmla="*/ 2376638 w 3790950"/>
                <a:gd name="connsiteY526" fmla="*/ 2505393 h 4038600"/>
                <a:gd name="connsiteX527" fmla="*/ 2343618 w 3790950"/>
                <a:gd name="connsiteY527" fmla="*/ 2503488 h 4038600"/>
                <a:gd name="connsiteX528" fmla="*/ 2195663 w 3790950"/>
                <a:gd name="connsiteY528" fmla="*/ 2513648 h 4038600"/>
                <a:gd name="connsiteX529" fmla="*/ 2163278 w 3790950"/>
                <a:gd name="connsiteY529" fmla="*/ 2521268 h 4038600"/>
                <a:gd name="connsiteX530" fmla="*/ 2142323 w 3790950"/>
                <a:gd name="connsiteY530" fmla="*/ 2501583 h 4038600"/>
                <a:gd name="connsiteX531" fmla="*/ 2094698 w 3790950"/>
                <a:gd name="connsiteY531" fmla="*/ 2522538 h 4038600"/>
                <a:gd name="connsiteX532" fmla="*/ 2075013 w 3790950"/>
                <a:gd name="connsiteY532" fmla="*/ 2525713 h 4038600"/>
                <a:gd name="connsiteX533" fmla="*/ 2001353 w 3790950"/>
                <a:gd name="connsiteY533" fmla="*/ 2591118 h 4038600"/>
                <a:gd name="connsiteX534" fmla="*/ 1944203 w 3790950"/>
                <a:gd name="connsiteY534" fmla="*/ 2616518 h 4038600"/>
                <a:gd name="connsiteX535" fmla="*/ 1923248 w 3790950"/>
                <a:gd name="connsiteY535" fmla="*/ 2617788 h 4038600"/>
                <a:gd name="connsiteX536" fmla="*/ 1894038 w 3790950"/>
                <a:gd name="connsiteY536" fmla="*/ 2668588 h 4038600"/>
                <a:gd name="connsiteX537" fmla="*/ 1839428 w 3790950"/>
                <a:gd name="connsiteY537" fmla="*/ 2693988 h 4038600"/>
                <a:gd name="connsiteX538" fmla="*/ 1777198 w 3790950"/>
                <a:gd name="connsiteY538" fmla="*/ 2728913 h 4038600"/>
                <a:gd name="connsiteX539" fmla="*/ 1833078 w 3790950"/>
                <a:gd name="connsiteY539" fmla="*/ 2791143 h 4038600"/>
                <a:gd name="connsiteX540" fmla="*/ 1818473 w 3790950"/>
                <a:gd name="connsiteY540" fmla="*/ 2808288 h 4038600"/>
                <a:gd name="connsiteX541" fmla="*/ 1842603 w 3790950"/>
                <a:gd name="connsiteY541" fmla="*/ 2817178 h 4038600"/>
                <a:gd name="connsiteX542" fmla="*/ 1799423 w 3790950"/>
                <a:gd name="connsiteY542" fmla="*/ 2837498 h 4038600"/>
                <a:gd name="connsiteX543" fmla="*/ 1853398 w 3790950"/>
                <a:gd name="connsiteY543" fmla="*/ 2848293 h 4038600"/>
                <a:gd name="connsiteX544" fmla="*/ 1843873 w 3790950"/>
                <a:gd name="connsiteY544" fmla="*/ 2869883 h 4038600"/>
                <a:gd name="connsiteX545" fmla="*/ 1904198 w 3790950"/>
                <a:gd name="connsiteY545" fmla="*/ 2899093 h 4038600"/>
                <a:gd name="connsiteX546" fmla="*/ 1915628 w 3790950"/>
                <a:gd name="connsiteY546" fmla="*/ 2896553 h 4038600"/>
                <a:gd name="connsiteX547" fmla="*/ 1872448 w 3790950"/>
                <a:gd name="connsiteY547" fmla="*/ 2928303 h 4038600"/>
                <a:gd name="connsiteX548" fmla="*/ 1906738 w 3790950"/>
                <a:gd name="connsiteY548" fmla="*/ 2928938 h 4038600"/>
                <a:gd name="connsiteX549" fmla="*/ 1924518 w 3790950"/>
                <a:gd name="connsiteY549" fmla="*/ 2904173 h 4038600"/>
                <a:gd name="connsiteX550" fmla="*/ 1992463 w 3790950"/>
                <a:gd name="connsiteY550" fmla="*/ 2940368 h 4038600"/>
                <a:gd name="connsiteX551" fmla="*/ 2048978 w 3790950"/>
                <a:gd name="connsiteY551" fmla="*/ 2878138 h 4038600"/>
                <a:gd name="connsiteX552" fmla="*/ 2098508 w 3790950"/>
                <a:gd name="connsiteY552" fmla="*/ 2885758 h 4038600"/>
                <a:gd name="connsiteX553" fmla="*/ 2142323 w 3790950"/>
                <a:gd name="connsiteY553" fmla="*/ 2909888 h 4038600"/>
                <a:gd name="connsiteX554" fmla="*/ 2217253 w 3790950"/>
                <a:gd name="connsiteY554" fmla="*/ 2836228 h 4038600"/>
                <a:gd name="connsiteX555" fmla="*/ 2251543 w 3790950"/>
                <a:gd name="connsiteY555" fmla="*/ 2843848 h 4038600"/>
                <a:gd name="connsiteX556" fmla="*/ 2276308 w 3790950"/>
                <a:gd name="connsiteY556" fmla="*/ 2809558 h 4038600"/>
                <a:gd name="connsiteX557" fmla="*/ 2275038 w 3790950"/>
                <a:gd name="connsiteY557" fmla="*/ 2851468 h 4038600"/>
                <a:gd name="connsiteX558" fmla="*/ 2283928 w 3790950"/>
                <a:gd name="connsiteY558" fmla="*/ 2897823 h 4038600"/>
                <a:gd name="connsiteX559" fmla="*/ 2294723 w 3790950"/>
                <a:gd name="connsiteY559" fmla="*/ 2905443 h 4038600"/>
                <a:gd name="connsiteX560" fmla="*/ 2286468 w 3790950"/>
                <a:gd name="connsiteY560" fmla="*/ 3106103 h 4038600"/>
                <a:gd name="connsiteX561" fmla="*/ 2268053 w 3790950"/>
                <a:gd name="connsiteY561" fmla="*/ 3182303 h 4038600"/>
                <a:gd name="connsiteX562" fmla="*/ 2152483 w 3790950"/>
                <a:gd name="connsiteY562" fmla="*/ 3202623 h 403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</a:cxnLst>
              <a:rect l="l" t="t" r="r" b="b"/>
              <a:pathLst>
                <a:path w="3790950" h="4038600">
                  <a:moveTo>
                    <a:pt x="2197568" y="3313748"/>
                  </a:moveTo>
                  <a:cubicBezTo>
                    <a:pt x="2195663" y="3307398"/>
                    <a:pt x="2210903" y="3306128"/>
                    <a:pt x="2217253" y="3309303"/>
                  </a:cubicBezTo>
                  <a:cubicBezTo>
                    <a:pt x="2255353" y="3328988"/>
                    <a:pt x="2251543" y="3412808"/>
                    <a:pt x="2308058" y="3396298"/>
                  </a:cubicBezTo>
                  <a:cubicBezTo>
                    <a:pt x="2327108" y="3390583"/>
                    <a:pt x="2320123" y="3358198"/>
                    <a:pt x="2330918" y="3341688"/>
                  </a:cubicBezTo>
                  <a:cubicBezTo>
                    <a:pt x="2336633" y="3332798"/>
                    <a:pt x="2316313" y="3365183"/>
                    <a:pt x="2323933" y="3372168"/>
                  </a:cubicBezTo>
                  <a:cubicBezTo>
                    <a:pt x="2332188" y="3379788"/>
                    <a:pt x="2346158" y="3359468"/>
                    <a:pt x="2356318" y="3363913"/>
                  </a:cubicBezTo>
                  <a:cubicBezTo>
                    <a:pt x="2372828" y="3370898"/>
                    <a:pt x="2397593" y="3410903"/>
                    <a:pt x="2410293" y="3427413"/>
                  </a:cubicBezTo>
                  <a:cubicBezTo>
                    <a:pt x="2417913" y="3437573"/>
                    <a:pt x="2424898" y="3447733"/>
                    <a:pt x="2434423" y="3455988"/>
                  </a:cubicBezTo>
                  <a:cubicBezTo>
                    <a:pt x="2436963" y="3458528"/>
                    <a:pt x="2442678" y="3454718"/>
                    <a:pt x="2445218" y="3457258"/>
                  </a:cubicBezTo>
                  <a:cubicBezTo>
                    <a:pt x="2448393" y="3461703"/>
                    <a:pt x="2445218" y="3469323"/>
                    <a:pt x="2448393" y="3473768"/>
                  </a:cubicBezTo>
                  <a:cubicBezTo>
                    <a:pt x="2456648" y="3483293"/>
                    <a:pt x="2469348" y="3489008"/>
                    <a:pt x="2478238" y="3497898"/>
                  </a:cubicBezTo>
                  <a:cubicBezTo>
                    <a:pt x="2493478" y="3511868"/>
                    <a:pt x="2506813" y="3529013"/>
                    <a:pt x="2523323" y="3541713"/>
                  </a:cubicBezTo>
                  <a:cubicBezTo>
                    <a:pt x="2531578" y="3548698"/>
                    <a:pt x="2544278" y="3548698"/>
                    <a:pt x="2551898" y="3556953"/>
                  </a:cubicBezTo>
                  <a:cubicBezTo>
                    <a:pt x="2569678" y="3576638"/>
                    <a:pt x="2586188" y="3597593"/>
                    <a:pt x="2596348" y="3621723"/>
                  </a:cubicBezTo>
                  <a:cubicBezTo>
                    <a:pt x="2600158" y="3631248"/>
                    <a:pt x="2588728" y="3642043"/>
                    <a:pt x="2590633" y="3652838"/>
                  </a:cubicBezTo>
                  <a:cubicBezTo>
                    <a:pt x="2592538" y="3667443"/>
                    <a:pt x="2598888" y="3681413"/>
                    <a:pt x="2607143" y="3693478"/>
                  </a:cubicBezTo>
                  <a:cubicBezTo>
                    <a:pt x="2645878" y="3748088"/>
                    <a:pt x="2633178" y="3703638"/>
                    <a:pt x="2689693" y="3734118"/>
                  </a:cubicBezTo>
                  <a:cubicBezTo>
                    <a:pt x="2720808" y="3751263"/>
                    <a:pt x="2711918" y="3789363"/>
                    <a:pt x="2748113" y="3814763"/>
                  </a:cubicBezTo>
                  <a:cubicBezTo>
                    <a:pt x="2755098" y="3819843"/>
                    <a:pt x="2769703" y="3815398"/>
                    <a:pt x="2773513" y="3823653"/>
                  </a:cubicBezTo>
                  <a:cubicBezTo>
                    <a:pt x="2787483" y="3856673"/>
                    <a:pt x="2784943" y="3895408"/>
                    <a:pt x="2796373" y="3929698"/>
                  </a:cubicBezTo>
                  <a:cubicBezTo>
                    <a:pt x="2797643" y="3934778"/>
                    <a:pt x="2808438" y="3931603"/>
                    <a:pt x="2811613" y="3936683"/>
                  </a:cubicBezTo>
                  <a:cubicBezTo>
                    <a:pt x="2820503" y="3953193"/>
                    <a:pt x="2826218" y="3971608"/>
                    <a:pt x="2830028" y="3990023"/>
                  </a:cubicBezTo>
                  <a:cubicBezTo>
                    <a:pt x="2830028" y="3991293"/>
                    <a:pt x="2821773" y="4040188"/>
                    <a:pt x="2842728" y="4034473"/>
                  </a:cubicBezTo>
                  <a:cubicBezTo>
                    <a:pt x="2920833" y="4012248"/>
                    <a:pt x="2896068" y="3996373"/>
                    <a:pt x="2934168" y="3951923"/>
                  </a:cubicBezTo>
                  <a:cubicBezTo>
                    <a:pt x="2941788" y="3943033"/>
                    <a:pt x="2966553" y="3931603"/>
                    <a:pt x="2977348" y="3921443"/>
                  </a:cubicBezTo>
                  <a:cubicBezTo>
                    <a:pt x="3113873" y="3799523"/>
                    <a:pt x="2899243" y="3990023"/>
                    <a:pt x="3030053" y="3857943"/>
                  </a:cubicBezTo>
                  <a:cubicBezTo>
                    <a:pt x="3037673" y="3850323"/>
                    <a:pt x="3051008" y="3849053"/>
                    <a:pt x="3057993" y="3840798"/>
                  </a:cubicBezTo>
                  <a:cubicBezTo>
                    <a:pt x="3068788" y="3827463"/>
                    <a:pt x="3072598" y="3808413"/>
                    <a:pt x="3082758" y="3794443"/>
                  </a:cubicBezTo>
                  <a:cubicBezTo>
                    <a:pt x="3096093" y="3776028"/>
                    <a:pt x="3112603" y="3760153"/>
                    <a:pt x="3126573" y="3743008"/>
                  </a:cubicBezTo>
                  <a:cubicBezTo>
                    <a:pt x="3146258" y="3718243"/>
                    <a:pt x="3173563" y="3702368"/>
                    <a:pt x="3186263" y="3670618"/>
                  </a:cubicBezTo>
                  <a:cubicBezTo>
                    <a:pt x="3190073" y="3659823"/>
                    <a:pt x="3182453" y="3647123"/>
                    <a:pt x="3186263" y="3636328"/>
                  </a:cubicBezTo>
                  <a:cubicBezTo>
                    <a:pt x="3191343" y="3622358"/>
                    <a:pt x="3236428" y="3558858"/>
                    <a:pt x="3245318" y="3550603"/>
                  </a:cubicBezTo>
                  <a:cubicBezTo>
                    <a:pt x="3255478" y="3541078"/>
                    <a:pt x="3271353" y="3536633"/>
                    <a:pt x="3277703" y="3523933"/>
                  </a:cubicBezTo>
                  <a:cubicBezTo>
                    <a:pt x="3285323" y="3508693"/>
                    <a:pt x="3278338" y="3489008"/>
                    <a:pt x="3285323" y="3473768"/>
                  </a:cubicBezTo>
                  <a:cubicBezTo>
                    <a:pt x="3291038" y="3461068"/>
                    <a:pt x="3308183" y="3455988"/>
                    <a:pt x="3313898" y="3443288"/>
                  </a:cubicBezTo>
                  <a:cubicBezTo>
                    <a:pt x="3321518" y="3427413"/>
                    <a:pt x="3318343" y="3407093"/>
                    <a:pt x="3323423" y="3389948"/>
                  </a:cubicBezTo>
                  <a:cubicBezTo>
                    <a:pt x="3346283" y="3313113"/>
                    <a:pt x="3376128" y="3216593"/>
                    <a:pt x="3380573" y="3134043"/>
                  </a:cubicBezTo>
                  <a:cubicBezTo>
                    <a:pt x="3381843" y="3107373"/>
                    <a:pt x="3343108" y="3149283"/>
                    <a:pt x="3285323" y="3117533"/>
                  </a:cubicBezTo>
                  <a:cubicBezTo>
                    <a:pt x="3261193" y="3104198"/>
                    <a:pt x="3256748" y="3031808"/>
                    <a:pt x="3235793" y="3050223"/>
                  </a:cubicBezTo>
                  <a:cubicBezTo>
                    <a:pt x="3228173" y="3057208"/>
                    <a:pt x="3219283" y="3063558"/>
                    <a:pt x="3214203" y="3073083"/>
                  </a:cubicBezTo>
                  <a:cubicBezTo>
                    <a:pt x="3210393" y="3080703"/>
                    <a:pt x="3214203" y="3090228"/>
                    <a:pt x="3212298" y="3099118"/>
                  </a:cubicBezTo>
                  <a:cubicBezTo>
                    <a:pt x="3207218" y="3123248"/>
                    <a:pt x="3201503" y="3147378"/>
                    <a:pt x="3193883" y="3170873"/>
                  </a:cubicBezTo>
                  <a:cubicBezTo>
                    <a:pt x="3188803" y="3186748"/>
                    <a:pt x="3112603" y="3243898"/>
                    <a:pt x="3104983" y="3246438"/>
                  </a:cubicBezTo>
                  <a:cubicBezTo>
                    <a:pt x="3057993" y="3261678"/>
                    <a:pt x="3090378" y="3203893"/>
                    <a:pt x="3089108" y="3201988"/>
                  </a:cubicBezTo>
                  <a:cubicBezTo>
                    <a:pt x="3081488" y="3192463"/>
                    <a:pt x="3059898" y="3188018"/>
                    <a:pt x="3052278" y="3197543"/>
                  </a:cubicBezTo>
                  <a:cubicBezTo>
                    <a:pt x="3044658" y="3208338"/>
                    <a:pt x="3077043" y="3233103"/>
                    <a:pt x="3064343" y="3235008"/>
                  </a:cubicBezTo>
                  <a:cubicBezTo>
                    <a:pt x="3028148" y="3241358"/>
                    <a:pt x="3030053" y="3159443"/>
                    <a:pt x="3016083" y="3147378"/>
                  </a:cubicBezTo>
                  <a:cubicBezTo>
                    <a:pt x="3002748" y="3135948"/>
                    <a:pt x="2986873" y="3125788"/>
                    <a:pt x="2970363" y="3119438"/>
                  </a:cubicBezTo>
                  <a:cubicBezTo>
                    <a:pt x="2965283" y="3117533"/>
                    <a:pt x="2958298" y="3128328"/>
                    <a:pt x="2953853" y="3123883"/>
                  </a:cubicBezTo>
                  <a:cubicBezTo>
                    <a:pt x="2940518" y="3113088"/>
                    <a:pt x="2936708" y="3093403"/>
                    <a:pt x="2925278" y="3080703"/>
                  </a:cubicBezTo>
                  <a:cubicBezTo>
                    <a:pt x="2913848" y="3068638"/>
                    <a:pt x="2892258" y="3064828"/>
                    <a:pt x="2885273" y="3049588"/>
                  </a:cubicBezTo>
                  <a:cubicBezTo>
                    <a:pt x="2881463" y="3041968"/>
                    <a:pt x="2901148" y="3038158"/>
                    <a:pt x="2901148" y="3029903"/>
                  </a:cubicBezTo>
                  <a:cubicBezTo>
                    <a:pt x="2901148" y="3021013"/>
                    <a:pt x="2884003" y="3016568"/>
                    <a:pt x="2885908" y="3008313"/>
                  </a:cubicBezTo>
                  <a:cubicBezTo>
                    <a:pt x="2887813" y="3000058"/>
                    <a:pt x="2902418" y="3003868"/>
                    <a:pt x="2908768" y="2998788"/>
                  </a:cubicBezTo>
                  <a:cubicBezTo>
                    <a:pt x="2933533" y="2979738"/>
                    <a:pt x="2929088" y="2961958"/>
                    <a:pt x="2963378" y="2954338"/>
                  </a:cubicBezTo>
                  <a:cubicBezTo>
                    <a:pt x="2972268" y="2952433"/>
                    <a:pt x="3009733" y="2996248"/>
                    <a:pt x="3019258" y="3012123"/>
                  </a:cubicBezTo>
                  <a:cubicBezTo>
                    <a:pt x="3025608" y="3022283"/>
                    <a:pt x="3027513" y="3038158"/>
                    <a:pt x="3038308" y="3042603"/>
                  </a:cubicBezTo>
                  <a:cubicBezTo>
                    <a:pt x="3052913" y="3048953"/>
                    <a:pt x="3070058" y="3036888"/>
                    <a:pt x="3085933" y="3039428"/>
                  </a:cubicBezTo>
                  <a:cubicBezTo>
                    <a:pt x="3122763" y="3045778"/>
                    <a:pt x="3139273" y="3077528"/>
                    <a:pt x="3172928" y="3047683"/>
                  </a:cubicBezTo>
                  <a:cubicBezTo>
                    <a:pt x="3190073" y="3032443"/>
                    <a:pt x="3212298" y="2953068"/>
                    <a:pt x="3231983" y="2959418"/>
                  </a:cubicBezTo>
                  <a:cubicBezTo>
                    <a:pt x="3253573" y="2966403"/>
                    <a:pt x="3250398" y="3001328"/>
                    <a:pt x="3266273" y="3017838"/>
                  </a:cubicBezTo>
                  <a:cubicBezTo>
                    <a:pt x="3268813" y="3021013"/>
                    <a:pt x="3306278" y="3003868"/>
                    <a:pt x="3321518" y="2992438"/>
                  </a:cubicBezTo>
                  <a:cubicBezTo>
                    <a:pt x="3337393" y="2981008"/>
                    <a:pt x="3346283" y="2961958"/>
                    <a:pt x="3362158" y="2951163"/>
                  </a:cubicBezTo>
                  <a:cubicBezTo>
                    <a:pt x="3371683" y="2944813"/>
                    <a:pt x="3384383" y="2942273"/>
                    <a:pt x="3393273" y="2934653"/>
                  </a:cubicBezTo>
                  <a:cubicBezTo>
                    <a:pt x="3395813" y="2932113"/>
                    <a:pt x="3465663" y="2854643"/>
                    <a:pt x="3466933" y="2852738"/>
                  </a:cubicBezTo>
                  <a:cubicBezTo>
                    <a:pt x="3468838" y="2850198"/>
                    <a:pt x="3465028" y="2845753"/>
                    <a:pt x="3466933" y="2843213"/>
                  </a:cubicBezTo>
                  <a:cubicBezTo>
                    <a:pt x="3473283" y="2830513"/>
                    <a:pt x="3482808" y="2820353"/>
                    <a:pt x="3489158" y="2807653"/>
                  </a:cubicBezTo>
                  <a:cubicBezTo>
                    <a:pt x="3492968" y="2800033"/>
                    <a:pt x="3489158" y="2786698"/>
                    <a:pt x="3497413" y="2783523"/>
                  </a:cubicBezTo>
                  <a:cubicBezTo>
                    <a:pt x="3503763" y="2780983"/>
                    <a:pt x="3505668" y="2794953"/>
                    <a:pt x="3511383" y="2798763"/>
                  </a:cubicBezTo>
                  <a:cubicBezTo>
                    <a:pt x="3525988" y="2808288"/>
                    <a:pt x="3543133" y="2814003"/>
                    <a:pt x="3558373" y="2822258"/>
                  </a:cubicBezTo>
                  <a:cubicBezTo>
                    <a:pt x="3568533" y="2827338"/>
                    <a:pt x="3579328" y="2844483"/>
                    <a:pt x="3588218" y="2838133"/>
                  </a:cubicBezTo>
                  <a:cubicBezTo>
                    <a:pt x="3602823" y="2827973"/>
                    <a:pt x="3592663" y="2798763"/>
                    <a:pt x="3607268" y="2788603"/>
                  </a:cubicBezTo>
                  <a:cubicBezTo>
                    <a:pt x="3616793" y="2781618"/>
                    <a:pt x="3609808" y="2812733"/>
                    <a:pt x="3607903" y="2824163"/>
                  </a:cubicBezTo>
                  <a:cubicBezTo>
                    <a:pt x="3605998" y="2838133"/>
                    <a:pt x="3600283" y="2851468"/>
                    <a:pt x="3594568" y="2864803"/>
                  </a:cubicBezTo>
                  <a:cubicBezTo>
                    <a:pt x="3593298" y="2867343"/>
                    <a:pt x="3587583" y="2873693"/>
                    <a:pt x="3588853" y="2871153"/>
                  </a:cubicBezTo>
                  <a:cubicBezTo>
                    <a:pt x="3609808" y="2833053"/>
                    <a:pt x="3621238" y="2786698"/>
                    <a:pt x="3652988" y="2756853"/>
                  </a:cubicBezTo>
                  <a:cubicBezTo>
                    <a:pt x="3665688" y="2745423"/>
                    <a:pt x="3654258" y="2791143"/>
                    <a:pt x="3657433" y="2807653"/>
                  </a:cubicBezTo>
                  <a:cubicBezTo>
                    <a:pt x="3663783" y="2843213"/>
                    <a:pt x="3672038" y="2878138"/>
                    <a:pt x="3682198" y="2913063"/>
                  </a:cubicBezTo>
                  <a:cubicBezTo>
                    <a:pt x="3683468" y="2918143"/>
                    <a:pt x="3681563" y="2892108"/>
                    <a:pt x="3683468" y="2897188"/>
                  </a:cubicBezTo>
                  <a:cubicBezTo>
                    <a:pt x="3690453" y="2918143"/>
                    <a:pt x="3693628" y="2939733"/>
                    <a:pt x="3698073" y="2961323"/>
                  </a:cubicBezTo>
                  <a:cubicBezTo>
                    <a:pt x="3701248" y="2975928"/>
                    <a:pt x="3701248" y="2991803"/>
                    <a:pt x="3705693" y="3005773"/>
                  </a:cubicBezTo>
                  <a:cubicBezTo>
                    <a:pt x="3724743" y="3066733"/>
                    <a:pt x="3727918" y="3041968"/>
                    <a:pt x="3735538" y="3086418"/>
                  </a:cubicBezTo>
                  <a:cubicBezTo>
                    <a:pt x="3743793" y="3132773"/>
                    <a:pt x="3749508" y="3179763"/>
                    <a:pt x="3757128" y="3226118"/>
                  </a:cubicBezTo>
                  <a:cubicBezTo>
                    <a:pt x="3757763" y="3228658"/>
                    <a:pt x="3759668" y="3236278"/>
                    <a:pt x="3760303" y="3233738"/>
                  </a:cubicBezTo>
                  <a:cubicBezTo>
                    <a:pt x="3809198" y="2914333"/>
                    <a:pt x="3788878" y="2783523"/>
                    <a:pt x="3771098" y="2408873"/>
                  </a:cubicBezTo>
                  <a:cubicBezTo>
                    <a:pt x="3770463" y="2399983"/>
                    <a:pt x="3765383" y="2391728"/>
                    <a:pt x="3764113" y="2382838"/>
                  </a:cubicBezTo>
                  <a:cubicBezTo>
                    <a:pt x="3760303" y="2344103"/>
                    <a:pt x="3759668" y="2304733"/>
                    <a:pt x="3756493" y="2265363"/>
                  </a:cubicBezTo>
                  <a:cubicBezTo>
                    <a:pt x="3755223" y="2255838"/>
                    <a:pt x="3762843" y="2238693"/>
                    <a:pt x="3759668" y="2229803"/>
                  </a:cubicBezTo>
                  <a:cubicBezTo>
                    <a:pt x="3757763" y="2220278"/>
                    <a:pt x="3755223" y="2210753"/>
                    <a:pt x="3753318" y="2200593"/>
                  </a:cubicBezTo>
                  <a:cubicBezTo>
                    <a:pt x="3713313" y="2022158"/>
                    <a:pt x="3658703" y="1848168"/>
                    <a:pt x="3586313" y="1680528"/>
                  </a:cubicBezTo>
                  <a:cubicBezTo>
                    <a:pt x="3452963" y="1373823"/>
                    <a:pt x="3264368" y="1091248"/>
                    <a:pt x="3031958" y="851218"/>
                  </a:cubicBezTo>
                  <a:cubicBezTo>
                    <a:pt x="2652863" y="459423"/>
                    <a:pt x="2153118" y="176213"/>
                    <a:pt x="1617813" y="65088"/>
                  </a:cubicBezTo>
                  <a:cubicBezTo>
                    <a:pt x="1441918" y="28258"/>
                    <a:pt x="1313013" y="18733"/>
                    <a:pt x="1144103" y="8573"/>
                  </a:cubicBezTo>
                  <a:lnTo>
                    <a:pt x="1145373" y="4763"/>
                  </a:lnTo>
                  <a:cubicBezTo>
                    <a:pt x="1281898" y="18733"/>
                    <a:pt x="1419058" y="25718"/>
                    <a:pt x="1550503" y="68263"/>
                  </a:cubicBezTo>
                  <a:cubicBezTo>
                    <a:pt x="1566378" y="73343"/>
                    <a:pt x="1636863" y="89218"/>
                    <a:pt x="1650198" y="95568"/>
                  </a:cubicBezTo>
                  <a:cubicBezTo>
                    <a:pt x="1660993" y="101283"/>
                    <a:pt x="1667978" y="112713"/>
                    <a:pt x="1677503" y="120968"/>
                  </a:cubicBezTo>
                  <a:cubicBezTo>
                    <a:pt x="1705443" y="144463"/>
                    <a:pt x="1744813" y="149543"/>
                    <a:pt x="1779738" y="159703"/>
                  </a:cubicBezTo>
                  <a:cubicBezTo>
                    <a:pt x="1782913" y="160338"/>
                    <a:pt x="1786088" y="155893"/>
                    <a:pt x="1789263" y="157163"/>
                  </a:cubicBezTo>
                  <a:cubicBezTo>
                    <a:pt x="1803233" y="162878"/>
                    <a:pt x="1816568" y="171768"/>
                    <a:pt x="1829268" y="180023"/>
                  </a:cubicBezTo>
                  <a:cubicBezTo>
                    <a:pt x="1836253" y="185103"/>
                    <a:pt x="1840698" y="193358"/>
                    <a:pt x="1848953" y="197168"/>
                  </a:cubicBezTo>
                  <a:cubicBezTo>
                    <a:pt x="1848953" y="197168"/>
                    <a:pt x="1915628" y="212408"/>
                    <a:pt x="1916263" y="214313"/>
                  </a:cubicBezTo>
                  <a:cubicBezTo>
                    <a:pt x="1919438" y="230188"/>
                    <a:pt x="1897848" y="242888"/>
                    <a:pt x="1895308" y="258763"/>
                  </a:cubicBezTo>
                  <a:cubicBezTo>
                    <a:pt x="1894038" y="266383"/>
                    <a:pt x="1908008" y="272733"/>
                    <a:pt x="1904833" y="279083"/>
                  </a:cubicBezTo>
                  <a:cubicBezTo>
                    <a:pt x="1902293" y="284798"/>
                    <a:pt x="1883243" y="270828"/>
                    <a:pt x="1887053" y="274638"/>
                  </a:cubicBezTo>
                  <a:cubicBezTo>
                    <a:pt x="1901658" y="289878"/>
                    <a:pt x="1929598" y="293053"/>
                    <a:pt x="1937218" y="312738"/>
                  </a:cubicBezTo>
                  <a:cubicBezTo>
                    <a:pt x="1941663" y="324803"/>
                    <a:pt x="1911818" y="304483"/>
                    <a:pt x="1899753" y="307023"/>
                  </a:cubicBezTo>
                  <a:cubicBezTo>
                    <a:pt x="1894673" y="308293"/>
                    <a:pt x="1904198" y="316548"/>
                    <a:pt x="1908008" y="319088"/>
                  </a:cubicBezTo>
                  <a:cubicBezTo>
                    <a:pt x="1914993" y="324168"/>
                    <a:pt x="1924518" y="325438"/>
                    <a:pt x="1931503" y="331153"/>
                  </a:cubicBezTo>
                  <a:cubicBezTo>
                    <a:pt x="1942298" y="340043"/>
                    <a:pt x="1949918" y="352108"/>
                    <a:pt x="1960078" y="360998"/>
                  </a:cubicBezTo>
                  <a:cubicBezTo>
                    <a:pt x="1967063" y="366713"/>
                    <a:pt x="1992463" y="380048"/>
                    <a:pt x="1984208" y="375603"/>
                  </a:cubicBezTo>
                  <a:cubicBezTo>
                    <a:pt x="1949283" y="355918"/>
                    <a:pt x="1850858" y="294958"/>
                    <a:pt x="1819108" y="289243"/>
                  </a:cubicBezTo>
                  <a:cubicBezTo>
                    <a:pt x="1816568" y="288608"/>
                    <a:pt x="1704808" y="289243"/>
                    <a:pt x="1720683" y="321628"/>
                  </a:cubicBezTo>
                  <a:cubicBezTo>
                    <a:pt x="1749258" y="380683"/>
                    <a:pt x="1819743" y="356553"/>
                    <a:pt x="1864828" y="374968"/>
                  </a:cubicBezTo>
                  <a:cubicBezTo>
                    <a:pt x="1871178" y="377508"/>
                    <a:pt x="1851493" y="376873"/>
                    <a:pt x="1844508" y="376238"/>
                  </a:cubicBezTo>
                  <a:cubicBezTo>
                    <a:pt x="1831173" y="374968"/>
                    <a:pt x="1814028" y="357823"/>
                    <a:pt x="1805138" y="367983"/>
                  </a:cubicBezTo>
                  <a:cubicBezTo>
                    <a:pt x="1796883" y="378143"/>
                    <a:pt x="1817838" y="390208"/>
                    <a:pt x="1823553" y="401638"/>
                  </a:cubicBezTo>
                  <a:cubicBezTo>
                    <a:pt x="1829268" y="413703"/>
                    <a:pt x="1831173" y="428308"/>
                    <a:pt x="1840063" y="438468"/>
                  </a:cubicBezTo>
                  <a:cubicBezTo>
                    <a:pt x="1852128" y="452438"/>
                    <a:pt x="1871813" y="457518"/>
                    <a:pt x="1883878" y="470853"/>
                  </a:cubicBezTo>
                  <a:cubicBezTo>
                    <a:pt x="1886418" y="473393"/>
                    <a:pt x="1871178" y="474663"/>
                    <a:pt x="1874353" y="475933"/>
                  </a:cubicBezTo>
                  <a:cubicBezTo>
                    <a:pt x="1905468" y="488633"/>
                    <a:pt x="1939123" y="493713"/>
                    <a:pt x="1970873" y="506413"/>
                  </a:cubicBezTo>
                  <a:cubicBezTo>
                    <a:pt x="1979763" y="510223"/>
                    <a:pt x="1951188" y="506413"/>
                    <a:pt x="1941663" y="503238"/>
                  </a:cubicBezTo>
                  <a:cubicBezTo>
                    <a:pt x="1933408" y="500063"/>
                    <a:pt x="1926423" y="479743"/>
                    <a:pt x="1921343" y="486728"/>
                  </a:cubicBezTo>
                  <a:cubicBezTo>
                    <a:pt x="1911183" y="500698"/>
                    <a:pt x="1909278" y="522288"/>
                    <a:pt x="1916263" y="538163"/>
                  </a:cubicBezTo>
                  <a:cubicBezTo>
                    <a:pt x="1920708" y="548958"/>
                    <a:pt x="1937853" y="548323"/>
                    <a:pt x="1949283" y="550863"/>
                  </a:cubicBezTo>
                  <a:cubicBezTo>
                    <a:pt x="1976588" y="556578"/>
                    <a:pt x="2005798" y="555308"/>
                    <a:pt x="2033103" y="562293"/>
                  </a:cubicBezTo>
                  <a:cubicBezTo>
                    <a:pt x="2042628" y="564833"/>
                    <a:pt x="2048978" y="574358"/>
                    <a:pt x="2057233" y="578803"/>
                  </a:cubicBezTo>
                  <a:cubicBezTo>
                    <a:pt x="2075013" y="588328"/>
                    <a:pt x="2097238" y="590868"/>
                    <a:pt x="2111843" y="604838"/>
                  </a:cubicBezTo>
                  <a:cubicBezTo>
                    <a:pt x="2119463" y="611823"/>
                    <a:pt x="2091523" y="604203"/>
                    <a:pt x="2081998" y="601663"/>
                  </a:cubicBezTo>
                  <a:cubicBezTo>
                    <a:pt x="2078188" y="600393"/>
                    <a:pt x="1984843" y="548958"/>
                    <a:pt x="1967698" y="581978"/>
                  </a:cubicBezTo>
                  <a:cubicBezTo>
                    <a:pt x="1942298" y="632778"/>
                    <a:pt x="2045803" y="621983"/>
                    <a:pt x="2046438" y="623253"/>
                  </a:cubicBezTo>
                  <a:cubicBezTo>
                    <a:pt x="2054058" y="634683"/>
                    <a:pt x="2020403" y="634048"/>
                    <a:pt x="2005798" y="635318"/>
                  </a:cubicBezTo>
                  <a:cubicBezTo>
                    <a:pt x="1998178" y="635953"/>
                    <a:pt x="1948013" y="601028"/>
                    <a:pt x="1943568" y="598488"/>
                  </a:cubicBezTo>
                  <a:cubicBezTo>
                    <a:pt x="1937218" y="595313"/>
                    <a:pt x="1916898" y="589598"/>
                    <a:pt x="1921978" y="594678"/>
                  </a:cubicBezTo>
                  <a:cubicBezTo>
                    <a:pt x="1932773" y="605473"/>
                    <a:pt x="1949918" y="606108"/>
                    <a:pt x="1961348" y="616268"/>
                  </a:cubicBezTo>
                  <a:cubicBezTo>
                    <a:pt x="1971508" y="625793"/>
                    <a:pt x="1971508" y="643573"/>
                    <a:pt x="1982938" y="651193"/>
                  </a:cubicBezTo>
                  <a:cubicBezTo>
                    <a:pt x="1996273" y="660083"/>
                    <a:pt x="2014688" y="657543"/>
                    <a:pt x="2029293" y="662623"/>
                  </a:cubicBezTo>
                  <a:cubicBezTo>
                    <a:pt x="2033738" y="664528"/>
                    <a:pt x="2037548" y="668338"/>
                    <a:pt x="2041358" y="671513"/>
                  </a:cubicBezTo>
                  <a:cubicBezTo>
                    <a:pt x="2050883" y="679768"/>
                    <a:pt x="2085808" y="715963"/>
                    <a:pt x="2102953" y="713423"/>
                  </a:cubicBezTo>
                  <a:cubicBezTo>
                    <a:pt x="2118828" y="711518"/>
                    <a:pt x="2127083" y="689293"/>
                    <a:pt x="2142323" y="686753"/>
                  </a:cubicBezTo>
                  <a:cubicBezTo>
                    <a:pt x="2193123" y="677863"/>
                    <a:pt x="2164548" y="712153"/>
                    <a:pt x="2198838" y="722313"/>
                  </a:cubicBezTo>
                  <a:cubicBezTo>
                    <a:pt x="2205823" y="724218"/>
                    <a:pt x="2224873" y="708343"/>
                    <a:pt x="2219158" y="713423"/>
                  </a:cubicBezTo>
                  <a:cubicBezTo>
                    <a:pt x="2212808" y="719138"/>
                    <a:pt x="2203918" y="727393"/>
                    <a:pt x="2195028" y="725488"/>
                  </a:cubicBezTo>
                  <a:cubicBezTo>
                    <a:pt x="2191218" y="724853"/>
                    <a:pt x="2146133" y="684848"/>
                    <a:pt x="2130893" y="694373"/>
                  </a:cubicBezTo>
                  <a:cubicBezTo>
                    <a:pt x="2123273" y="699453"/>
                    <a:pt x="2123908" y="713423"/>
                    <a:pt x="2128988" y="721043"/>
                  </a:cubicBezTo>
                  <a:cubicBezTo>
                    <a:pt x="2140418" y="738188"/>
                    <a:pt x="2167088" y="737553"/>
                    <a:pt x="2182328" y="751523"/>
                  </a:cubicBezTo>
                  <a:cubicBezTo>
                    <a:pt x="2240748" y="804863"/>
                    <a:pt x="2189948" y="759143"/>
                    <a:pt x="2215983" y="808673"/>
                  </a:cubicBezTo>
                  <a:cubicBezTo>
                    <a:pt x="2218523" y="813752"/>
                    <a:pt x="2233128" y="815023"/>
                    <a:pt x="2229318" y="820102"/>
                  </a:cubicBezTo>
                  <a:cubicBezTo>
                    <a:pt x="2204553" y="852488"/>
                    <a:pt x="2172168" y="841693"/>
                    <a:pt x="2171533" y="835977"/>
                  </a:cubicBezTo>
                  <a:cubicBezTo>
                    <a:pt x="2170898" y="825183"/>
                    <a:pt x="2188678" y="818833"/>
                    <a:pt x="2188043" y="808673"/>
                  </a:cubicBezTo>
                  <a:cubicBezTo>
                    <a:pt x="2186773" y="782638"/>
                    <a:pt x="2155023" y="747713"/>
                    <a:pt x="2133433" y="736918"/>
                  </a:cubicBezTo>
                  <a:cubicBezTo>
                    <a:pt x="2123273" y="731838"/>
                    <a:pt x="2109938" y="735648"/>
                    <a:pt x="2099778" y="730568"/>
                  </a:cubicBezTo>
                  <a:cubicBezTo>
                    <a:pt x="2076918" y="719773"/>
                    <a:pt x="2055328" y="705803"/>
                    <a:pt x="2035008" y="691833"/>
                  </a:cubicBezTo>
                  <a:cubicBezTo>
                    <a:pt x="2025483" y="685483"/>
                    <a:pt x="2018498" y="675323"/>
                    <a:pt x="2008338" y="670243"/>
                  </a:cubicBezTo>
                  <a:cubicBezTo>
                    <a:pt x="1996273" y="664528"/>
                    <a:pt x="1981668" y="667068"/>
                    <a:pt x="1970238" y="660083"/>
                  </a:cubicBezTo>
                  <a:cubicBezTo>
                    <a:pt x="1952458" y="649923"/>
                    <a:pt x="1930233" y="611823"/>
                    <a:pt x="1916263" y="616903"/>
                  </a:cubicBezTo>
                  <a:cubicBezTo>
                    <a:pt x="1843873" y="641033"/>
                    <a:pt x="1921978" y="660718"/>
                    <a:pt x="1931503" y="679768"/>
                  </a:cubicBezTo>
                  <a:cubicBezTo>
                    <a:pt x="1936583" y="690563"/>
                    <a:pt x="1937218" y="703898"/>
                    <a:pt x="1945473" y="712153"/>
                  </a:cubicBezTo>
                  <a:cubicBezTo>
                    <a:pt x="1950553" y="717233"/>
                    <a:pt x="1960078" y="713423"/>
                    <a:pt x="1967063" y="716598"/>
                  </a:cubicBezTo>
                  <a:cubicBezTo>
                    <a:pt x="2000083" y="731838"/>
                    <a:pt x="2029928" y="752158"/>
                    <a:pt x="2062948" y="766128"/>
                  </a:cubicBezTo>
                  <a:cubicBezTo>
                    <a:pt x="2066123" y="767398"/>
                    <a:pt x="2075013" y="759778"/>
                    <a:pt x="2071838" y="761048"/>
                  </a:cubicBezTo>
                  <a:cubicBezTo>
                    <a:pt x="2052153" y="768668"/>
                    <a:pt x="2033738" y="780098"/>
                    <a:pt x="2013418" y="785178"/>
                  </a:cubicBezTo>
                  <a:cubicBezTo>
                    <a:pt x="1971508" y="795338"/>
                    <a:pt x="1978493" y="767398"/>
                    <a:pt x="1937218" y="796608"/>
                  </a:cubicBezTo>
                  <a:cubicBezTo>
                    <a:pt x="1918168" y="809943"/>
                    <a:pt x="1953093" y="812483"/>
                    <a:pt x="1963253" y="822643"/>
                  </a:cubicBezTo>
                  <a:cubicBezTo>
                    <a:pt x="1970238" y="829627"/>
                    <a:pt x="1971508" y="840423"/>
                    <a:pt x="1976588" y="848677"/>
                  </a:cubicBezTo>
                  <a:cubicBezTo>
                    <a:pt x="1980398" y="854393"/>
                    <a:pt x="1995003" y="858838"/>
                    <a:pt x="1989923" y="863283"/>
                  </a:cubicBezTo>
                  <a:cubicBezTo>
                    <a:pt x="1979128" y="872808"/>
                    <a:pt x="1961348" y="868998"/>
                    <a:pt x="1948013" y="873443"/>
                  </a:cubicBezTo>
                  <a:cubicBezTo>
                    <a:pt x="1904198" y="889318"/>
                    <a:pt x="1930868" y="883602"/>
                    <a:pt x="1902293" y="915352"/>
                  </a:cubicBezTo>
                  <a:cubicBezTo>
                    <a:pt x="1899753" y="918527"/>
                    <a:pt x="1906103" y="907733"/>
                    <a:pt x="1905468" y="903923"/>
                  </a:cubicBezTo>
                  <a:cubicBezTo>
                    <a:pt x="1902293" y="893763"/>
                    <a:pt x="1899753" y="879793"/>
                    <a:pt x="1890228" y="875348"/>
                  </a:cubicBezTo>
                  <a:cubicBezTo>
                    <a:pt x="1883878" y="872808"/>
                    <a:pt x="1878798" y="884238"/>
                    <a:pt x="1875623" y="890588"/>
                  </a:cubicBezTo>
                  <a:cubicBezTo>
                    <a:pt x="1872448" y="896302"/>
                    <a:pt x="1873718" y="903288"/>
                    <a:pt x="1871178" y="909002"/>
                  </a:cubicBezTo>
                  <a:cubicBezTo>
                    <a:pt x="1860383" y="933768"/>
                    <a:pt x="1845143" y="956627"/>
                    <a:pt x="1835618" y="981393"/>
                  </a:cubicBezTo>
                  <a:cubicBezTo>
                    <a:pt x="1830538" y="995363"/>
                    <a:pt x="1840063" y="1018223"/>
                    <a:pt x="1827363" y="1026477"/>
                  </a:cubicBezTo>
                  <a:cubicBezTo>
                    <a:pt x="1815933" y="1033463"/>
                    <a:pt x="1795613" y="1023302"/>
                    <a:pt x="1789898" y="1011238"/>
                  </a:cubicBezTo>
                  <a:cubicBezTo>
                    <a:pt x="1784818" y="999808"/>
                    <a:pt x="1817203" y="985202"/>
                    <a:pt x="1807043" y="978852"/>
                  </a:cubicBezTo>
                  <a:cubicBezTo>
                    <a:pt x="1791803" y="969327"/>
                    <a:pt x="1765768" y="975677"/>
                    <a:pt x="1754973" y="989648"/>
                  </a:cubicBezTo>
                  <a:cubicBezTo>
                    <a:pt x="1734653" y="1016318"/>
                    <a:pt x="1803233" y="1039177"/>
                    <a:pt x="1805773" y="1044258"/>
                  </a:cubicBezTo>
                  <a:cubicBezTo>
                    <a:pt x="1816568" y="1069658"/>
                    <a:pt x="1764498" y="1064578"/>
                    <a:pt x="1763228" y="1065848"/>
                  </a:cubicBezTo>
                  <a:cubicBezTo>
                    <a:pt x="1758148" y="1070293"/>
                    <a:pt x="1765133" y="1079818"/>
                    <a:pt x="1763228" y="1086803"/>
                  </a:cubicBezTo>
                  <a:cubicBezTo>
                    <a:pt x="1758148" y="1100138"/>
                    <a:pt x="1746083" y="1110298"/>
                    <a:pt x="1741003" y="1124268"/>
                  </a:cubicBezTo>
                  <a:cubicBezTo>
                    <a:pt x="1734653" y="1141413"/>
                    <a:pt x="1786723" y="1143953"/>
                    <a:pt x="1781008" y="1161098"/>
                  </a:cubicBezTo>
                  <a:cubicBezTo>
                    <a:pt x="1774658" y="1178878"/>
                    <a:pt x="1747353" y="1180148"/>
                    <a:pt x="1728303" y="1183323"/>
                  </a:cubicBezTo>
                  <a:cubicBezTo>
                    <a:pt x="1723858" y="1183958"/>
                    <a:pt x="1734653" y="1171258"/>
                    <a:pt x="1730208" y="1169353"/>
                  </a:cubicBezTo>
                  <a:cubicBezTo>
                    <a:pt x="1716873" y="1163003"/>
                    <a:pt x="1699728" y="1157288"/>
                    <a:pt x="1685758" y="1163003"/>
                  </a:cubicBezTo>
                  <a:cubicBezTo>
                    <a:pt x="1678773" y="1166178"/>
                    <a:pt x="1683853" y="1181418"/>
                    <a:pt x="1690203" y="1185863"/>
                  </a:cubicBezTo>
                  <a:cubicBezTo>
                    <a:pt x="1703538" y="1195388"/>
                    <a:pt x="1724493" y="1189038"/>
                    <a:pt x="1736558" y="1199198"/>
                  </a:cubicBezTo>
                  <a:cubicBezTo>
                    <a:pt x="1743543" y="1204913"/>
                    <a:pt x="1746718" y="1224598"/>
                    <a:pt x="1738463" y="1226503"/>
                  </a:cubicBezTo>
                  <a:cubicBezTo>
                    <a:pt x="1716873" y="1230948"/>
                    <a:pt x="1695283" y="1218248"/>
                    <a:pt x="1674328" y="1213168"/>
                  </a:cubicBezTo>
                  <a:cubicBezTo>
                    <a:pt x="1666708" y="1211263"/>
                    <a:pt x="1657818" y="1211263"/>
                    <a:pt x="1652103" y="1206183"/>
                  </a:cubicBezTo>
                  <a:cubicBezTo>
                    <a:pt x="1639403" y="1195388"/>
                    <a:pt x="1627338" y="1182688"/>
                    <a:pt x="1620988" y="1166813"/>
                  </a:cubicBezTo>
                  <a:cubicBezTo>
                    <a:pt x="1618448" y="1160463"/>
                    <a:pt x="1631783" y="1152843"/>
                    <a:pt x="1627973" y="1147128"/>
                  </a:cubicBezTo>
                  <a:cubicBezTo>
                    <a:pt x="1622258" y="1136968"/>
                    <a:pt x="1589873" y="1136333"/>
                    <a:pt x="1597493" y="1127443"/>
                  </a:cubicBezTo>
                  <a:cubicBezTo>
                    <a:pt x="1612733" y="1110933"/>
                    <a:pt x="1640673" y="1113473"/>
                    <a:pt x="1662898" y="1109028"/>
                  </a:cubicBezTo>
                  <a:cubicBezTo>
                    <a:pt x="1667343" y="1108393"/>
                    <a:pt x="1671153" y="1111568"/>
                    <a:pt x="1676233" y="1112203"/>
                  </a:cubicBezTo>
                  <a:cubicBezTo>
                    <a:pt x="1679408" y="1112838"/>
                    <a:pt x="1683853" y="1115378"/>
                    <a:pt x="1685758" y="1112203"/>
                  </a:cubicBezTo>
                  <a:cubicBezTo>
                    <a:pt x="1715603" y="1067753"/>
                    <a:pt x="1749893" y="1044258"/>
                    <a:pt x="1701633" y="1018223"/>
                  </a:cubicBezTo>
                  <a:cubicBezTo>
                    <a:pt x="1692108" y="1013143"/>
                    <a:pt x="1680043" y="1013143"/>
                    <a:pt x="1669248" y="1009968"/>
                  </a:cubicBezTo>
                  <a:cubicBezTo>
                    <a:pt x="1633053" y="999808"/>
                    <a:pt x="1598763" y="978218"/>
                    <a:pt x="1561298" y="977583"/>
                  </a:cubicBezTo>
                  <a:cubicBezTo>
                    <a:pt x="1546693" y="977583"/>
                    <a:pt x="1531453" y="975677"/>
                    <a:pt x="1516848" y="978852"/>
                  </a:cubicBezTo>
                  <a:cubicBezTo>
                    <a:pt x="1512403" y="979488"/>
                    <a:pt x="1514308" y="990283"/>
                    <a:pt x="1509863" y="989648"/>
                  </a:cubicBezTo>
                  <a:cubicBezTo>
                    <a:pt x="1493988" y="987108"/>
                    <a:pt x="1480653" y="975677"/>
                    <a:pt x="1465413" y="971233"/>
                  </a:cubicBezTo>
                  <a:cubicBezTo>
                    <a:pt x="1458428" y="969327"/>
                    <a:pt x="1449538" y="975043"/>
                    <a:pt x="1443188" y="970598"/>
                  </a:cubicBezTo>
                  <a:cubicBezTo>
                    <a:pt x="1429218" y="960438"/>
                    <a:pt x="1423503" y="941388"/>
                    <a:pt x="1410168" y="930593"/>
                  </a:cubicBezTo>
                  <a:cubicBezTo>
                    <a:pt x="1404453" y="926148"/>
                    <a:pt x="1395563" y="928688"/>
                    <a:pt x="1387943" y="927418"/>
                  </a:cubicBezTo>
                  <a:cubicBezTo>
                    <a:pt x="1377148" y="924877"/>
                    <a:pt x="1366353" y="919163"/>
                    <a:pt x="1355558" y="920433"/>
                  </a:cubicBezTo>
                  <a:cubicBezTo>
                    <a:pt x="1257133" y="928052"/>
                    <a:pt x="1371433" y="935038"/>
                    <a:pt x="1287613" y="985838"/>
                  </a:cubicBezTo>
                  <a:cubicBezTo>
                    <a:pt x="1273643" y="994093"/>
                    <a:pt x="1255863" y="980758"/>
                    <a:pt x="1239988" y="977583"/>
                  </a:cubicBezTo>
                  <a:cubicBezTo>
                    <a:pt x="1222843" y="973773"/>
                    <a:pt x="1299043" y="980123"/>
                    <a:pt x="1264118" y="997902"/>
                  </a:cubicBezTo>
                  <a:cubicBezTo>
                    <a:pt x="1255863" y="1002348"/>
                    <a:pt x="1246338" y="990918"/>
                    <a:pt x="1236813" y="991552"/>
                  </a:cubicBezTo>
                  <a:cubicBezTo>
                    <a:pt x="1228558" y="991552"/>
                    <a:pt x="1220938" y="995363"/>
                    <a:pt x="1213318" y="999173"/>
                  </a:cubicBezTo>
                  <a:cubicBezTo>
                    <a:pt x="1147913" y="1030288"/>
                    <a:pt x="1215858" y="1014413"/>
                    <a:pt x="1172678" y="1082358"/>
                  </a:cubicBezTo>
                  <a:cubicBezTo>
                    <a:pt x="1167598" y="1089978"/>
                    <a:pt x="1152993" y="1077278"/>
                    <a:pt x="1145373" y="1082358"/>
                  </a:cubicBezTo>
                  <a:cubicBezTo>
                    <a:pt x="1141563" y="1084898"/>
                    <a:pt x="1153628" y="1089343"/>
                    <a:pt x="1152993" y="1093788"/>
                  </a:cubicBezTo>
                  <a:cubicBezTo>
                    <a:pt x="1146643" y="1168083"/>
                    <a:pt x="1147278" y="1116013"/>
                    <a:pt x="1106638" y="1136968"/>
                  </a:cubicBezTo>
                  <a:cubicBezTo>
                    <a:pt x="1100288" y="1140143"/>
                    <a:pt x="1104098" y="1151573"/>
                    <a:pt x="1099018" y="1156018"/>
                  </a:cubicBezTo>
                  <a:cubicBezTo>
                    <a:pt x="1093938" y="1160463"/>
                    <a:pt x="1081238" y="1156018"/>
                    <a:pt x="1079333" y="1162368"/>
                  </a:cubicBezTo>
                  <a:cubicBezTo>
                    <a:pt x="1077428" y="1170623"/>
                    <a:pt x="1091398" y="1176338"/>
                    <a:pt x="1091398" y="1184593"/>
                  </a:cubicBezTo>
                  <a:cubicBezTo>
                    <a:pt x="1090763" y="1201738"/>
                    <a:pt x="1083778" y="1218248"/>
                    <a:pt x="1076158" y="1233488"/>
                  </a:cubicBezTo>
                  <a:cubicBezTo>
                    <a:pt x="1019008" y="1349693"/>
                    <a:pt x="1096478" y="1164273"/>
                    <a:pt x="1035518" y="1265873"/>
                  </a:cubicBezTo>
                  <a:cubicBezTo>
                    <a:pt x="1032978" y="1269683"/>
                    <a:pt x="1046948" y="1276033"/>
                    <a:pt x="1042503" y="1278573"/>
                  </a:cubicBezTo>
                  <a:cubicBezTo>
                    <a:pt x="1004403" y="1295718"/>
                    <a:pt x="1040598" y="1247458"/>
                    <a:pt x="1010753" y="1280478"/>
                  </a:cubicBezTo>
                  <a:cubicBezTo>
                    <a:pt x="1000593" y="1291908"/>
                    <a:pt x="972018" y="1307148"/>
                    <a:pt x="983448" y="1316038"/>
                  </a:cubicBezTo>
                  <a:cubicBezTo>
                    <a:pt x="997418" y="1326833"/>
                    <a:pt x="1015198" y="1297623"/>
                    <a:pt x="1032978" y="1297623"/>
                  </a:cubicBezTo>
                  <a:cubicBezTo>
                    <a:pt x="1039328" y="1297623"/>
                    <a:pt x="1042503" y="1312228"/>
                    <a:pt x="1037423" y="1315403"/>
                  </a:cubicBezTo>
                  <a:cubicBezTo>
                    <a:pt x="1022818" y="1323658"/>
                    <a:pt x="1003133" y="1316673"/>
                    <a:pt x="988528" y="1323658"/>
                  </a:cubicBezTo>
                  <a:cubicBezTo>
                    <a:pt x="978368" y="1328103"/>
                    <a:pt x="974558" y="1341438"/>
                    <a:pt x="965033" y="1347153"/>
                  </a:cubicBezTo>
                  <a:cubicBezTo>
                    <a:pt x="958683" y="1350963"/>
                    <a:pt x="949793" y="1348423"/>
                    <a:pt x="942808" y="1350963"/>
                  </a:cubicBezTo>
                  <a:cubicBezTo>
                    <a:pt x="939633" y="1352233"/>
                    <a:pt x="940268" y="1358583"/>
                    <a:pt x="937093" y="1359218"/>
                  </a:cubicBezTo>
                  <a:cubicBezTo>
                    <a:pt x="926933" y="1361758"/>
                    <a:pt x="912963" y="1353503"/>
                    <a:pt x="904708" y="1361123"/>
                  </a:cubicBezTo>
                  <a:cubicBezTo>
                    <a:pt x="892008" y="1372553"/>
                    <a:pt x="898993" y="1398588"/>
                    <a:pt x="885023" y="1408113"/>
                  </a:cubicBezTo>
                  <a:cubicBezTo>
                    <a:pt x="874228" y="1415098"/>
                    <a:pt x="860893" y="1396683"/>
                    <a:pt x="848193" y="1398588"/>
                  </a:cubicBezTo>
                  <a:cubicBezTo>
                    <a:pt x="843113" y="1399858"/>
                    <a:pt x="843748" y="1412558"/>
                    <a:pt x="848193" y="1414463"/>
                  </a:cubicBezTo>
                  <a:cubicBezTo>
                    <a:pt x="863433" y="1420813"/>
                    <a:pt x="892643" y="1403033"/>
                    <a:pt x="898358" y="1418908"/>
                  </a:cubicBezTo>
                  <a:cubicBezTo>
                    <a:pt x="909788" y="1450023"/>
                    <a:pt x="848193" y="1441133"/>
                    <a:pt x="838033" y="1450658"/>
                  </a:cubicBezTo>
                  <a:cubicBezTo>
                    <a:pt x="835493" y="1453198"/>
                    <a:pt x="841208" y="1458913"/>
                    <a:pt x="845018" y="1459548"/>
                  </a:cubicBezTo>
                  <a:cubicBezTo>
                    <a:pt x="890738" y="1463358"/>
                    <a:pt x="876133" y="1451928"/>
                    <a:pt x="910423" y="1451928"/>
                  </a:cubicBezTo>
                  <a:cubicBezTo>
                    <a:pt x="914868" y="1451928"/>
                    <a:pt x="926298" y="1453833"/>
                    <a:pt x="922488" y="1455103"/>
                  </a:cubicBezTo>
                  <a:cubicBezTo>
                    <a:pt x="895183" y="1463358"/>
                    <a:pt x="865973" y="1466533"/>
                    <a:pt x="838033" y="1474153"/>
                  </a:cubicBezTo>
                  <a:cubicBezTo>
                    <a:pt x="832953" y="1475423"/>
                    <a:pt x="857718" y="1470978"/>
                    <a:pt x="853273" y="1472883"/>
                  </a:cubicBezTo>
                  <a:cubicBezTo>
                    <a:pt x="847558" y="1475423"/>
                    <a:pt x="830413" y="1470343"/>
                    <a:pt x="834223" y="1475423"/>
                  </a:cubicBezTo>
                  <a:cubicBezTo>
                    <a:pt x="843113" y="1486853"/>
                    <a:pt x="857718" y="1491933"/>
                    <a:pt x="871688" y="1496378"/>
                  </a:cubicBezTo>
                  <a:cubicBezTo>
                    <a:pt x="881213" y="1499553"/>
                    <a:pt x="900898" y="1486218"/>
                    <a:pt x="900898" y="1495743"/>
                  </a:cubicBezTo>
                  <a:cubicBezTo>
                    <a:pt x="901533" y="1540193"/>
                    <a:pt x="781518" y="1543368"/>
                    <a:pt x="838668" y="1594168"/>
                  </a:cubicBezTo>
                  <a:cubicBezTo>
                    <a:pt x="861528" y="1614488"/>
                    <a:pt x="895183" y="1616393"/>
                    <a:pt x="922488" y="1629093"/>
                  </a:cubicBezTo>
                  <a:cubicBezTo>
                    <a:pt x="925028" y="1630363"/>
                    <a:pt x="926933" y="1636713"/>
                    <a:pt x="928838" y="1635443"/>
                  </a:cubicBezTo>
                  <a:cubicBezTo>
                    <a:pt x="943443" y="1623378"/>
                    <a:pt x="954873" y="1606868"/>
                    <a:pt x="966938" y="1592263"/>
                  </a:cubicBezTo>
                  <a:cubicBezTo>
                    <a:pt x="970113" y="1587818"/>
                    <a:pt x="971383" y="1581468"/>
                    <a:pt x="975193" y="1577658"/>
                  </a:cubicBezTo>
                  <a:cubicBezTo>
                    <a:pt x="984083" y="1568768"/>
                    <a:pt x="998053" y="1564958"/>
                    <a:pt x="1005673" y="1554798"/>
                  </a:cubicBezTo>
                  <a:cubicBezTo>
                    <a:pt x="1010118" y="1549083"/>
                    <a:pt x="1006308" y="1527493"/>
                    <a:pt x="1009483" y="1533843"/>
                  </a:cubicBezTo>
                  <a:cubicBezTo>
                    <a:pt x="1015198" y="1545273"/>
                    <a:pt x="1008848" y="1560513"/>
                    <a:pt x="1014563" y="1572578"/>
                  </a:cubicBezTo>
                  <a:cubicBezTo>
                    <a:pt x="1024088" y="1591628"/>
                    <a:pt x="1045678" y="1603693"/>
                    <a:pt x="1053298" y="1624013"/>
                  </a:cubicBezTo>
                  <a:cubicBezTo>
                    <a:pt x="1057743" y="1636078"/>
                    <a:pt x="1045043" y="1648778"/>
                    <a:pt x="1047583" y="1661478"/>
                  </a:cubicBezTo>
                  <a:cubicBezTo>
                    <a:pt x="1083143" y="1829753"/>
                    <a:pt x="1053933" y="1640523"/>
                    <a:pt x="1090763" y="1724343"/>
                  </a:cubicBezTo>
                  <a:cubicBezTo>
                    <a:pt x="1093938" y="1731963"/>
                    <a:pt x="1093938" y="1742123"/>
                    <a:pt x="1088858" y="1748473"/>
                  </a:cubicBezTo>
                  <a:cubicBezTo>
                    <a:pt x="1086318" y="1752283"/>
                    <a:pt x="1075523" y="1740218"/>
                    <a:pt x="1075523" y="1744663"/>
                  </a:cubicBezTo>
                  <a:cubicBezTo>
                    <a:pt x="1076158" y="1763713"/>
                    <a:pt x="1081873" y="1783398"/>
                    <a:pt x="1091398" y="1799908"/>
                  </a:cubicBezTo>
                  <a:cubicBezTo>
                    <a:pt x="1095208" y="1806258"/>
                    <a:pt x="1140928" y="1799908"/>
                    <a:pt x="1141563" y="1798638"/>
                  </a:cubicBezTo>
                  <a:cubicBezTo>
                    <a:pt x="1152993" y="1786573"/>
                    <a:pt x="1146008" y="1763078"/>
                    <a:pt x="1156803" y="1750378"/>
                  </a:cubicBezTo>
                  <a:cubicBezTo>
                    <a:pt x="1172678" y="1732598"/>
                    <a:pt x="1202523" y="1730058"/>
                    <a:pt x="1217763" y="1711643"/>
                  </a:cubicBezTo>
                  <a:cubicBezTo>
                    <a:pt x="1224113" y="1704023"/>
                    <a:pt x="1213318" y="1691323"/>
                    <a:pt x="1214588" y="1681163"/>
                  </a:cubicBezTo>
                  <a:cubicBezTo>
                    <a:pt x="1215223" y="1676718"/>
                    <a:pt x="1222208" y="1674178"/>
                    <a:pt x="1221573" y="1669733"/>
                  </a:cubicBezTo>
                  <a:cubicBezTo>
                    <a:pt x="1220303" y="1660843"/>
                    <a:pt x="1209508" y="1653858"/>
                    <a:pt x="1209508" y="1644968"/>
                  </a:cubicBezTo>
                  <a:cubicBezTo>
                    <a:pt x="1209508" y="1641158"/>
                    <a:pt x="1220303" y="1648778"/>
                    <a:pt x="1221573" y="1645603"/>
                  </a:cubicBezTo>
                  <a:cubicBezTo>
                    <a:pt x="1224748" y="1637983"/>
                    <a:pt x="1224113" y="1627188"/>
                    <a:pt x="1220303" y="1620203"/>
                  </a:cubicBezTo>
                  <a:cubicBezTo>
                    <a:pt x="1215858" y="1611948"/>
                    <a:pt x="1192998" y="1610678"/>
                    <a:pt x="1198078" y="1602423"/>
                  </a:cubicBezTo>
                  <a:cubicBezTo>
                    <a:pt x="1205063" y="1590993"/>
                    <a:pt x="1224748" y="1599248"/>
                    <a:pt x="1236813" y="1593533"/>
                  </a:cubicBezTo>
                  <a:cubicBezTo>
                    <a:pt x="1248878" y="1587818"/>
                    <a:pt x="1262848" y="1581468"/>
                    <a:pt x="1268563" y="1568768"/>
                  </a:cubicBezTo>
                  <a:cubicBezTo>
                    <a:pt x="1271103" y="1563053"/>
                    <a:pt x="1253958" y="1570038"/>
                    <a:pt x="1250148" y="1564958"/>
                  </a:cubicBezTo>
                  <a:cubicBezTo>
                    <a:pt x="1242528" y="1556068"/>
                    <a:pt x="1240623" y="1543368"/>
                    <a:pt x="1237448" y="1531938"/>
                  </a:cubicBezTo>
                  <a:cubicBezTo>
                    <a:pt x="1234908" y="1523683"/>
                    <a:pt x="1239988" y="1551623"/>
                    <a:pt x="1247608" y="1556703"/>
                  </a:cubicBezTo>
                  <a:cubicBezTo>
                    <a:pt x="1255863" y="1561783"/>
                    <a:pt x="1285073" y="1533843"/>
                    <a:pt x="1285708" y="1532573"/>
                  </a:cubicBezTo>
                  <a:cubicBezTo>
                    <a:pt x="1292693" y="1523048"/>
                    <a:pt x="1246973" y="1491298"/>
                    <a:pt x="1243163" y="1485583"/>
                  </a:cubicBezTo>
                  <a:cubicBezTo>
                    <a:pt x="1239353" y="1479233"/>
                    <a:pt x="1207603" y="1396683"/>
                    <a:pt x="1210778" y="1381443"/>
                  </a:cubicBezTo>
                  <a:cubicBezTo>
                    <a:pt x="1213318" y="1371283"/>
                    <a:pt x="1228558" y="1369378"/>
                    <a:pt x="1235543" y="1361123"/>
                  </a:cubicBezTo>
                  <a:cubicBezTo>
                    <a:pt x="1246338" y="1347788"/>
                    <a:pt x="1250783" y="1330008"/>
                    <a:pt x="1262848" y="1317943"/>
                  </a:cubicBezTo>
                  <a:cubicBezTo>
                    <a:pt x="1271103" y="1309688"/>
                    <a:pt x="1286978" y="1310958"/>
                    <a:pt x="1295233" y="1302703"/>
                  </a:cubicBezTo>
                  <a:cubicBezTo>
                    <a:pt x="1349843" y="1245553"/>
                    <a:pt x="1300948" y="1283653"/>
                    <a:pt x="1293963" y="1246823"/>
                  </a:cubicBezTo>
                  <a:cubicBezTo>
                    <a:pt x="1292693" y="1239838"/>
                    <a:pt x="1306028" y="1236028"/>
                    <a:pt x="1306028" y="1229043"/>
                  </a:cubicBezTo>
                  <a:cubicBezTo>
                    <a:pt x="1306028" y="1224598"/>
                    <a:pt x="1295233" y="1225233"/>
                    <a:pt x="1295233" y="1220153"/>
                  </a:cubicBezTo>
                  <a:cubicBezTo>
                    <a:pt x="1292058" y="1183958"/>
                    <a:pt x="1344763" y="1185228"/>
                    <a:pt x="1363178" y="1187133"/>
                  </a:cubicBezTo>
                  <a:cubicBezTo>
                    <a:pt x="1380323" y="1189038"/>
                    <a:pt x="1415248" y="1199833"/>
                    <a:pt x="1408898" y="1227773"/>
                  </a:cubicBezTo>
                  <a:cubicBezTo>
                    <a:pt x="1406993" y="1235393"/>
                    <a:pt x="1391753" y="1231583"/>
                    <a:pt x="1387943" y="1238568"/>
                  </a:cubicBezTo>
                  <a:cubicBezTo>
                    <a:pt x="1379688" y="1251268"/>
                    <a:pt x="1380958" y="1268413"/>
                    <a:pt x="1373973" y="1282383"/>
                  </a:cubicBezTo>
                  <a:cubicBezTo>
                    <a:pt x="1370163" y="1291273"/>
                    <a:pt x="1363178" y="1298258"/>
                    <a:pt x="1356193" y="1305243"/>
                  </a:cubicBezTo>
                  <a:cubicBezTo>
                    <a:pt x="1353018" y="1308418"/>
                    <a:pt x="1345398" y="1308418"/>
                    <a:pt x="1343493" y="1312863"/>
                  </a:cubicBezTo>
                  <a:cubicBezTo>
                    <a:pt x="1342223" y="1317308"/>
                    <a:pt x="1350478" y="1321753"/>
                    <a:pt x="1347938" y="1326198"/>
                  </a:cubicBezTo>
                  <a:cubicBezTo>
                    <a:pt x="1340953" y="1338263"/>
                    <a:pt x="1319363" y="1342708"/>
                    <a:pt x="1318728" y="1356678"/>
                  </a:cubicBezTo>
                  <a:cubicBezTo>
                    <a:pt x="1317458" y="1389063"/>
                    <a:pt x="1334603" y="1419543"/>
                    <a:pt x="1343493" y="1450658"/>
                  </a:cubicBezTo>
                  <a:cubicBezTo>
                    <a:pt x="1346033" y="1459548"/>
                    <a:pt x="1344763" y="1470978"/>
                    <a:pt x="1351748" y="1476693"/>
                  </a:cubicBezTo>
                  <a:cubicBezTo>
                    <a:pt x="1351748" y="1476693"/>
                    <a:pt x="1417153" y="1502093"/>
                    <a:pt x="1417153" y="1502093"/>
                  </a:cubicBezTo>
                  <a:cubicBezTo>
                    <a:pt x="1418423" y="1507808"/>
                    <a:pt x="1400643" y="1517968"/>
                    <a:pt x="1406358" y="1516063"/>
                  </a:cubicBezTo>
                  <a:cubicBezTo>
                    <a:pt x="1423503" y="1510348"/>
                    <a:pt x="1436838" y="1497013"/>
                    <a:pt x="1453348" y="1490028"/>
                  </a:cubicBezTo>
                  <a:cubicBezTo>
                    <a:pt x="1458428" y="1488123"/>
                    <a:pt x="1464778" y="1490663"/>
                    <a:pt x="1469223" y="1488123"/>
                  </a:cubicBezTo>
                  <a:cubicBezTo>
                    <a:pt x="1483193" y="1479233"/>
                    <a:pt x="1492718" y="1463993"/>
                    <a:pt x="1507958" y="1456373"/>
                  </a:cubicBezTo>
                  <a:cubicBezTo>
                    <a:pt x="1511768" y="1454468"/>
                    <a:pt x="1511133" y="1466533"/>
                    <a:pt x="1514943" y="1465898"/>
                  </a:cubicBezTo>
                  <a:cubicBezTo>
                    <a:pt x="1526373" y="1464628"/>
                    <a:pt x="1535263" y="1451293"/>
                    <a:pt x="1546693" y="1452563"/>
                  </a:cubicBezTo>
                  <a:cubicBezTo>
                    <a:pt x="1574633" y="1454468"/>
                    <a:pt x="1604478" y="1458913"/>
                    <a:pt x="1629243" y="1472883"/>
                  </a:cubicBezTo>
                  <a:cubicBezTo>
                    <a:pt x="1639403" y="1479233"/>
                    <a:pt x="1605113" y="1475423"/>
                    <a:pt x="1593683" y="1479233"/>
                  </a:cubicBezTo>
                  <a:cubicBezTo>
                    <a:pt x="1584158" y="1482408"/>
                    <a:pt x="1577173" y="1490028"/>
                    <a:pt x="1567648" y="1493203"/>
                  </a:cubicBezTo>
                  <a:cubicBezTo>
                    <a:pt x="1520023" y="1509713"/>
                    <a:pt x="1495893" y="1505268"/>
                    <a:pt x="1456523" y="1531303"/>
                  </a:cubicBezTo>
                  <a:cubicBezTo>
                    <a:pt x="1453348" y="1533208"/>
                    <a:pt x="1454618" y="1539558"/>
                    <a:pt x="1451443" y="1541463"/>
                  </a:cubicBezTo>
                  <a:cubicBezTo>
                    <a:pt x="1445728" y="1545273"/>
                    <a:pt x="1434298" y="1540828"/>
                    <a:pt x="1432393" y="1546543"/>
                  </a:cubicBezTo>
                  <a:cubicBezTo>
                    <a:pt x="1431123" y="1551623"/>
                    <a:pt x="1443823" y="1592263"/>
                    <a:pt x="1452078" y="1596073"/>
                  </a:cubicBezTo>
                  <a:cubicBezTo>
                    <a:pt x="1460333" y="1599883"/>
                    <a:pt x="1473668" y="1586548"/>
                    <a:pt x="1479383" y="1593533"/>
                  </a:cubicBezTo>
                  <a:cubicBezTo>
                    <a:pt x="1486368" y="1601153"/>
                    <a:pt x="1475573" y="1613853"/>
                    <a:pt x="1476843" y="1624013"/>
                  </a:cubicBezTo>
                  <a:cubicBezTo>
                    <a:pt x="1478748" y="1635443"/>
                    <a:pt x="1495893" y="1648143"/>
                    <a:pt x="1488908" y="1657668"/>
                  </a:cubicBezTo>
                  <a:cubicBezTo>
                    <a:pt x="1443823" y="1717993"/>
                    <a:pt x="1443823" y="1594803"/>
                    <a:pt x="1394293" y="1648778"/>
                  </a:cubicBezTo>
                  <a:cubicBezTo>
                    <a:pt x="1389213" y="1654493"/>
                    <a:pt x="1389213" y="1664018"/>
                    <a:pt x="1387943" y="1671638"/>
                  </a:cubicBezTo>
                  <a:cubicBezTo>
                    <a:pt x="1384768" y="1688783"/>
                    <a:pt x="1379053" y="1705293"/>
                    <a:pt x="1380958" y="1722438"/>
                  </a:cubicBezTo>
                  <a:cubicBezTo>
                    <a:pt x="1383498" y="1745933"/>
                    <a:pt x="1393658" y="1768793"/>
                    <a:pt x="1400643" y="1791653"/>
                  </a:cubicBezTo>
                  <a:cubicBezTo>
                    <a:pt x="1401913" y="1796733"/>
                    <a:pt x="1410168" y="1804353"/>
                    <a:pt x="1405723" y="1806258"/>
                  </a:cubicBezTo>
                  <a:cubicBezTo>
                    <a:pt x="1391118" y="1812608"/>
                    <a:pt x="1372068" y="1802448"/>
                    <a:pt x="1358733" y="1810703"/>
                  </a:cubicBezTo>
                  <a:cubicBezTo>
                    <a:pt x="1349843" y="1816418"/>
                    <a:pt x="1358733" y="1836103"/>
                    <a:pt x="1349208" y="1841183"/>
                  </a:cubicBezTo>
                  <a:cubicBezTo>
                    <a:pt x="1325078" y="1855153"/>
                    <a:pt x="1318728" y="1820863"/>
                    <a:pt x="1299043" y="1822768"/>
                  </a:cubicBezTo>
                  <a:cubicBezTo>
                    <a:pt x="1281263" y="1824673"/>
                    <a:pt x="1264753" y="1834833"/>
                    <a:pt x="1247608" y="1840548"/>
                  </a:cubicBezTo>
                  <a:cubicBezTo>
                    <a:pt x="1243163" y="1841818"/>
                    <a:pt x="1237448" y="1841183"/>
                    <a:pt x="1234273" y="1844358"/>
                  </a:cubicBezTo>
                  <a:cubicBezTo>
                    <a:pt x="1228558" y="1849438"/>
                    <a:pt x="1227923" y="1858963"/>
                    <a:pt x="1221573" y="1862773"/>
                  </a:cubicBezTo>
                  <a:cubicBezTo>
                    <a:pt x="1212048" y="1868488"/>
                    <a:pt x="1199983" y="1867218"/>
                    <a:pt x="1189823" y="1871663"/>
                  </a:cubicBezTo>
                  <a:cubicBezTo>
                    <a:pt x="1175853" y="1876743"/>
                    <a:pt x="1161248" y="1881823"/>
                    <a:pt x="1149183" y="1890713"/>
                  </a:cubicBezTo>
                  <a:cubicBezTo>
                    <a:pt x="1146643" y="1892618"/>
                    <a:pt x="1153628" y="1900238"/>
                    <a:pt x="1151723" y="1898968"/>
                  </a:cubicBezTo>
                  <a:cubicBezTo>
                    <a:pt x="1128228" y="1885633"/>
                    <a:pt x="1109813" y="1860868"/>
                    <a:pt x="1083778" y="1854518"/>
                  </a:cubicBezTo>
                  <a:cubicBezTo>
                    <a:pt x="1074888" y="1851978"/>
                    <a:pt x="1076793" y="1873568"/>
                    <a:pt x="1068538" y="1878013"/>
                  </a:cubicBezTo>
                  <a:cubicBezTo>
                    <a:pt x="1032343" y="1897698"/>
                    <a:pt x="1006308" y="1890713"/>
                    <a:pt x="982813" y="1856423"/>
                  </a:cubicBezTo>
                  <a:cubicBezTo>
                    <a:pt x="979003" y="1850708"/>
                    <a:pt x="990433" y="1842453"/>
                    <a:pt x="986623" y="1836738"/>
                  </a:cubicBezTo>
                  <a:cubicBezTo>
                    <a:pt x="982813" y="1831658"/>
                    <a:pt x="968843" y="1839913"/>
                    <a:pt x="966938" y="1833563"/>
                  </a:cubicBezTo>
                  <a:cubicBezTo>
                    <a:pt x="962493" y="1815783"/>
                    <a:pt x="965033" y="1796733"/>
                    <a:pt x="972018" y="1779588"/>
                  </a:cubicBezTo>
                  <a:cubicBezTo>
                    <a:pt x="973923" y="1774508"/>
                    <a:pt x="985353" y="1784033"/>
                    <a:pt x="989163" y="1779588"/>
                  </a:cubicBezTo>
                  <a:cubicBezTo>
                    <a:pt x="996783" y="1770698"/>
                    <a:pt x="992973" y="1754823"/>
                    <a:pt x="1001228" y="1746568"/>
                  </a:cubicBezTo>
                  <a:cubicBezTo>
                    <a:pt x="1004403" y="1742758"/>
                    <a:pt x="1010118" y="1755458"/>
                    <a:pt x="1014563" y="1753553"/>
                  </a:cubicBezTo>
                  <a:cubicBezTo>
                    <a:pt x="1035518" y="1743393"/>
                    <a:pt x="1015833" y="1669098"/>
                    <a:pt x="1009483" y="1657668"/>
                  </a:cubicBezTo>
                  <a:cubicBezTo>
                    <a:pt x="1006308" y="1650683"/>
                    <a:pt x="994243" y="1662748"/>
                    <a:pt x="988528" y="1667193"/>
                  </a:cubicBezTo>
                  <a:cubicBezTo>
                    <a:pt x="980273" y="1674178"/>
                    <a:pt x="968843" y="1681163"/>
                    <a:pt x="968843" y="1691958"/>
                  </a:cubicBezTo>
                  <a:cubicBezTo>
                    <a:pt x="968843" y="1698943"/>
                    <a:pt x="991703" y="1692593"/>
                    <a:pt x="987893" y="1698308"/>
                  </a:cubicBezTo>
                  <a:cubicBezTo>
                    <a:pt x="981543" y="1708468"/>
                    <a:pt x="964398" y="1704658"/>
                    <a:pt x="955508" y="1712913"/>
                  </a:cubicBezTo>
                  <a:cubicBezTo>
                    <a:pt x="946618" y="1721168"/>
                    <a:pt x="911058" y="1763078"/>
                    <a:pt x="917408" y="1787208"/>
                  </a:cubicBezTo>
                  <a:cubicBezTo>
                    <a:pt x="924393" y="1813878"/>
                    <a:pt x="940268" y="1837373"/>
                    <a:pt x="947253" y="1863408"/>
                  </a:cubicBezTo>
                  <a:cubicBezTo>
                    <a:pt x="949158" y="1871028"/>
                    <a:pt x="939633" y="1879918"/>
                    <a:pt x="944078" y="1886268"/>
                  </a:cubicBezTo>
                  <a:cubicBezTo>
                    <a:pt x="952333" y="1898333"/>
                    <a:pt x="993608" y="1907858"/>
                    <a:pt x="979638" y="1912303"/>
                  </a:cubicBezTo>
                  <a:cubicBezTo>
                    <a:pt x="963763" y="1917383"/>
                    <a:pt x="951698" y="1885633"/>
                    <a:pt x="935188" y="1888808"/>
                  </a:cubicBezTo>
                  <a:cubicBezTo>
                    <a:pt x="923758" y="1891348"/>
                    <a:pt x="938363" y="1918653"/>
                    <a:pt x="927568" y="1923098"/>
                  </a:cubicBezTo>
                  <a:cubicBezTo>
                    <a:pt x="918043" y="1926908"/>
                    <a:pt x="918043" y="1898333"/>
                    <a:pt x="907883" y="1899603"/>
                  </a:cubicBezTo>
                  <a:cubicBezTo>
                    <a:pt x="893913" y="1900873"/>
                    <a:pt x="890103" y="1925638"/>
                    <a:pt x="876768" y="1928813"/>
                  </a:cubicBezTo>
                  <a:cubicBezTo>
                    <a:pt x="860893" y="1931988"/>
                    <a:pt x="846288" y="1914208"/>
                    <a:pt x="830413" y="1916748"/>
                  </a:cubicBezTo>
                  <a:cubicBezTo>
                    <a:pt x="815808" y="1918653"/>
                    <a:pt x="806918" y="1935163"/>
                    <a:pt x="793583" y="1941513"/>
                  </a:cubicBezTo>
                  <a:cubicBezTo>
                    <a:pt x="789138" y="1943418"/>
                    <a:pt x="782153" y="1936433"/>
                    <a:pt x="778978" y="1940878"/>
                  </a:cubicBezTo>
                  <a:cubicBezTo>
                    <a:pt x="770088" y="1954213"/>
                    <a:pt x="769453" y="1971358"/>
                    <a:pt x="762468" y="1985963"/>
                  </a:cubicBezTo>
                  <a:cubicBezTo>
                    <a:pt x="758023" y="1994853"/>
                    <a:pt x="747863" y="2000568"/>
                    <a:pt x="745958" y="2010093"/>
                  </a:cubicBezTo>
                  <a:cubicBezTo>
                    <a:pt x="744053" y="2017713"/>
                    <a:pt x="758658" y="2028508"/>
                    <a:pt x="751673" y="2032318"/>
                  </a:cubicBezTo>
                  <a:cubicBezTo>
                    <a:pt x="742148" y="2038033"/>
                    <a:pt x="728813" y="2023428"/>
                    <a:pt x="718018" y="2026603"/>
                  </a:cubicBezTo>
                  <a:cubicBezTo>
                    <a:pt x="702778" y="2030413"/>
                    <a:pt x="693253" y="2045653"/>
                    <a:pt x="678648" y="2052003"/>
                  </a:cubicBezTo>
                  <a:cubicBezTo>
                    <a:pt x="665948" y="2057718"/>
                    <a:pt x="646263" y="2051368"/>
                    <a:pt x="638008" y="2062163"/>
                  </a:cubicBezTo>
                  <a:cubicBezTo>
                    <a:pt x="629118" y="2073593"/>
                    <a:pt x="644358" y="2094548"/>
                    <a:pt x="635468" y="2105343"/>
                  </a:cubicBezTo>
                  <a:cubicBezTo>
                    <a:pt x="625308" y="2118043"/>
                    <a:pt x="604353" y="2113598"/>
                    <a:pt x="589748" y="2121218"/>
                  </a:cubicBezTo>
                  <a:cubicBezTo>
                    <a:pt x="580223" y="2126298"/>
                    <a:pt x="571333" y="2133283"/>
                    <a:pt x="563713" y="2140903"/>
                  </a:cubicBezTo>
                  <a:cubicBezTo>
                    <a:pt x="560538" y="2144078"/>
                    <a:pt x="562443" y="2151698"/>
                    <a:pt x="557998" y="2152333"/>
                  </a:cubicBezTo>
                  <a:cubicBezTo>
                    <a:pt x="542123" y="2154238"/>
                    <a:pt x="524343" y="2154873"/>
                    <a:pt x="511008" y="2146618"/>
                  </a:cubicBezTo>
                  <a:cubicBezTo>
                    <a:pt x="504023" y="2142173"/>
                    <a:pt x="515453" y="2128838"/>
                    <a:pt x="510373" y="2123123"/>
                  </a:cubicBezTo>
                  <a:cubicBezTo>
                    <a:pt x="504023" y="2116138"/>
                    <a:pt x="487513" y="2109153"/>
                    <a:pt x="483068" y="2117408"/>
                  </a:cubicBezTo>
                  <a:cubicBezTo>
                    <a:pt x="443698" y="2181543"/>
                    <a:pt x="554823" y="2124393"/>
                    <a:pt x="471003" y="2182813"/>
                  </a:cubicBezTo>
                  <a:cubicBezTo>
                    <a:pt x="461478" y="2189163"/>
                    <a:pt x="448143" y="2194878"/>
                    <a:pt x="437348" y="2191068"/>
                  </a:cubicBezTo>
                  <a:cubicBezTo>
                    <a:pt x="427188" y="2187258"/>
                    <a:pt x="429728" y="2168843"/>
                    <a:pt x="419568" y="2164398"/>
                  </a:cubicBezTo>
                  <a:cubicBezTo>
                    <a:pt x="417663" y="2163763"/>
                    <a:pt x="349718" y="2171383"/>
                    <a:pt x="350353" y="2175828"/>
                  </a:cubicBezTo>
                  <a:cubicBezTo>
                    <a:pt x="357338" y="2206943"/>
                    <a:pt x="382103" y="2231708"/>
                    <a:pt x="405598" y="2253298"/>
                  </a:cubicBezTo>
                  <a:cubicBezTo>
                    <a:pt x="411948" y="2259013"/>
                    <a:pt x="434808" y="2229168"/>
                    <a:pt x="438618" y="2255838"/>
                  </a:cubicBezTo>
                  <a:cubicBezTo>
                    <a:pt x="439253" y="2260918"/>
                    <a:pt x="425283" y="2264093"/>
                    <a:pt x="429093" y="2267903"/>
                  </a:cubicBezTo>
                  <a:cubicBezTo>
                    <a:pt x="437983" y="2275523"/>
                    <a:pt x="458303" y="2267268"/>
                    <a:pt x="462113" y="2278063"/>
                  </a:cubicBezTo>
                  <a:cubicBezTo>
                    <a:pt x="465923" y="2287588"/>
                    <a:pt x="443063" y="2290128"/>
                    <a:pt x="440523" y="2300288"/>
                  </a:cubicBezTo>
                  <a:cubicBezTo>
                    <a:pt x="438618" y="2309178"/>
                    <a:pt x="448143" y="2316163"/>
                    <a:pt x="450683" y="2324418"/>
                  </a:cubicBezTo>
                  <a:cubicBezTo>
                    <a:pt x="458303" y="2345373"/>
                    <a:pt x="469733" y="2366328"/>
                    <a:pt x="472273" y="2388553"/>
                  </a:cubicBezTo>
                  <a:cubicBezTo>
                    <a:pt x="479893" y="2451418"/>
                    <a:pt x="468463" y="2431733"/>
                    <a:pt x="450048" y="2470468"/>
                  </a:cubicBezTo>
                  <a:cubicBezTo>
                    <a:pt x="443063" y="2485073"/>
                    <a:pt x="441158" y="2502218"/>
                    <a:pt x="432903" y="2516823"/>
                  </a:cubicBezTo>
                  <a:cubicBezTo>
                    <a:pt x="423378" y="2533968"/>
                    <a:pt x="394168" y="2514283"/>
                    <a:pt x="375118" y="2513013"/>
                  </a:cubicBezTo>
                  <a:cubicBezTo>
                    <a:pt x="370038" y="2512378"/>
                    <a:pt x="366228" y="2521268"/>
                    <a:pt x="361783" y="2519998"/>
                  </a:cubicBezTo>
                  <a:cubicBezTo>
                    <a:pt x="352258" y="2517458"/>
                    <a:pt x="347813" y="2505393"/>
                    <a:pt x="338288" y="2502853"/>
                  </a:cubicBezTo>
                  <a:cubicBezTo>
                    <a:pt x="324318" y="2499678"/>
                    <a:pt x="309713" y="2507298"/>
                    <a:pt x="295743" y="2504758"/>
                  </a:cubicBezTo>
                  <a:cubicBezTo>
                    <a:pt x="258278" y="2497138"/>
                    <a:pt x="222083" y="2481898"/>
                    <a:pt x="185253" y="2473008"/>
                  </a:cubicBezTo>
                  <a:cubicBezTo>
                    <a:pt x="183983" y="2473008"/>
                    <a:pt x="183983" y="2477453"/>
                    <a:pt x="182713" y="2476818"/>
                  </a:cubicBezTo>
                  <a:cubicBezTo>
                    <a:pt x="170648" y="2469198"/>
                    <a:pt x="163663" y="2450783"/>
                    <a:pt x="149693" y="2450783"/>
                  </a:cubicBezTo>
                  <a:cubicBezTo>
                    <a:pt x="21423" y="2455228"/>
                    <a:pt x="106513" y="2485708"/>
                    <a:pt x="96988" y="2534603"/>
                  </a:cubicBezTo>
                  <a:cubicBezTo>
                    <a:pt x="90638" y="2566988"/>
                    <a:pt x="79843" y="2598738"/>
                    <a:pt x="73493" y="2630488"/>
                  </a:cubicBezTo>
                  <a:cubicBezTo>
                    <a:pt x="72858" y="2632393"/>
                    <a:pt x="76668" y="2634298"/>
                    <a:pt x="76033" y="2636838"/>
                  </a:cubicBezTo>
                  <a:cubicBezTo>
                    <a:pt x="67143" y="2660333"/>
                    <a:pt x="45553" y="2697798"/>
                    <a:pt x="28408" y="2714943"/>
                  </a:cubicBezTo>
                  <a:cubicBezTo>
                    <a:pt x="25868" y="2717483"/>
                    <a:pt x="19518" y="2712403"/>
                    <a:pt x="17613" y="2715578"/>
                  </a:cubicBezTo>
                  <a:cubicBezTo>
                    <a:pt x="10628" y="2727643"/>
                    <a:pt x="3643" y="2741613"/>
                    <a:pt x="4913" y="2756218"/>
                  </a:cubicBezTo>
                  <a:cubicBezTo>
                    <a:pt x="9993" y="2813368"/>
                    <a:pt x="33488" y="2847658"/>
                    <a:pt x="83018" y="2876868"/>
                  </a:cubicBezTo>
                  <a:cubicBezTo>
                    <a:pt x="91273" y="2881313"/>
                    <a:pt x="104608" y="2869883"/>
                    <a:pt x="111593" y="2876233"/>
                  </a:cubicBezTo>
                  <a:cubicBezTo>
                    <a:pt x="121753" y="2885758"/>
                    <a:pt x="117943" y="2904173"/>
                    <a:pt x="125563" y="2915603"/>
                  </a:cubicBezTo>
                  <a:cubicBezTo>
                    <a:pt x="137628" y="2934018"/>
                    <a:pt x="155408" y="2947353"/>
                    <a:pt x="170648" y="2963228"/>
                  </a:cubicBezTo>
                  <a:cubicBezTo>
                    <a:pt x="170648" y="2963228"/>
                    <a:pt x="171283" y="2963228"/>
                    <a:pt x="171283" y="2963228"/>
                  </a:cubicBezTo>
                  <a:cubicBezTo>
                    <a:pt x="223353" y="2957513"/>
                    <a:pt x="275423" y="2948623"/>
                    <a:pt x="328128" y="2945448"/>
                  </a:cubicBezTo>
                  <a:cubicBezTo>
                    <a:pt x="332573" y="2945448"/>
                    <a:pt x="335113" y="2956243"/>
                    <a:pt x="338923" y="2953703"/>
                  </a:cubicBezTo>
                  <a:cubicBezTo>
                    <a:pt x="352258" y="2944178"/>
                    <a:pt x="354798" y="2923858"/>
                    <a:pt x="368768" y="2915603"/>
                  </a:cubicBezTo>
                  <a:cubicBezTo>
                    <a:pt x="382738" y="2907348"/>
                    <a:pt x="404328" y="2916873"/>
                    <a:pt x="417663" y="2907348"/>
                  </a:cubicBezTo>
                  <a:cubicBezTo>
                    <a:pt x="427188" y="2900363"/>
                    <a:pt x="417663" y="2882583"/>
                    <a:pt x="424648" y="2873058"/>
                  </a:cubicBezTo>
                  <a:cubicBezTo>
                    <a:pt x="433538" y="2860993"/>
                    <a:pt x="453223" y="2859723"/>
                    <a:pt x="461478" y="2847023"/>
                  </a:cubicBezTo>
                  <a:cubicBezTo>
                    <a:pt x="462113" y="2846388"/>
                    <a:pt x="451318" y="2789238"/>
                    <a:pt x="451953" y="2787333"/>
                  </a:cubicBezTo>
                  <a:cubicBezTo>
                    <a:pt x="454493" y="2776538"/>
                    <a:pt x="464653" y="2768918"/>
                    <a:pt x="471638" y="2760028"/>
                  </a:cubicBezTo>
                  <a:cubicBezTo>
                    <a:pt x="499578" y="2725103"/>
                    <a:pt x="511643" y="2702878"/>
                    <a:pt x="555458" y="2687638"/>
                  </a:cubicBezTo>
                  <a:cubicBezTo>
                    <a:pt x="594193" y="2674303"/>
                    <a:pt x="587208" y="2706688"/>
                    <a:pt x="629753" y="2658428"/>
                  </a:cubicBezTo>
                  <a:cubicBezTo>
                    <a:pt x="640548" y="2646363"/>
                    <a:pt x="643723" y="2629218"/>
                    <a:pt x="646263" y="2613343"/>
                  </a:cubicBezTo>
                  <a:cubicBezTo>
                    <a:pt x="648803" y="2598738"/>
                    <a:pt x="632928" y="2577148"/>
                    <a:pt x="644993" y="2568258"/>
                  </a:cubicBezTo>
                  <a:cubicBezTo>
                    <a:pt x="671028" y="2549208"/>
                    <a:pt x="707223" y="2549843"/>
                    <a:pt x="738973" y="2546668"/>
                  </a:cubicBezTo>
                  <a:cubicBezTo>
                    <a:pt x="743418" y="2546033"/>
                    <a:pt x="735798" y="2556193"/>
                    <a:pt x="738338" y="2560003"/>
                  </a:cubicBezTo>
                  <a:cubicBezTo>
                    <a:pt x="741513" y="2565083"/>
                    <a:pt x="747863" y="2567623"/>
                    <a:pt x="753578" y="2569528"/>
                  </a:cubicBezTo>
                  <a:cubicBezTo>
                    <a:pt x="765643" y="2574608"/>
                    <a:pt x="778343" y="2586673"/>
                    <a:pt x="791043" y="2582863"/>
                  </a:cubicBezTo>
                  <a:cubicBezTo>
                    <a:pt x="814538" y="2575878"/>
                    <a:pt x="831048" y="2554288"/>
                    <a:pt x="851368" y="2540318"/>
                  </a:cubicBezTo>
                  <a:cubicBezTo>
                    <a:pt x="860893" y="2533968"/>
                    <a:pt x="876133" y="2536508"/>
                    <a:pt x="884388" y="2530793"/>
                  </a:cubicBezTo>
                  <a:cubicBezTo>
                    <a:pt x="897723" y="2521903"/>
                    <a:pt x="902168" y="2497773"/>
                    <a:pt x="918678" y="2496503"/>
                  </a:cubicBezTo>
                  <a:cubicBezTo>
                    <a:pt x="972018" y="2492058"/>
                    <a:pt x="991703" y="2539048"/>
                    <a:pt x="1001228" y="2576513"/>
                  </a:cubicBezTo>
                  <a:cubicBezTo>
                    <a:pt x="1003133" y="2582863"/>
                    <a:pt x="996783" y="2590483"/>
                    <a:pt x="999323" y="2596198"/>
                  </a:cubicBezTo>
                  <a:cubicBezTo>
                    <a:pt x="1006308" y="2609533"/>
                    <a:pt x="1016468" y="2622233"/>
                    <a:pt x="1028533" y="2631758"/>
                  </a:cubicBezTo>
                  <a:cubicBezTo>
                    <a:pt x="1035518" y="2636838"/>
                    <a:pt x="1046313" y="2633663"/>
                    <a:pt x="1053933" y="2638108"/>
                  </a:cubicBezTo>
                  <a:cubicBezTo>
                    <a:pt x="1059648" y="2641918"/>
                    <a:pt x="1059648" y="2650808"/>
                    <a:pt x="1064728" y="2655888"/>
                  </a:cubicBezTo>
                  <a:cubicBezTo>
                    <a:pt x="1081238" y="2671763"/>
                    <a:pt x="1104098" y="2680653"/>
                    <a:pt x="1118703" y="2697798"/>
                  </a:cubicBezTo>
                  <a:cubicBezTo>
                    <a:pt x="1121243" y="2700973"/>
                    <a:pt x="1121243" y="2707958"/>
                    <a:pt x="1125688" y="2708593"/>
                  </a:cubicBezTo>
                  <a:cubicBezTo>
                    <a:pt x="1136483" y="2710498"/>
                    <a:pt x="1149183" y="2700338"/>
                    <a:pt x="1158708" y="2705418"/>
                  </a:cubicBezTo>
                  <a:cubicBezTo>
                    <a:pt x="1168868" y="2710498"/>
                    <a:pt x="1166963" y="2728278"/>
                    <a:pt x="1176488" y="2734628"/>
                  </a:cubicBezTo>
                  <a:cubicBezTo>
                    <a:pt x="1186648" y="2741613"/>
                    <a:pt x="1203158" y="2734628"/>
                    <a:pt x="1213318" y="2742248"/>
                  </a:cubicBezTo>
                  <a:cubicBezTo>
                    <a:pt x="1226018" y="2752408"/>
                    <a:pt x="1227288" y="2772728"/>
                    <a:pt x="1239353" y="2782888"/>
                  </a:cubicBezTo>
                  <a:cubicBezTo>
                    <a:pt x="1244433" y="2787333"/>
                    <a:pt x="1255228" y="2776538"/>
                    <a:pt x="1259673" y="2781618"/>
                  </a:cubicBezTo>
                  <a:cubicBezTo>
                    <a:pt x="1275548" y="2803208"/>
                    <a:pt x="1286978" y="2827973"/>
                    <a:pt x="1291423" y="2854008"/>
                  </a:cubicBezTo>
                  <a:cubicBezTo>
                    <a:pt x="1293963" y="2868613"/>
                    <a:pt x="1250148" y="2904173"/>
                    <a:pt x="1264753" y="2916238"/>
                  </a:cubicBezTo>
                  <a:cubicBezTo>
                    <a:pt x="1290153" y="2937193"/>
                    <a:pt x="1304758" y="2900998"/>
                    <a:pt x="1311743" y="2885123"/>
                  </a:cubicBezTo>
                  <a:cubicBezTo>
                    <a:pt x="1314918" y="2877503"/>
                    <a:pt x="1307298" y="2867343"/>
                    <a:pt x="1311743" y="2860993"/>
                  </a:cubicBezTo>
                  <a:cubicBezTo>
                    <a:pt x="1318728" y="2852103"/>
                    <a:pt x="1335238" y="2854008"/>
                    <a:pt x="1341588" y="2844483"/>
                  </a:cubicBezTo>
                  <a:cubicBezTo>
                    <a:pt x="1369528" y="2800668"/>
                    <a:pt x="1283168" y="2833053"/>
                    <a:pt x="1307298" y="2775268"/>
                  </a:cubicBezTo>
                  <a:cubicBezTo>
                    <a:pt x="1321268" y="2740978"/>
                    <a:pt x="1335238" y="2735898"/>
                    <a:pt x="1368893" y="2758758"/>
                  </a:cubicBezTo>
                  <a:cubicBezTo>
                    <a:pt x="1375878" y="2763203"/>
                    <a:pt x="1373973" y="2775268"/>
                    <a:pt x="1379688" y="2780983"/>
                  </a:cubicBezTo>
                  <a:cubicBezTo>
                    <a:pt x="1387943" y="2789873"/>
                    <a:pt x="1413978" y="2796223"/>
                    <a:pt x="1401913" y="2765743"/>
                  </a:cubicBezTo>
                  <a:cubicBezTo>
                    <a:pt x="1380323" y="2712403"/>
                    <a:pt x="1312378" y="2714308"/>
                    <a:pt x="1270468" y="2688908"/>
                  </a:cubicBezTo>
                  <a:cubicBezTo>
                    <a:pt x="1239353" y="2669858"/>
                    <a:pt x="1201888" y="2646998"/>
                    <a:pt x="1176488" y="2620328"/>
                  </a:cubicBezTo>
                  <a:cubicBezTo>
                    <a:pt x="1160613" y="2603183"/>
                    <a:pt x="1164423" y="2565718"/>
                    <a:pt x="1149183" y="2554288"/>
                  </a:cubicBezTo>
                  <a:cubicBezTo>
                    <a:pt x="1130768" y="2540318"/>
                    <a:pt x="1070443" y="2516823"/>
                    <a:pt x="1082508" y="2478723"/>
                  </a:cubicBezTo>
                  <a:cubicBezTo>
                    <a:pt x="1091398" y="2449513"/>
                    <a:pt x="1118068" y="2427923"/>
                    <a:pt x="1140928" y="2407603"/>
                  </a:cubicBezTo>
                  <a:cubicBezTo>
                    <a:pt x="1144738" y="2404428"/>
                    <a:pt x="1144738" y="2417128"/>
                    <a:pt x="1149183" y="2419668"/>
                  </a:cubicBezTo>
                  <a:cubicBezTo>
                    <a:pt x="1161883" y="2427288"/>
                    <a:pt x="1179028" y="2427288"/>
                    <a:pt x="1189188" y="2438083"/>
                  </a:cubicBezTo>
                  <a:cubicBezTo>
                    <a:pt x="1200618" y="2450148"/>
                    <a:pt x="1200618" y="2470468"/>
                    <a:pt x="1210778" y="2484438"/>
                  </a:cubicBezTo>
                  <a:cubicBezTo>
                    <a:pt x="1217128" y="2493328"/>
                    <a:pt x="1234273" y="2493328"/>
                    <a:pt x="1237448" y="2504123"/>
                  </a:cubicBezTo>
                  <a:cubicBezTo>
                    <a:pt x="1239353" y="2509838"/>
                    <a:pt x="1217128" y="2504758"/>
                    <a:pt x="1219668" y="2510473"/>
                  </a:cubicBezTo>
                  <a:cubicBezTo>
                    <a:pt x="1258403" y="2593658"/>
                    <a:pt x="1326348" y="2523173"/>
                    <a:pt x="1348573" y="2591753"/>
                  </a:cubicBezTo>
                  <a:cubicBezTo>
                    <a:pt x="1352383" y="2603183"/>
                    <a:pt x="1302218" y="2578418"/>
                    <a:pt x="1313648" y="2583498"/>
                  </a:cubicBezTo>
                  <a:cubicBezTo>
                    <a:pt x="1340318" y="2594293"/>
                    <a:pt x="1369528" y="2599373"/>
                    <a:pt x="1396198" y="2611438"/>
                  </a:cubicBezTo>
                  <a:cubicBezTo>
                    <a:pt x="1398738" y="2612708"/>
                    <a:pt x="1391118" y="2615883"/>
                    <a:pt x="1392388" y="2618423"/>
                  </a:cubicBezTo>
                  <a:cubicBezTo>
                    <a:pt x="1408898" y="2660333"/>
                    <a:pt x="1432393" y="2699703"/>
                    <a:pt x="1448268" y="2742248"/>
                  </a:cubicBezTo>
                  <a:cubicBezTo>
                    <a:pt x="1449538" y="2745423"/>
                    <a:pt x="1436203" y="2741613"/>
                    <a:pt x="1438743" y="2744153"/>
                  </a:cubicBezTo>
                  <a:cubicBezTo>
                    <a:pt x="1447633" y="2753678"/>
                    <a:pt x="1461603" y="2756853"/>
                    <a:pt x="1469858" y="2766378"/>
                  </a:cubicBezTo>
                  <a:cubicBezTo>
                    <a:pt x="1475573" y="2772093"/>
                    <a:pt x="1475573" y="2781618"/>
                    <a:pt x="1480018" y="2788603"/>
                  </a:cubicBezTo>
                  <a:cubicBezTo>
                    <a:pt x="1485733" y="2797493"/>
                    <a:pt x="1493988" y="2804478"/>
                    <a:pt x="1500973" y="2812733"/>
                  </a:cubicBezTo>
                  <a:cubicBezTo>
                    <a:pt x="1508593" y="2822258"/>
                    <a:pt x="1513038" y="2834323"/>
                    <a:pt x="1521928" y="2842578"/>
                  </a:cubicBezTo>
                  <a:cubicBezTo>
                    <a:pt x="1534628" y="2854008"/>
                    <a:pt x="1547963" y="2866708"/>
                    <a:pt x="1565108" y="2870518"/>
                  </a:cubicBezTo>
                  <a:cubicBezTo>
                    <a:pt x="1579078" y="2873693"/>
                    <a:pt x="1594318" y="2867978"/>
                    <a:pt x="1608288" y="2862898"/>
                  </a:cubicBezTo>
                  <a:cubicBezTo>
                    <a:pt x="1610828" y="2862263"/>
                    <a:pt x="1605748" y="2854643"/>
                    <a:pt x="1608288" y="2855278"/>
                  </a:cubicBezTo>
                  <a:cubicBezTo>
                    <a:pt x="1623528" y="2857818"/>
                    <a:pt x="1641943" y="2857818"/>
                    <a:pt x="1652103" y="2869248"/>
                  </a:cubicBezTo>
                  <a:cubicBezTo>
                    <a:pt x="1657183" y="2874963"/>
                    <a:pt x="1643213" y="2885758"/>
                    <a:pt x="1635593" y="2885758"/>
                  </a:cubicBezTo>
                  <a:cubicBezTo>
                    <a:pt x="1612098" y="2887028"/>
                    <a:pt x="1551773" y="2829243"/>
                    <a:pt x="1546693" y="2902903"/>
                  </a:cubicBezTo>
                  <a:cubicBezTo>
                    <a:pt x="1546058" y="2915603"/>
                    <a:pt x="1570823" y="2914968"/>
                    <a:pt x="1577808" y="2925763"/>
                  </a:cubicBezTo>
                  <a:cubicBezTo>
                    <a:pt x="1584793" y="2937828"/>
                    <a:pt x="1574633" y="2957513"/>
                    <a:pt x="1584793" y="2966403"/>
                  </a:cubicBezTo>
                  <a:cubicBezTo>
                    <a:pt x="1591778" y="2972118"/>
                    <a:pt x="1598128" y="2946718"/>
                    <a:pt x="1606383" y="2950528"/>
                  </a:cubicBezTo>
                  <a:cubicBezTo>
                    <a:pt x="1617813" y="2955608"/>
                    <a:pt x="1610828" y="2979738"/>
                    <a:pt x="1622258" y="2983548"/>
                  </a:cubicBezTo>
                  <a:cubicBezTo>
                    <a:pt x="1631148" y="2986088"/>
                    <a:pt x="1628608" y="2961323"/>
                    <a:pt x="1637498" y="2960688"/>
                  </a:cubicBezTo>
                  <a:cubicBezTo>
                    <a:pt x="1648928" y="2960053"/>
                    <a:pt x="1652738" y="2981643"/>
                    <a:pt x="1664168" y="2981008"/>
                  </a:cubicBezTo>
                  <a:cubicBezTo>
                    <a:pt x="1671788" y="2981008"/>
                    <a:pt x="1660358" y="2966403"/>
                    <a:pt x="1657183" y="2960053"/>
                  </a:cubicBezTo>
                  <a:cubicBezTo>
                    <a:pt x="1648928" y="2943543"/>
                    <a:pt x="1634323" y="2928938"/>
                    <a:pt x="1630513" y="2911158"/>
                  </a:cubicBezTo>
                  <a:cubicBezTo>
                    <a:pt x="1626703" y="2895283"/>
                    <a:pt x="1657818" y="2872423"/>
                    <a:pt x="1669248" y="2873693"/>
                  </a:cubicBezTo>
                  <a:cubicBezTo>
                    <a:pt x="1680678" y="2875598"/>
                    <a:pt x="1685758" y="2901633"/>
                    <a:pt x="1695918" y="2895918"/>
                  </a:cubicBezTo>
                  <a:cubicBezTo>
                    <a:pt x="1706078" y="2890203"/>
                    <a:pt x="1699728" y="2869883"/>
                    <a:pt x="1692743" y="2859723"/>
                  </a:cubicBezTo>
                  <a:cubicBezTo>
                    <a:pt x="1687028" y="2851468"/>
                    <a:pt x="1654008" y="2834323"/>
                    <a:pt x="1636863" y="2831148"/>
                  </a:cubicBezTo>
                  <a:cubicBezTo>
                    <a:pt x="1627973" y="2829878"/>
                    <a:pt x="1607018" y="2836228"/>
                    <a:pt x="1610193" y="2827973"/>
                  </a:cubicBezTo>
                  <a:cubicBezTo>
                    <a:pt x="1615908" y="2813368"/>
                    <a:pt x="1646388" y="2815908"/>
                    <a:pt x="1648928" y="2800668"/>
                  </a:cubicBezTo>
                  <a:cubicBezTo>
                    <a:pt x="1654643" y="2759393"/>
                    <a:pt x="1615273" y="2774633"/>
                    <a:pt x="1605113" y="2751138"/>
                  </a:cubicBezTo>
                  <a:cubicBezTo>
                    <a:pt x="1601303" y="2742248"/>
                    <a:pt x="1591143" y="2725738"/>
                    <a:pt x="1600668" y="2721928"/>
                  </a:cubicBezTo>
                  <a:cubicBezTo>
                    <a:pt x="1622893" y="2713673"/>
                    <a:pt x="1656548" y="2759393"/>
                    <a:pt x="1673058" y="2746058"/>
                  </a:cubicBezTo>
                  <a:cubicBezTo>
                    <a:pt x="1680043" y="2739708"/>
                    <a:pt x="1655913" y="2726373"/>
                    <a:pt x="1662898" y="2720023"/>
                  </a:cubicBezTo>
                  <a:cubicBezTo>
                    <a:pt x="1670518" y="2713038"/>
                    <a:pt x="1695918" y="2739073"/>
                    <a:pt x="1691473" y="2730183"/>
                  </a:cubicBezTo>
                  <a:cubicBezTo>
                    <a:pt x="1683853" y="2714943"/>
                    <a:pt x="1660358" y="2713038"/>
                    <a:pt x="1652103" y="2698433"/>
                  </a:cubicBezTo>
                  <a:cubicBezTo>
                    <a:pt x="1648928" y="2692718"/>
                    <a:pt x="1665438" y="2697798"/>
                    <a:pt x="1671153" y="2695893"/>
                  </a:cubicBezTo>
                  <a:cubicBezTo>
                    <a:pt x="1681948" y="2692083"/>
                    <a:pt x="1693378" y="2688273"/>
                    <a:pt x="1702903" y="2681923"/>
                  </a:cubicBezTo>
                  <a:cubicBezTo>
                    <a:pt x="1708618" y="2678748"/>
                    <a:pt x="1710523" y="2668588"/>
                    <a:pt x="1716873" y="2668588"/>
                  </a:cubicBezTo>
                  <a:cubicBezTo>
                    <a:pt x="1732748" y="2667953"/>
                    <a:pt x="1750528" y="2669223"/>
                    <a:pt x="1762593" y="2680018"/>
                  </a:cubicBezTo>
                  <a:cubicBezTo>
                    <a:pt x="1774023" y="2690178"/>
                    <a:pt x="1763228" y="2717483"/>
                    <a:pt x="1777198" y="2723198"/>
                  </a:cubicBezTo>
                  <a:cubicBezTo>
                    <a:pt x="1787993" y="2727643"/>
                    <a:pt x="1788628" y="2702243"/>
                    <a:pt x="1796248" y="2693353"/>
                  </a:cubicBezTo>
                  <a:cubicBezTo>
                    <a:pt x="1803233" y="2685098"/>
                    <a:pt x="1815298" y="2680653"/>
                    <a:pt x="1822283" y="2671763"/>
                  </a:cubicBezTo>
                  <a:cubicBezTo>
                    <a:pt x="1826728" y="2666048"/>
                    <a:pt x="1821648" y="2654618"/>
                    <a:pt x="1827998" y="2652078"/>
                  </a:cubicBezTo>
                  <a:cubicBezTo>
                    <a:pt x="1847048" y="2643823"/>
                    <a:pt x="1869273" y="2646363"/>
                    <a:pt x="1888958" y="2641918"/>
                  </a:cubicBezTo>
                  <a:cubicBezTo>
                    <a:pt x="1891498" y="2641283"/>
                    <a:pt x="1897848" y="2638743"/>
                    <a:pt x="1895943" y="2636838"/>
                  </a:cubicBezTo>
                  <a:cubicBezTo>
                    <a:pt x="1883243" y="2625408"/>
                    <a:pt x="1865463" y="2621598"/>
                    <a:pt x="1852763" y="2610168"/>
                  </a:cubicBezTo>
                  <a:cubicBezTo>
                    <a:pt x="1845143" y="2603183"/>
                    <a:pt x="1845143" y="2590483"/>
                    <a:pt x="1838793" y="2582863"/>
                  </a:cubicBezTo>
                  <a:cubicBezTo>
                    <a:pt x="1829903" y="2572068"/>
                    <a:pt x="1810218" y="2569528"/>
                    <a:pt x="1806408" y="2555558"/>
                  </a:cubicBezTo>
                  <a:cubicBezTo>
                    <a:pt x="1801963" y="2539048"/>
                    <a:pt x="1814028" y="2522538"/>
                    <a:pt x="1817203" y="2506028"/>
                  </a:cubicBezTo>
                  <a:cubicBezTo>
                    <a:pt x="1823553" y="2474278"/>
                    <a:pt x="1830538" y="2443163"/>
                    <a:pt x="1834983" y="2411413"/>
                  </a:cubicBezTo>
                  <a:cubicBezTo>
                    <a:pt x="1836253" y="2403158"/>
                    <a:pt x="1830538" y="2392998"/>
                    <a:pt x="1835618" y="2386013"/>
                  </a:cubicBezTo>
                  <a:cubicBezTo>
                    <a:pt x="1842603" y="2375218"/>
                    <a:pt x="1855938" y="2370138"/>
                    <a:pt x="1866098" y="2361883"/>
                  </a:cubicBezTo>
                  <a:cubicBezTo>
                    <a:pt x="1866098" y="2361883"/>
                    <a:pt x="1876258" y="2331403"/>
                    <a:pt x="1880703" y="2315528"/>
                  </a:cubicBezTo>
                  <a:cubicBezTo>
                    <a:pt x="1885148" y="2299653"/>
                    <a:pt x="1884513" y="2282508"/>
                    <a:pt x="1891498" y="2267903"/>
                  </a:cubicBezTo>
                  <a:cubicBezTo>
                    <a:pt x="1895943" y="2258378"/>
                    <a:pt x="1904833" y="2250123"/>
                    <a:pt x="1914358" y="2246313"/>
                  </a:cubicBezTo>
                  <a:cubicBezTo>
                    <a:pt x="1921343" y="2243773"/>
                    <a:pt x="1934043" y="2258378"/>
                    <a:pt x="1935313" y="2251393"/>
                  </a:cubicBezTo>
                  <a:cubicBezTo>
                    <a:pt x="1937218" y="2238058"/>
                    <a:pt x="1910548" y="2205038"/>
                    <a:pt x="1918803" y="2215198"/>
                  </a:cubicBezTo>
                  <a:cubicBezTo>
                    <a:pt x="1930233" y="2229803"/>
                    <a:pt x="1939758" y="2246313"/>
                    <a:pt x="1945473" y="2264093"/>
                  </a:cubicBezTo>
                  <a:cubicBezTo>
                    <a:pt x="1946743" y="2268538"/>
                    <a:pt x="1934043" y="2272348"/>
                    <a:pt x="1937853" y="2274888"/>
                  </a:cubicBezTo>
                  <a:cubicBezTo>
                    <a:pt x="1956268" y="2287588"/>
                    <a:pt x="1991193" y="2279968"/>
                    <a:pt x="2008338" y="2272983"/>
                  </a:cubicBezTo>
                  <a:cubicBezTo>
                    <a:pt x="2010878" y="2271713"/>
                    <a:pt x="2010243" y="2264093"/>
                    <a:pt x="2013418" y="2265363"/>
                  </a:cubicBezTo>
                  <a:cubicBezTo>
                    <a:pt x="2018498" y="2266633"/>
                    <a:pt x="2026118" y="2272348"/>
                    <a:pt x="2024213" y="2276793"/>
                  </a:cubicBezTo>
                  <a:cubicBezTo>
                    <a:pt x="2021038" y="2285683"/>
                    <a:pt x="1968333" y="2304733"/>
                    <a:pt x="1981668" y="2323148"/>
                  </a:cubicBezTo>
                  <a:cubicBezTo>
                    <a:pt x="1991193" y="2336483"/>
                    <a:pt x="2017863" y="2319973"/>
                    <a:pt x="2030563" y="2330768"/>
                  </a:cubicBezTo>
                  <a:cubicBezTo>
                    <a:pt x="2038183" y="2337118"/>
                    <a:pt x="2021038" y="2383473"/>
                    <a:pt x="2045803" y="2371408"/>
                  </a:cubicBezTo>
                  <a:cubicBezTo>
                    <a:pt x="2057233" y="2365693"/>
                    <a:pt x="2063583" y="2352358"/>
                    <a:pt x="2074378" y="2344738"/>
                  </a:cubicBezTo>
                  <a:cubicBezTo>
                    <a:pt x="2081363" y="2339658"/>
                    <a:pt x="2092793" y="2340293"/>
                    <a:pt x="2098508" y="2333308"/>
                  </a:cubicBezTo>
                  <a:cubicBezTo>
                    <a:pt x="2104858" y="2326958"/>
                    <a:pt x="2101683" y="2312988"/>
                    <a:pt x="2109303" y="2307908"/>
                  </a:cubicBezTo>
                  <a:cubicBezTo>
                    <a:pt x="2119463" y="2301558"/>
                    <a:pt x="2152483" y="2311718"/>
                    <a:pt x="2144863" y="2303463"/>
                  </a:cubicBezTo>
                  <a:cubicBezTo>
                    <a:pt x="2132798" y="2290763"/>
                    <a:pt x="2109938" y="2299653"/>
                    <a:pt x="2094698" y="2292033"/>
                  </a:cubicBezTo>
                  <a:cubicBezTo>
                    <a:pt x="2087078" y="2288223"/>
                    <a:pt x="2058503" y="2257108"/>
                    <a:pt x="2061678" y="2250123"/>
                  </a:cubicBezTo>
                  <a:cubicBezTo>
                    <a:pt x="2091523" y="2184083"/>
                    <a:pt x="2083903" y="2232343"/>
                    <a:pt x="2128353" y="2201228"/>
                  </a:cubicBezTo>
                  <a:cubicBezTo>
                    <a:pt x="2133433" y="2198053"/>
                    <a:pt x="2129623" y="2188528"/>
                    <a:pt x="2133433" y="2184083"/>
                  </a:cubicBezTo>
                  <a:cubicBezTo>
                    <a:pt x="2144863" y="2172018"/>
                    <a:pt x="2158833" y="2162493"/>
                    <a:pt x="2173438" y="2154873"/>
                  </a:cubicBezTo>
                  <a:cubicBezTo>
                    <a:pt x="2186138" y="2147888"/>
                    <a:pt x="2205188" y="2130743"/>
                    <a:pt x="2214713" y="2141538"/>
                  </a:cubicBezTo>
                  <a:cubicBezTo>
                    <a:pt x="2246463" y="2175193"/>
                    <a:pt x="2165183" y="2186623"/>
                    <a:pt x="2163913" y="2188528"/>
                  </a:cubicBezTo>
                  <a:cubicBezTo>
                    <a:pt x="2142323" y="2213928"/>
                    <a:pt x="2198203" y="2191068"/>
                    <a:pt x="2208998" y="2216468"/>
                  </a:cubicBezTo>
                  <a:cubicBezTo>
                    <a:pt x="2212173" y="2224088"/>
                    <a:pt x="2187408" y="2216468"/>
                    <a:pt x="2184868" y="2224088"/>
                  </a:cubicBezTo>
                  <a:cubicBezTo>
                    <a:pt x="2180423" y="2239328"/>
                    <a:pt x="2200108" y="2257108"/>
                    <a:pt x="2193123" y="2271078"/>
                  </a:cubicBezTo>
                  <a:cubicBezTo>
                    <a:pt x="2186138" y="2285048"/>
                    <a:pt x="2141688" y="2279333"/>
                    <a:pt x="2150578" y="2292033"/>
                  </a:cubicBezTo>
                  <a:cubicBezTo>
                    <a:pt x="2167088" y="2314893"/>
                    <a:pt x="2202648" y="2313623"/>
                    <a:pt x="2229953" y="2321243"/>
                  </a:cubicBezTo>
                  <a:cubicBezTo>
                    <a:pt x="2237573" y="2323148"/>
                    <a:pt x="2246463" y="2318703"/>
                    <a:pt x="2253448" y="2321243"/>
                  </a:cubicBezTo>
                  <a:cubicBezTo>
                    <a:pt x="2274403" y="2328863"/>
                    <a:pt x="2290913" y="2346643"/>
                    <a:pt x="2312503" y="2352993"/>
                  </a:cubicBezTo>
                  <a:cubicBezTo>
                    <a:pt x="2365208" y="2368868"/>
                    <a:pt x="2398228" y="2366963"/>
                    <a:pt x="2421088" y="2426018"/>
                  </a:cubicBezTo>
                  <a:cubicBezTo>
                    <a:pt x="2424263" y="2433638"/>
                    <a:pt x="2421723" y="2443163"/>
                    <a:pt x="2417913" y="2450148"/>
                  </a:cubicBezTo>
                  <a:cubicBezTo>
                    <a:pt x="2406483" y="2470468"/>
                    <a:pt x="2395053" y="2492058"/>
                    <a:pt x="2376638" y="2505393"/>
                  </a:cubicBezTo>
                  <a:cubicBezTo>
                    <a:pt x="2367748" y="2511743"/>
                    <a:pt x="2354413" y="2503488"/>
                    <a:pt x="2343618" y="2503488"/>
                  </a:cubicBezTo>
                  <a:cubicBezTo>
                    <a:pt x="2294088" y="2506028"/>
                    <a:pt x="2244558" y="2509203"/>
                    <a:pt x="2195663" y="2513648"/>
                  </a:cubicBezTo>
                  <a:cubicBezTo>
                    <a:pt x="2184233" y="2514918"/>
                    <a:pt x="2174073" y="2523808"/>
                    <a:pt x="2163278" y="2521268"/>
                  </a:cubicBezTo>
                  <a:cubicBezTo>
                    <a:pt x="2153753" y="2519363"/>
                    <a:pt x="2151848" y="2500948"/>
                    <a:pt x="2142323" y="2501583"/>
                  </a:cubicBezTo>
                  <a:cubicBezTo>
                    <a:pt x="2125178" y="2502218"/>
                    <a:pt x="2111208" y="2516823"/>
                    <a:pt x="2094698" y="2522538"/>
                  </a:cubicBezTo>
                  <a:cubicBezTo>
                    <a:pt x="2088348" y="2525078"/>
                    <a:pt x="2080728" y="2522538"/>
                    <a:pt x="2075013" y="2525713"/>
                  </a:cubicBezTo>
                  <a:cubicBezTo>
                    <a:pt x="2041993" y="2540953"/>
                    <a:pt x="2031833" y="2572703"/>
                    <a:pt x="2001353" y="2591118"/>
                  </a:cubicBezTo>
                  <a:cubicBezTo>
                    <a:pt x="1983573" y="2601913"/>
                    <a:pt x="1963888" y="2609533"/>
                    <a:pt x="1944203" y="2616518"/>
                  </a:cubicBezTo>
                  <a:cubicBezTo>
                    <a:pt x="1937218" y="2619058"/>
                    <a:pt x="1927693" y="2612708"/>
                    <a:pt x="1923248" y="2617788"/>
                  </a:cubicBezTo>
                  <a:cubicBezTo>
                    <a:pt x="1909913" y="2631758"/>
                    <a:pt x="1908643" y="2655253"/>
                    <a:pt x="1894038" y="2668588"/>
                  </a:cubicBezTo>
                  <a:cubicBezTo>
                    <a:pt x="1879433" y="2681923"/>
                    <a:pt x="1858478" y="2688908"/>
                    <a:pt x="1839428" y="2693988"/>
                  </a:cubicBezTo>
                  <a:cubicBezTo>
                    <a:pt x="1819108" y="2699703"/>
                    <a:pt x="1773388" y="2678748"/>
                    <a:pt x="1777198" y="2728913"/>
                  </a:cubicBezTo>
                  <a:cubicBezTo>
                    <a:pt x="1784183" y="2824163"/>
                    <a:pt x="1814028" y="2727643"/>
                    <a:pt x="1833078" y="2791143"/>
                  </a:cubicBezTo>
                  <a:cubicBezTo>
                    <a:pt x="1834983" y="2798128"/>
                    <a:pt x="1815933" y="2801303"/>
                    <a:pt x="1818473" y="2808288"/>
                  </a:cubicBezTo>
                  <a:cubicBezTo>
                    <a:pt x="1821648" y="2816543"/>
                    <a:pt x="1847048" y="2810193"/>
                    <a:pt x="1842603" y="2817178"/>
                  </a:cubicBezTo>
                  <a:cubicBezTo>
                    <a:pt x="1833713" y="2830513"/>
                    <a:pt x="1794343" y="2822258"/>
                    <a:pt x="1799423" y="2837498"/>
                  </a:cubicBezTo>
                  <a:cubicBezTo>
                    <a:pt x="1805138" y="2854643"/>
                    <a:pt x="1838158" y="2837498"/>
                    <a:pt x="1853398" y="2848293"/>
                  </a:cubicBezTo>
                  <a:cubicBezTo>
                    <a:pt x="1859748" y="2853373"/>
                    <a:pt x="1838158" y="2864803"/>
                    <a:pt x="1843873" y="2869883"/>
                  </a:cubicBezTo>
                  <a:cubicBezTo>
                    <a:pt x="1859748" y="2885758"/>
                    <a:pt x="1883243" y="2890838"/>
                    <a:pt x="1904198" y="2899093"/>
                  </a:cubicBezTo>
                  <a:cubicBezTo>
                    <a:pt x="1908008" y="2900363"/>
                    <a:pt x="1918168" y="2894013"/>
                    <a:pt x="1915628" y="2896553"/>
                  </a:cubicBezTo>
                  <a:cubicBezTo>
                    <a:pt x="1902293" y="2908618"/>
                    <a:pt x="1877528" y="2911158"/>
                    <a:pt x="1872448" y="2928303"/>
                  </a:cubicBezTo>
                  <a:cubicBezTo>
                    <a:pt x="1869273" y="2939098"/>
                    <a:pt x="1895943" y="2934018"/>
                    <a:pt x="1906738" y="2928938"/>
                  </a:cubicBezTo>
                  <a:cubicBezTo>
                    <a:pt x="1915628" y="2924493"/>
                    <a:pt x="1914358" y="2904173"/>
                    <a:pt x="1924518" y="2904173"/>
                  </a:cubicBezTo>
                  <a:cubicBezTo>
                    <a:pt x="2117558" y="2906713"/>
                    <a:pt x="1836888" y="2946718"/>
                    <a:pt x="1992463" y="2940368"/>
                  </a:cubicBezTo>
                  <a:cubicBezTo>
                    <a:pt x="2065488" y="2937193"/>
                    <a:pt x="1992463" y="2876233"/>
                    <a:pt x="2048978" y="2878138"/>
                  </a:cubicBezTo>
                  <a:cubicBezTo>
                    <a:pt x="2065488" y="2878773"/>
                    <a:pt x="2082633" y="2879408"/>
                    <a:pt x="2098508" y="2885758"/>
                  </a:cubicBezTo>
                  <a:cubicBezTo>
                    <a:pt x="2113113" y="2891473"/>
                    <a:pt x="2120098" y="2918778"/>
                    <a:pt x="2142323" y="2909888"/>
                  </a:cubicBezTo>
                  <a:cubicBezTo>
                    <a:pt x="2281388" y="2851468"/>
                    <a:pt x="2106763" y="2909888"/>
                    <a:pt x="2217253" y="2836228"/>
                  </a:cubicBezTo>
                  <a:cubicBezTo>
                    <a:pt x="2226778" y="2829878"/>
                    <a:pt x="2240748" y="2848293"/>
                    <a:pt x="2251543" y="2843848"/>
                  </a:cubicBezTo>
                  <a:cubicBezTo>
                    <a:pt x="2264243" y="2838133"/>
                    <a:pt x="2262338" y="2805113"/>
                    <a:pt x="2276308" y="2809558"/>
                  </a:cubicBezTo>
                  <a:cubicBezTo>
                    <a:pt x="2289643" y="2814003"/>
                    <a:pt x="2274403" y="2837498"/>
                    <a:pt x="2275038" y="2851468"/>
                  </a:cubicBezTo>
                  <a:cubicBezTo>
                    <a:pt x="2276308" y="2867343"/>
                    <a:pt x="2278213" y="2883218"/>
                    <a:pt x="2283928" y="2897823"/>
                  </a:cubicBezTo>
                  <a:cubicBezTo>
                    <a:pt x="2285198" y="2901633"/>
                    <a:pt x="2292818" y="2901633"/>
                    <a:pt x="2294723" y="2905443"/>
                  </a:cubicBezTo>
                  <a:cubicBezTo>
                    <a:pt x="2326473" y="2976563"/>
                    <a:pt x="2297263" y="3017203"/>
                    <a:pt x="2286468" y="3106103"/>
                  </a:cubicBezTo>
                  <a:cubicBezTo>
                    <a:pt x="2283928" y="3124518"/>
                    <a:pt x="2289008" y="3172143"/>
                    <a:pt x="2268053" y="3182303"/>
                  </a:cubicBezTo>
                  <a:cubicBezTo>
                    <a:pt x="2233128" y="3199448"/>
                    <a:pt x="2191218" y="3195638"/>
                    <a:pt x="2152483" y="320262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9E99BDEB-D736-42DA-8908-88B56D163109}"/>
                </a:ext>
              </a:extLst>
            </p:cNvPr>
            <p:cNvSpPr/>
            <p:nvPr/>
          </p:nvSpPr>
          <p:spPr>
            <a:xfrm>
              <a:off x="6292953" y="3696017"/>
              <a:ext cx="628650" cy="1708150"/>
            </a:xfrm>
            <a:custGeom>
              <a:avLst/>
              <a:gdLst>
                <a:gd name="connsiteX0" fmla="*/ 620292 w 628650"/>
                <a:gd name="connsiteY0" fmla="*/ 1693228 h 1708150"/>
                <a:gd name="connsiteX1" fmla="*/ 138327 w 628650"/>
                <a:gd name="connsiteY1" fmla="*/ 827723 h 1708150"/>
                <a:gd name="connsiteX2" fmla="*/ 44347 w 628650"/>
                <a:gd name="connsiteY2" fmla="*/ 475933 h 1708150"/>
                <a:gd name="connsiteX3" fmla="*/ 20852 w 628650"/>
                <a:gd name="connsiteY3" fmla="*/ 341313 h 1708150"/>
                <a:gd name="connsiteX4" fmla="*/ 13867 w 628650"/>
                <a:gd name="connsiteY4" fmla="*/ 4763 h 1708150"/>
                <a:gd name="connsiteX5" fmla="*/ 10692 w 628650"/>
                <a:gd name="connsiteY5" fmla="*/ 11748 h 1708150"/>
                <a:gd name="connsiteX6" fmla="*/ 47522 w 628650"/>
                <a:gd name="connsiteY6" fmla="*/ 454978 h 1708150"/>
                <a:gd name="connsiteX7" fmla="*/ 46888 w 628650"/>
                <a:gd name="connsiteY7" fmla="*/ 445453 h 1708150"/>
                <a:gd name="connsiteX8" fmla="*/ 104672 w 628650"/>
                <a:gd name="connsiteY8" fmla="*/ 653098 h 1708150"/>
                <a:gd name="connsiteX9" fmla="*/ 131342 w 628650"/>
                <a:gd name="connsiteY9" fmla="*/ 762953 h 1708150"/>
                <a:gd name="connsiteX10" fmla="*/ 151663 w 628650"/>
                <a:gd name="connsiteY10" fmla="*/ 825183 h 1708150"/>
                <a:gd name="connsiteX11" fmla="*/ 140232 w 628650"/>
                <a:gd name="connsiteY11" fmla="*/ 832167 h 1708150"/>
                <a:gd name="connsiteX12" fmla="*/ 188492 w 628650"/>
                <a:gd name="connsiteY12" fmla="*/ 947738 h 1708150"/>
                <a:gd name="connsiteX13" fmla="*/ 194842 w 628650"/>
                <a:gd name="connsiteY13" fmla="*/ 970598 h 1708150"/>
                <a:gd name="connsiteX14" fmla="*/ 220878 w 628650"/>
                <a:gd name="connsiteY14" fmla="*/ 995363 h 1708150"/>
                <a:gd name="connsiteX15" fmla="*/ 236117 w 628650"/>
                <a:gd name="connsiteY15" fmla="*/ 1030288 h 1708150"/>
                <a:gd name="connsiteX16" fmla="*/ 274853 w 628650"/>
                <a:gd name="connsiteY16" fmla="*/ 1104583 h 1708150"/>
                <a:gd name="connsiteX17" fmla="*/ 289457 w 628650"/>
                <a:gd name="connsiteY17" fmla="*/ 1152842 h 1708150"/>
                <a:gd name="connsiteX18" fmla="*/ 308507 w 628650"/>
                <a:gd name="connsiteY18" fmla="*/ 1166813 h 1708150"/>
                <a:gd name="connsiteX19" fmla="*/ 338988 w 628650"/>
                <a:gd name="connsiteY19" fmla="*/ 1218883 h 1708150"/>
                <a:gd name="connsiteX20" fmla="*/ 392963 w 628650"/>
                <a:gd name="connsiteY20" fmla="*/ 1290638 h 1708150"/>
                <a:gd name="connsiteX21" fmla="*/ 493292 w 628650"/>
                <a:gd name="connsiteY21" fmla="*/ 1449388 h 1708150"/>
                <a:gd name="connsiteX22" fmla="*/ 547267 w 628650"/>
                <a:gd name="connsiteY22" fmla="*/ 1512253 h 1708150"/>
                <a:gd name="connsiteX23" fmla="*/ 605053 w 628650"/>
                <a:gd name="connsiteY23" fmla="*/ 1624013 h 1708150"/>
                <a:gd name="connsiteX24" fmla="*/ 568222 w 628650"/>
                <a:gd name="connsiteY24" fmla="*/ 1627188 h 1708150"/>
                <a:gd name="connsiteX25" fmla="*/ 585367 w 628650"/>
                <a:gd name="connsiteY25" fmla="*/ 1651953 h 1708150"/>
                <a:gd name="connsiteX26" fmla="*/ 581557 w 628650"/>
                <a:gd name="connsiteY26" fmla="*/ 1646873 h 1708150"/>
                <a:gd name="connsiteX27" fmla="*/ 629817 w 628650"/>
                <a:gd name="connsiteY27" fmla="*/ 1709103 h 1708150"/>
                <a:gd name="connsiteX28" fmla="*/ 620292 w 628650"/>
                <a:gd name="connsiteY28" fmla="*/ 1693228 h 170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8650" h="1708150">
                  <a:moveTo>
                    <a:pt x="620292" y="1693228"/>
                  </a:moveTo>
                  <a:cubicBezTo>
                    <a:pt x="410742" y="1437958"/>
                    <a:pt x="246278" y="1145223"/>
                    <a:pt x="138327" y="827723"/>
                  </a:cubicBezTo>
                  <a:cubicBezTo>
                    <a:pt x="99592" y="712788"/>
                    <a:pt x="66572" y="594678"/>
                    <a:pt x="44347" y="475933"/>
                  </a:cubicBezTo>
                  <a:cubicBezTo>
                    <a:pt x="35457" y="430848"/>
                    <a:pt x="22122" y="387033"/>
                    <a:pt x="20852" y="341313"/>
                  </a:cubicBezTo>
                  <a:cubicBezTo>
                    <a:pt x="18313" y="229553"/>
                    <a:pt x="15772" y="117158"/>
                    <a:pt x="13867" y="4763"/>
                  </a:cubicBezTo>
                  <a:lnTo>
                    <a:pt x="10692" y="11748"/>
                  </a:lnTo>
                  <a:cubicBezTo>
                    <a:pt x="18313" y="92392"/>
                    <a:pt x="-24868" y="123508"/>
                    <a:pt x="47522" y="454978"/>
                  </a:cubicBezTo>
                  <a:cubicBezTo>
                    <a:pt x="48157" y="458153"/>
                    <a:pt x="45617" y="442278"/>
                    <a:pt x="46888" y="445453"/>
                  </a:cubicBezTo>
                  <a:cubicBezTo>
                    <a:pt x="64032" y="501967"/>
                    <a:pt x="91972" y="602933"/>
                    <a:pt x="104672" y="653098"/>
                  </a:cubicBezTo>
                  <a:cubicBezTo>
                    <a:pt x="114197" y="689292"/>
                    <a:pt x="121182" y="726758"/>
                    <a:pt x="131342" y="762953"/>
                  </a:cubicBezTo>
                  <a:cubicBezTo>
                    <a:pt x="137057" y="783908"/>
                    <a:pt x="156107" y="803592"/>
                    <a:pt x="151663" y="825183"/>
                  </a:cubicBezTo>
                  <a:cubicBezTo>
                    <a:pt x="151027" y="829628"/>
                    <a:pt x="139597" y="827723"/>
                    <a:pt x="140232" y="832167"/>
                  </a:cubicBezTo>
                  <a:cubicBezTo>
                    <a:pt x="142138" y="846138"/>
                    <a:pt x="182142" y="931863"/>
                    <a:pt x="188492" y="947738"/>
                  </a:cubicBezTo>
                  <a:cubicBezTo>
                    <a:pt x="191032" y="955358"/>
                    <a:pt x="190397" y="964248"/>
                    <a:pt x="194842" y="970598"/>
                  </a:cubicBezTo>
                  <a:cubicBezTo>
                    <a:pt x="201827" y="980123"/>
                    <a:pt x="213257" y="985838"/>
                    <a:pt x="220878" y="995363"/>
                  </a:cubicBezTo>
                  <a:cubicBezTo>
                    <a:pt x="228497" y="1004253"/>
                    <a:pt x="231038" y="1020128"/>
                    <a:pt x="236117" y="1030288"/>
                  </a:cubicBezTo>
                  <a:cubicBezTo>
                    <a:pt x="248817" y="1055688"/>
                    <a:pt x="264057" y="1079183"/>
                    <a:pt x="274853" y="1104583"/>
                  </a:cubicBezTo>
                  <a:cubicBezTo>
                    <a:pt x="281838" y="1119823"/>
                    <a:pt x="283107" y="1136967"/>
                    <a:pt x="289457" y="1152842"/>
                  </a:cubicBezTo>
                  <a:cubicBezTo>
                    <a:pt x="291997" y="1160463"/>
                    <a:pt x="303428" y="1160463"/>
                    <a:pt x="308507" y="1166813"/>
                  </a:cubicBezTo>
                  <a:cubicBezTo>
                    <a:pt x="321207" y="1182688"/>
                    <a:pt x="328192" y="1201738"/>
                    <a:pt x="338988" y="1218883"/>
                  </a:cubicBezTo>
                  <a:cubicBezTo>
                    <a:pt x="354863" y="1244283"/>
                    <a:pt x="373913" y="1266508"/>
                    <a:pt x="392963" y="1290638"/>
                  </a:cubicBezTo>
                  <a:cubicBezTo>
                    <a:pt x="431063" y="1339533"/>
                    <a:pt x="457732" y="1397953"/>
                    <a:pt x="493292" y="1449388"/>
                  </a:cubicBezTo>
                  <a:cubicBezTo>
                    <a:pt x="547903" y="1526858"/>
                    <a:pt x="467892" y="1406208"/>
                    <a:pt x="547267" y="1512253"/>
                  </a:cubicBezTo>
                  <a:cubicBezTo>
                    <a:pt x="559332" y="1528128"/>
                    <a:pt x="605053" y="1606233"/>
                    <a:pt x="605053" y="1624013"/>
                  </a:cubicBezTo>
                  <a:cubicBezTo>
                    <a:pt x="604417" y="1694498"/>
                    <a:pt x="573303" y="1624648"/>
                    <a:pt x="568222" y="1627188"/>
                  </a:cubicBezTo>
                  <a:cubicBezTo>
                    <a:pt x="559332" y="1632267"/>
                    <a:pt x="579653" y="1643698"/>
                    <a:pt x="585367" y="1651953"/>
                  </a:cubicBezTo>
                  <a:cubicBezTo>
                    <a:pt x="586638" y="1653858"/>
                    <a:pt x="579653" y="1644967"/>
                    <a:pt x="581557" y="1646873"/>
                  </a:cubicBezTo>
                  <a:cubicBezTo>
                    <a:pt x="596797" y="1668463"/>
                    <a:pt x="612672" y="1688148"/>
                    <a:pt x="629817" y="1709103"/>
                  </a:cubicBezTo>
                  <a:lnTo>
                    <a:pt x="620292" y="16932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1948796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255032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2" y="3958761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0/2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file:///C:\Users\Lenovo\Desktop\&#26032;&#24314;&#25991;&#20214;&#22841;\test6.csv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file:///C:\Users\Lenovo\Desktop\&#26032;&#24314;&#25991;&#20214;&#22841;\test4.txt" TargetMode="Externa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file:///C:\Users\Lenovo\Desktop\&#26032;&#24314;&#25991;&#20214;&#22841;\test1.txt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file:///C:\Users\Lenovo\Desktop\&#26032;&#24314;&#25991;&#20214;&#22841;\test4.xlsx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4" y="4278386"/>
            <a:ext cx="5426076" cy="447854"/>
          </a:xfrm>
        </p:spPr>
        <p:txBody>
          <a:bodyPr/>
          <a:lstStyle/>
          <a:p>
            <a:r>
              <a:rPr lang="zh-CN" altLang="en-US" sz="2400" b="1" dirty="0"/>
              <a:t>汇报人：李辉</a:t>
            </a:r>
            <a:endParaRPr lang="en-US" altLang="zh-CN" sz="2400" b="1" dirty="0"/>
          </a:p>
        </p:txBody>
      </p:sp>
      <p:sp>
        <p:nvSpPr>
          <p:cNvPr id="27" name="文本占位符 26">
            <a:extLst>
              <a:ext uri="{FF2B5EF4-FFF2-40B4-BE49-F238E27FC236}">
                <a16:creationId xmlns:a16="http://schemas.microsoft.com/office/drawing/2014/main" id="{35C1E767-C5E3-42AF-83F1-CA228B55E8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 sz="5400" dirty="0"/>
              <a:t>房价预测</a:t>
            </a:r>
            <a:endParaRPr lang="en-US" altLang="zh-CN" sz="5400" dirty="0"/>
          </a:p>
          <a:p>
            <a:r>
              <a:rPr lang="zh-CN" altLang="en-US" sz="5400" dirty="0"/>
              <a:t>项目进展汇报</a:t>
            </a:r>
          </a:p>
        </p:txBody>
      </p:sp>
      <p:sp>
        <p:nvSpPr>
          <p:cNvPr id="9" name="文本占位符 5">
            <a:extLst>
              <a:ext uri="{FF2B5EF4-FFF2-40B4-BE49-F238E27FC236}">
                <a16:creationId xmlns:a16="http://schemas.microsoft.com/office/drawing/2014/main" id="{4196C9E7-148E-4C47-9624-D8878DF8F91F}"/>
              </a:ext>
            </a:extLst>
          </p:cNvPr>
          <p:cNvSpPr txBox="1">
            <a:spLocks/>
          </p:cNvSpPr>
          <p:nvPr/>
        </p:nvSpPr>
        <p:spPr>
          <a:xfrm>
            <a:off x="669923" y="5001818"/>
            <a:ext cx="6762723" cy="5516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b="1" dirty="0"/>
              <a:t>小组成员：李辉、林励伟、戴嘉贤、朱贤清</a:t>
            </a:r>
            <a:endParaRPr lang="en-US" altLang="zh-CN" sz="2400" b="1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处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6000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07667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  <a:r>
              <a:rPr lang="en-US" altLang="zh-CN" dirty="0"/>
              <a:t>2</a:t>
            </a:r>
            <a:r>
              <a:rPr lang="zh-CN" altLang="en-US" dirty="0"/>
              <a:t>：借用</a:t>
            </a:r>
            <a:r>
              <a:rPr lang="en-US" altLang="zh-CN" dirty="0"/>
              <a:t>pandas</a:t>
            </a:r>
            <a:r>
              <a:rPr lang="zh-CN" altLang="en-US" dirty="0"/>
              <a:t>将所有字符串转成数字向量：</a:t>
            </a:r>
          </a:p>
        </p:txBody>
      </p:sp>
      <p:pic>
        <p:nvPicPr>
          <p:cNvPr id="4" name="图片 3">
            <a:hlinkClick r:id="rId2" action="ppaction://hlinkfile"/>
            <a:extLst>
              <a:ext uri="{FF2B5EF4-FFF2-40B4-BE49-F238E27FC236}">
                <a16:creationId xmlns:a16="http://schemas.microsoft.com/office/drawing/2014/main" id="{43213252-CCC9-4FAA-8544-718888425B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496" y="1090568"/>
            <a:ext cx="8191660" cy="554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854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315" y="433829"/>
            <a:ext cx="10850563" cy="519001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代码</a:t>
            </a:r>
            <a:r>
              <a:rPr lang="en-US" altLang="zh-CN" dirty="0"/>
              <a:t>3</a:t>
            </a:r>
            <a:r>
              <a:rPr lang="zh-CN" altLang="en-US" dirty="0"/>
              <a:t>：分别以每个属性作为横坐标，房价作为纵坐标画出散点图</a:t>
            </a:r>
            <a:br>
              <a:rPr lang="en-US" altLang="zh-CN" dirty="0"/>
            </a:br>
            <a:r>
              <a:rPr lang="zh-CN" altLang="en-US" dirty="0"/>
              <a:t>以及它们的相关系数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157FD2E-A8F0-4D79-A3B1-59EDE7A41C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67" y="1283513"/>
            <a:ext cx="8089526" cy="513470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FD8BA6F2-7C47-445E-BDDF-110A586003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8355" y="1374675"/>
            <a:ext cx="3047619" cy="49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0816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仔细阅览，筛选出其中几个不相关的（目前</a:t>
            </a:r>
            <a:r>
              <a:rPr lang="en-US" altLang="zh-CN" dirty="0"/>
              <a:t>13</a:t>
            </a:r>
            <a:r>
              <a:rPr lang="zh-CN" altLang="en-US" dirty="0"/>
              <a:t>个属性</a:t>
            </a:r>
            <a:r>
              <a:rPr lang="en-US" altLang="zh-CN" dirty="0"/>
              <a:t>)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0D7CB8E-0B74-4856-9FA5-F0599C2BDC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732" y="1223984"/>
            <a:ext cx="2552250" cy="178657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67BA60BF-5613-49C7-8547-0DA812BE6B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509" y="1347109"/>
            <a:ext cx="2238779" cy="1567145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E3B9A49F-792C-4519-BEA8-893F969A93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614" y="1353618"/>
            <a:ext cx="2412223" cy="1688556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807997B9-B638-4E7C-8062-CA52E9625D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48" y="1264798"/>
            <a:ext cx="2435641" cy="1704949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12F072AF-4C6C-4E42-AC65-ECC5A7C6D47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58" y="3121945"/>
            <a:ext cx="2529271" cy="1770490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68FBEEE6-6900-4A00-9095-3275DC238C9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655" y="3038409"/>
            <a:ext cx="2282413" cy="1597689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56A2CA8C-5D95-4564-89F5-A47C184CF23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6" y="1338755"/>
            <a:ext cx="2529272" cy="1770490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C85AD214-D15D-45A2-B833-E57FC05587B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296" y="3106994"/>
            <a:ext cx="2238779" cy="1567145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8819707E-3A62-48D9-A049-A8BC42A39B5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758" y="3012495"/>
            <a:ext cx="2672145" cy="1870502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64F8AD05-B622-47E8-829F-23EEC39E048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197" y="5044633"/>
            <a:ext cx="2646026" cy="1852218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61D7A6D9-C937-44DD-AE1C-6923AA348D7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140" y="4777188"/>
            <a:ext cx="2972586" cy="2080810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FC8844C9-ABE7-4500-B6BC-FD90029B76D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204" y="4777188"/>
            <a:ext cx="3140288" cy="2198202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606C1AC7-5A74-4581-80A1-1CD3B65FD42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713" y="4777188"/>
            <a:ext cx="3140288" cy="219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6386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与舍友经过一番讨论后剩下的数据（目前属性</a:t>
            </a:r>
            <a:r>
              <a:rPr lang="en-US" altLang="zh-CN" dirty="0"/>
              <a:t>12</a:t>
            </a:r>
            <a:r>
              <a:rPr lang="zh-CN" altLang="en-US" dirty="0"/>
              <a:t>个</a:t>
            </a:r>
            <a:r>
              <a:rPr lang="en-US" altLang="zh-CN" dirty="0"/>
              <a:t>)</a:t>
            </a:r>
            <a:r>
              <a:rPr lang="zh-CN" altLang="en-US" dirty="0"/>
              <a:t>：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C7630CC-DBEF-472E-850E-ED7F4FA94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7716" y="1489216"/>
            <a:ext cx="8266667" cy="55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719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房价预测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6000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8698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将数据放到</a:t>
            </a:r>
            <a:r>
              <a:rPr lang="en-US" altLang="zh-CN" dirty="0"/>
              <a:t>paddle</a:t>
            </a:r>
            <a:r>
              <a:rPr lang="zh-CN" altLang="en-US" dirty="0"/>
              <a:t>模型中跑</a:t>
            </a:r>
          </a:p>
        </p:txBody>
      </p:sp>
      <p:pic>
        <p:nvPicPr>
          <p:cNvPr id="4" name="图片 3">
            <a:hlinkClick r:id="rId2" action="ppaction://hlinkfile"/>
            <a:extLst>
              <a:ext uri="{FF2B5EF4-FFF2-40B4-BE49-F238E27FC236}">
                <a16:creationId xmlns:a16="http://schemas.microsoft.com/office/drawing/2014/main" id="{A331DD81-2A82-4628-BF6A-E5335EE546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3182" y="1186031"/>
            <a:ext cx="9885294" cy="5432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389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该模型预测</a:t>
            </a:r>
            <a:r>
              <a:rPr lang="en-US" altLang="zh-CN" dirty="0"/>
              <a:t>10</a:t>
            </a:r>
            <a:r>
              <a:rPr lang="zh-CN" altLang="en-US" dirty="0"/>
              <a:t>次结果</a:t>
            </a:r>
            <a:r>
              <a:rPr lang="en-US" altLang="zh-CN" dirty="0"/>
              <a:t>: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B1CEEC9-DE20-478F-AE4F-173514451B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56" y="1442631"/>
            <a:ext cx="4009524" cy="409524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A8C5E509-E05D-4ADF-A126-A766D932DC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56" y="1986518"/>
            <a:ext cx="4047619" cy="48571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BDFF1C1-2257-4C92-ABE9-F31504D6AA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90" y="2731558"/>
            <a:ext cx="4076190" cy="46666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8724E7C-FDF5-46BE-97BD-FAA239DED6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85" y="3442018"/>
            <a:ext cx="4000000" cy="504762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0AE27E61-CE56-4C76-95B8-6365F5FECF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8564" y="3429000"/>
            <a:ext cx="3952381" cy="485714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1B051CE-FEEB-45FC-902B-F6CEC7C2B8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839" y="4232088"/>
            <a:ext cx="4152381" cy="53333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837EDCBD-DB45-41DD-9DD4-1E71ECFF17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85" y="4260889"/>
            <a:ext cx="4114286" cy="514286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16752634-FAB3-4F62-A666-BF55DAA7A8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7030" y="1461638"/>
            <a:ext cx="3990476" cy="438095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165A3366-83C9-46A4-BA3A-05721C38E14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7030" y="2066004"/>
            <a:ext cx="4076190" cy="533333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87B3F3D8-9ABA-4CFC-902C-F84E717328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8564" y="2730201"/>
            <a:ext cx="4504762" cy="580952"/>
          </a:xfrm>
          <a:prstGeom prst="rect">
            <a:avLst/>
          </a:prstGeom>
        </p:spPr>
      </p:pic>
      <p:sp>
        <p:nvSpPr>
          <p:cNvPr id="24" name="标题 1">
            <a:extLst>
              <a:ext uri="{FF2B5EF4-FFF2-40B4-BE49-F238E27FC236}">
                <a16:creationId xmlns:a16="http://schemas.microsoft.com/office/drawing/2014/main" id="{4C516C5A-004D-4081-93E9-6DC082451B55}"/>
              </a:ext>
            </a:extLst>
          </p:cNvPr>
          <p:cNvSpPr txBox="1">
            <a:spLocks/>
          </p:cNvSpPr>
          <p:nvPr/>
        </p:nvSpPr>
        <p:spPr>
          <a:xfrm>
            <a:off x="471490" y="4977378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预测结果较为合理，预测房价分布在</a:t>
            </a:r>
            <a:r>
              <a:rPr lang="en-US" altLang="zh-CN" dirty="0"/>
              <a:t>【70.3</a:t>
            </a:r>
            <a:r>
              <a:rPr lang="zh-CN" altLang="en-US" dirty="0"/>
              <a:t>，</a:t>
            </a:r>
            <a:r>
              <a:rPr lang="en-US" altLang="zh-CN" dirty="0"/>
              <a:t>108.9】</a:t>
            </a:r>
            <a:r>
              <a:rPr lang="zh-CN" altLang="en-US" dirty="0"/>
              <a:t>内</a:t>
            </a:r>
            <a:endParaRPr lang="en-US" altLang="zh-CN" dirty="0"/>
          </a:p>
          <a:p>
            <a:r>
              <a:rPr lang="zh-CN" altLang="en-US" dirty="0"/>
              <a:t>没有非常离谱的预测。</a:t>
            </a:r>
          </a:p>
        </p:txBody>
      </p:sp>
    </p:spTree>
    <p:extLst>
      <p:ext uri="{BB962C8B-B14F-4D97-AF65-F5344CB8AC3E}">
        <p14:creationId xmlns:p14="http://schemas.microsoft.com/office/powerpoint/2010/main" val="3497384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感谢观看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69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>
            <a:extLst>
              <a:ext uri="{FF2B5EF4-FFF2-40B4-BE49-F238E27FC236}">
                <a16:creationId xmlns:a16="http://schemas.microsoft.com/office/drawing/2014/main" id="{6328ED80-0BD1-418F-BB51-1286875AA30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14413" y="1381707"/>
            <a:ext cx="8888238" cy="3270580"/>
            <a:chOff x="1014413" y="1381707"/>
            <a:chExt cx="8888238" cy="3270580"/>
          </a:xfrm>
        </p:grpSpPr>
        <p:grpSp>
          <p:nvGrpSpPr>
            <p:cNvPr id="3" name="íşḷiḋê">
              <a:extLst>
                <a:ext uri="{FF2B5EF4-FFF2-40B4-BE49-F238E27FC236}">
                  <a16:creationId xmlns:a16="http://schemas.microsoft.com/office/drawing/2014/main" id="{1FEF6B47-0BD7-4ACB-8190-F0A9E54F35F5}"/>
                </a:ext>
              </a:extLst>
            </p:cNvPr>
            <p:cNvGrpSpPr/>
            <p:nvPr/>
          </p:nvGrpSpPr>
          <p:grpSpPr>
            <a:xfrm>
              <a:off x="1014413" y="2015110"/>
              <a:ext cx="3370411" cy="1532135"/>
              <a:chOff x="-22546" y="2033910"/>
              <a:chExt cx="3370411" cy="1532135"/>
            </a:xfrm>
          </p:grpSpPr>
          <p:grpSp>
            <p:nvGrpSpPr>
              <p:cNvPr id="33" name="íṡḷíḑè">
                <a:extLst>
                  <a:ext uri="{FF2B5EF4-FFF2-40B4-BE49-F238E27FC236}">
                    <a16:creationId xmlns:a16="http://schemas.microsoft.com/office/drawing/2014/main" id="{D9B807EC-D7E7-4D4D-B8A7-5C5C90358CE0}"/>
                  </a:ext>
                </a:extLst>
              </p:cNvPr>
              <p:cNvGrpSpPr/>
              <p:nvPr/>
            </p:nvGrpSpPr>
            <p:grpSpPr>
              <a:xfrm>
                <a:off x="-22546" y="2033910"/>
                <a:ext cx="3370411" cy="1423546"/>
                <a:chOff x="7453945" y="2399263"/>
                <a:chExt cx="3370411" cy="1423546"/>
              </a:xfrm>
            </p:grpSpPr>
            <p:sp>
              <p:nvSpPr>
                <p:cNvPr id="36" name="î$ļíḍê">
                  <a:extLst>
                    <a:ext uri="{FF2B5EF4-FFF2-40B4-BE49-F238E27FC236}">
                      <a16:creationId xmlns:a16="http://schemas.microsoft.com/office/drawing/2014/main" id="{10D1BA17-2DE8-497B-B747-841CAA74D7D4}"/>
                    </a:ext>
                  </a:extLst>
                </p:cNvPr>
                <p:cNvSpPr txBox="1"/>
                <p:nvPr/>
              </p:nvSpPr>
              <p:spPr>
                <a:xfrm>
                  <a:off x="7453945" y="2399263"/>
                  <a:ext cx="3370411" cy="1037958"/>
                </a:xfrm>
                <a:prstGeom prst="rect">
                  <a:avLst/>
                </a:prstGeom>
                <a:noFill/>
                <a:ln w="3175">
                  <a:solidFill>
                    <a:schemeClr val="bg1"/>
                  </a:solidFill>
                </a:ln>
              </p:spPr>
              <p:txBody>
                <a:bodyPr wrap="square" lIns="91440" tIns="45720" rIns="91440" bIns="45720">
                  <a:noAutofit/>
                </a:bodyPr>
                <a:lstStyle/>
                <a:p>
                  <a:pPr algn="r"/>
                  <a:br>
                    <a:rPr lang="zh-CN" altLang="en-US" sz="2800" b="1" dirty="0"/>
                  </a:br>
                  <a:r>
                    <a:rPr lang="zh-CN" altLang="en-US" sz="4000" b="1" dirty="0"/>
                    <a:t>过程分层</a:t>
                  </a:r>
                  <a:br>
                    <a:rPr lang="zh-CN" altLang="en-US" sz="2800" b="1" dirty="0"/>
                  </a:br>
                  <a:endParaRPr lang="zh-CN" altLang="en-US" sz="2800" b="1" dirty="0"/>
                </a:p>
              </p:txBody>
            </p:sp>
            <p:sp>
              <p:nvSpPr>
                <p:cNvPr id="37" name="íşḻíḋè">
                  <a:extLst>
                    <a:ext uri="{FF2B5EF4-FFF2-40B4-BE49-F238E27FC236}">
                      <a16:creationId xmlns:a16="http://schemas.microsoft.com/office/drawing/2014/main" id="{A8E2F5CF-CCF1-4AB2-81AF-3F195A76AF63}"/>
                    </a:ext>
                  </a:extLst>
                </p:cNvPr>
                <p:cNvSpPr txBox="1"/>
                <p:nvPr/>
              </p:nvSpPr>
              <p:spPr>
                <a:xfrm>
                  <a:off x="9024156" y="3545810"/>
                  <a:ext cx="1800200" cy="27699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cxnSp>
            <p:nvCxnSpPr>
              <p:cNvPr id="34" name="直接连接符 33">
                <a:extLst>
                  <a:ext uri="{FF2B5EF4-FFF2-40B4-BE49-F238E27FC236}">
                    <a16:creationId xmlns:a16="http://schemas.microsoft.com/office/drawing/2014/main" id="{83311E01-B462-49C2-AFBC-B2345451383B}"/>
                  </a:ext>
                </a:extLst>
              </p:cNvPr>
              <p:cNvCxnSpPr/>
              <p:nvPr/>
            </p:nvCxnSpPr>
            <p:spPr>
              <a:xfrm>
                <a:off x="2309919" y="3566045"/>
                <a:ext cx="46805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ïṧ1ídê">
              <a:extLst>
                <a:ext uri="{FF2B5EF4-FFF2-40B4-BE49-F238E27FC236}">
                  <a16:creationId xmlns:a16="http://schemas.microsoft.com/office/drawing/2014/main" id="{9200F94C-743A-46F8-B36A-1E106D2D784C}"/>
                </a:ext>
              </a:extLst>
            </p:cNvPr>
            <p:cNvGrpSpPr/>
            <p:nvPr/>
          </p:nvGrpSpPr>
          <p:grpSpPr>
            <a:xfrm>
              <a:off x="5472554" y="4027938"/>
              <a:ext cx="4430097" cy="624349"/>
              <a:chOff x="5417363" y="4059570"/>
              <a:chExt cx="4430097" cy="624349"/>
            </a:xfrm>
          </p:grpSpPr>
          <p:sp>
            <p:nvSpPr>
              <p:cNvPr id="21" name="ïŝľïďê">
                <a:extLst>
                  <a:ext uri="{FF2B5EF4-FFF2-40B4-BE49-F238E27FC236}">
                    <a16:creationId xmlns:a16="http://schemas.microsoft.com/office/drawing/2014/main" id="{0475B938-CA68-49B9-A87A-CB136985B6A6}"/>
                  </a:ext>
                </a:extLst>
              </p:cNvPr>
              <p:cNvSpPr/>
              <p:nvPr/>
            </p:nvSpPr>
            <p:spPr>
              <a:xfrm>
                <a:off x="5417363" y="4059570"/>
                <a:ext cx="624349" cy="624349"/>
              </a:xfrm>
              <a:prstGeom prst="diamond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  <a:latin typeface="Impact" panose="020B0806030902050204" pitchFamily="34" charset="0"/>
                  </a:rPr>
                  <a:t>03</a:t>
                </a:r>
              </a:p>
            </p:txBody>
          </p:sp>
          <p:sp>
            <p:nvSpPr>
              <p:cNvPr id="23" name="ïṡ1ïḑê">
                <a:extLst>
                  <a:ext uri="{FF2B5EF4-FFF2-40B4-BE49-F238E27FC236}">
                    <a16:creationId xmlns:a16="http://schemas.microsoft.com/office/drawing/2014/main" id="{45B304D4-81FE-4CBA-832E-19D0FA352917}"/>
                  </a:ext>
                </a:extLst>
              </p:cNvPr>
              <p:cNvSpPr txBox="1"/>
              <p:nvPr/>
            </p:nvSpPr>
            <p:spPr>
              <a:xfrm>
                <a:off x="6036271" y="4247751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>
                <a:noAutofit/>
              </a:bodyPr>
              <a:lstStyle/>
              <a:p>
                <a:r>
                  <a:rPr lang="zh-CN" altLang="en-US" sz="2800" b="1" dirty="0"/>
                  <a:t>模型预测</a:t>
                </a:r>
              </a:p>
            </p:txBody>
          </p:sp>
        </p:grpSp>
        <p:grpSp>
          <p:nvGrpSpPr>
            <p:cNvPr id="7" name="îšľîďé">
              <a:extLst>
                <a:ext uri="{FF2B5EF4-FFF2-40B4-BE49-F238E27FC236}">
                  <a16:creationId xmlns:a16="http://schemas.microsoft.com/office/drawing/2014/main" id="{3897E0F3-B6FD-4E53-86E1-A101849584D9}"/>
                </a:ext>
              </a:extLst>
            </p:cNvPr>
            <p:cNvGrpSpPr/>
            <p:nvPr/>
          </p:nvGrpSpPr>
          <p:grpSpPr>
            <a:xfrm>
              <a:off x="5472554" y="2771533"/>
              <a:ext cx="4430097" cy="624349"/>
              <a:chOff x="5417363" y="2891616"/>
              <a:chExt cx="4430097" cy="624349"/>
            </a:xfrm>
          </p:grpSpPr>
          <p:sp>
            <p:nvSpPr>
              <p:cNvPr id="17" name="îṩḷïdè">
                <a:extLst>
                  <a:ext uri="{FF2B5EF4-FFF2-40B4-BE49-F238E27FC236}">
                    <a16:creationId xmlns:a16="http://schemas.microsoft.com/office/drawing/2014/main" id="{7DE04CCF-4EB9-49FA-A754-D14F115262F4}"/>
                  </a:ext>
                </a:extLst>
              </p:cNvPr>
              <p:cNvSpPr/>
              <p:nvPr/>
            </p:nvSpPr>
            <p:spPr>
              <a:xfrm>
                <a:off x="5417363" y="2891616"/>
                <a:ext cx="624349" cy="624349"/>
              </a:xfrm>
              <a:prstGeom prst="diamond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  <a:latin typeface="Impact" panose="020B0806030902050204" pitchFamily="34" charset="0"/>
                  </a:rPr>
                  <a:t>02</a:t>
                </a:r>
              </a:p>
            </p:txBody>
          </p:sp>
          <p:sp>
            <p:nvSpPr>
              <p:cNvPr id="19" name="îSľîḑé">
                <a:extLst>
                  <a:ext uri="{FF2B5EF4-FFF2-40B4-BE49-F238E27FC236}">
                    <a16:creationId xmlns:a16="http://schemas.microsoft.com/office/drawing/2014/main" id="{5DE5369B-A6E2-4E31-8842-E6693FE47F57}"/>
                  </a:ext>
                </a:extLst>
              </p:cNvPr>
              <p:cNvSpPr txBox="1"/>
              <p:nvPr/>
            </p:nvSpPr>
            <p:spPr>
              <a:xfrm>
                <a:off x="6036271" y="3052891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>
                <a:noAutofit/>
              </a:bodyPr>
              <a:lstStyle/>
              <a:p>
                <a:r>
                  <a:rPr lang="zh-CN" altLang="en-US" sz="2800" b="1" dirty="0"/>
                  <a:t>数据处理</a:t>
                </a:r>
              </a:p>
            </p:txBody>
          </p:sp>
        </p:grpSp>
        <p:grpSp>
          <p:nvGrpSpPr>
            <p:cNvPr id="8" name="ïS1iḍe">
              <a:extLst>
                <a:ext uri="{FF2B5EF4-FFF2-40B4-BE49-F238E27FC236}">
                  <a16:creationId xmlns:a16="http://schemas.microsoft.com/office/drawing/2014/main" id="{CC25F4CC-1735-4E29-9C51-5010C5C9E694}"/>
                </a:ext>
              </a:extLst>
            </p:cNvPr>
            <p:cNvGrpSpPr/>
            <p:nvPr/>
          </p:nvGrpSpPr>
          <p:grpSpPr>
            <a:xfrm>
              <a:off x="5472556" y="1381707"/>
              <a:ext cx="4430095" cy="624349"/>
              <a:chOff x="5417365" y="1590241"/>
              <a:chExt cx="4430095" cy="624349"/>
            </a:xfrm>
          </p:grpSpPr>
          <p:sp>
            <p:nvSpPr>
              <p:cNvPr id="13" name="ïṡlíḋé">
                <a:extLst>
                  <a:ext uri="{FF2B5EF4-FFF2-40B4-BE49-F238E27FC236}">
                    <a16:creationId xmlns:a16="http://schemas.microsoft.com/office/drawing/2014/main" id="{2ACB5F14-3D7D-4BC2-B4CE-A94CC45A088E}"/>
                  </a:ext>
                </a:extLst>
              </p:cNvPr>
              <p:cNvSpPr/>
              <p:nvPr/>
            </p:nvSpPr>
            <p:spPr>
              <a:xfrm>
                <a:off x="5417365" y="1590241"/>
                <a:ext cx="624349" cy="624349"/>
              </a:xfrm>
              <a:prstGeom prst="diamond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  <a:latin typeface="Impact" panose="020B0806030902050204" pitchFamily="34" charset="0"/>
                  </a:rPr>
                  <a:t>01</a:t>
                </a:r>
              </a:p>
            </p:txBody>
          </p:sp>
          <p:sp>
            <p:nvSpPr>
              <p:cNvPr id="15" name="isḻíde">
                <a:extLst>
                  <a:ext uri="{FF2B5EF4-FFF2-40B4-BE49-F238E27FC236}">
                    <a16:creationId xmlns:a16="http://schemas.microsoft.com/office/drawing/2014/main" id="{89CE7994-353C-4582-A746-23A4B3ABDC2A}"/>
                  </a:ext>
                </a:extLst>
              </p:cNvPr>
              <p:cNvSpPr txBox="1"/>
              <p:nvPr/>
            </p:nvSpPr>
            <p:spPr>
              <a:xfrm>
                <a:off x="6036271" y="1740583"/>
                <a:ext cx="3811189" cy="32036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b" anchorCtr="0">
                <a:noAutofit/>
              </a:bodyPr>
              <a:lstStyle/>
              <a:p>
                <a:r>
                  <a:rPr lang="zh-CN" altLang="en-US" sz="2800" b="1" dirty="0"/>
                  <a:t>获取数据</a:t>
                </a:r>
              </a:p>
            </p:txBody>
          </p:sp>
        </p:grp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94493942-2FAE-4426-AF3B-D28615B89DAA}"/>
                </a:ext>
              </a:extLst>
            </p:cNvPr>
            <p:cNvCxnSpPr/>
            <p:nvPr/>
          </p:nvCxnSpPr>
          <p:spPr>
            <a:xfrm>
              <a:off x="6210300" y="2133600"/>
              <a:ext cx="35242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220AFBFA-B928-48E1-8784-06D0E97D123B}"/>
                </a:ext>
              </a:extLst>
            </p:cNvPr>
            <p:cNvCxnSpPr/>
            <p:nvPr/>
          </p:nvCxnSpPr>
          <p:spPr>
            <a:xfrm>
              <a:off x="6234931" y="3584062"/>
              <a:ext cx="35242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63803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爬取数据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6000" y="253909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3B7EAF-514D-4099-A1D9-97792DB65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170" y="395655"/>
            <a:ext cx="10850563" cy="1028699"/>
          </a:xfrm>
        </p:spPr>
        <p:txBody>
          <a:bodyPr/>
          <a:lstStyle/>
          <a:p>
            <a:r>
              <a:rPr lang="zh-CN" altLang="en-US" dirty="0"/>
              <a:t>链家网</a:t>
            </a:r>
            <a:r>
              <a:rPr lang="en-US" altLang="zh-CN" dirty="0"/>
              <a:t>——</a:t>
            </a:r>
            <a:r>
              <a:rPr lang="zh-CN" altLang="en-US" dirty="0"/>
              <a:t>南昌市新建区二手房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6E0274F-F23F-4D7B-B611-D64ED0010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3893" y="1219636"/>
            <a:ext cx="8114328" cy="5393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040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找到“下一页”爬取的特殊标签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2FCDD2F-BF9B-4928-B776-4A358F1AE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834" y="1415895"/>
            <a:ext cx="12192000" cy="4747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6366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详细信息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1CD5466-973D-4E91-9F03-C3157CD714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891" y="1241571"/>
            <a:ext cx="6898627" cy="5496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704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找到“基本属性”爬取的特殊标签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DA39B36-63F4-456C-ADC3-566BAAFC34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29" y="1333920"/>
            <a:ext cx="10561905" cy="53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247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  <a:r>
              <a:rPr lang="en-US" altLang="zh-CN" dirty="0"/>
              <a:t>1</a:t>
            </a:r>
            <a:r>
              <a:rPr lang="zh-CN" altLang="en-US" dirty="0"/>
              <a:t>：</a:t>
            </a:r>
          </a:p>
        </p:txBody>
      </p:sp>
      <p:pic>
        <p:nvPicPr>
          <p:cNvPr id="4" name="图片 3">
            <a:hlinkClick r:id="rId2" action="ppaction://hlinkfile"/>
            <a:extLst>
              <a:ext uri="{FF2B5EF4-FFF2-40B4-BE49-F238E27FC236}">
                <a16:creationId xmlns:a16="http://schemas.microsoft.com/office/drawing/2014/main" id="{C2AFC7A2-D75A-47D0-B4A6-73D526A0F6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117" y="1169272"/>
            <a:ext cx="11073468" cy="570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910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B45FD-02AC-4E88-A186-1B08CA486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爬取结果（</a:t>
            </a:r>
            <a:r>
              <a:rPr lang="en-US" altLang="zh-CN" dirty="0"/>
              <a:t>3000</a:t>
            </a:r>
            <a:r>
              <a:rPr lang="zh-CN" altLang="en-US" dirty="0"/>
              <a:t>条信息，目前</a:t>
            </a:r>
            <a:r>
              <a:rPr lang="en-US" altLang="zh-CN" dirty="0"/>
              <a:t>15</a:t>
            </a:r>
            <a:r>
              <a:rPr lang="zh-CN" altLang="en-US" dirty="0"/>
              <a:t>条属性）：</a:t>
            </a:r>
          </a:p>
        </p:txBody>
      </p:sp>
      <p:pic>
        <p:nvPicPr>
          <p:cNvPr id="5" name="图片 4">
            <a:hlinkClick r:id="rId2" action="ppaction://hlinkfile"/>
            <a:extLst>
              <a:ext uri="{FF2B5EF4-FFF2-40B4-BE49-F238E27FC236}">
                <a16:creationId xmlns:a16="http://schemas.microsoft.com/office/drawing/2014/main" id="{08FF7965-C20C-4FBE-A0CA-C299BC7933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6067" y="1115734"/>
            <a:ext cx="6599820" cy="555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004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16c04cd2-5f6f-4794-971b-f6b9dcde19b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9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3C000"/>
      </a:accent1>
      <a:accent2>
        <a:srgbClr val="E79900"/>
      </a:accent2>
      <a:accent3>
        <a:srgbClr val="F55B44"/>
      </a:accent3>
      <a:accent4>
        <a:srgbClr val="BEC6C8"/>
      </a:accent4>
      <a:accent5>
        <a:srgbClr val="00BDD8"/>
      </a:accent5>
      <a:accent6>
        <a:srgbClr val="1C9DB7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3C000"/>
    </a:accent1>
    <a:accent2>
      <a:srgbClr val="E79900"/>
    </a:accent2>
    <a:accent3>
      <a:srgbClr val="F55B44"/>
    </a:accent3>
    <a:accent4>
      <a:srgbClr val="BEC6C8"/>
    </a:accent4>
    <a:accent5>
      <a:srgbClr val="00BDD8"/>
    </a:accent5>
    <a:accent6>
      <a:srgbClr val="1C9DB7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3C000"/>
    </a:accent1>
    <a:accent2>
      <a:srgbClr val="E79900"/>
    </a:accent2>
    <a:accent3>
      <a:srgbClr val="F55B44"/>
    </a:accent3>
    <a:accent4>
      <a:srgbClr val="BEC6C8"/>
    </a:accent4>
    <a:accent5>
      <a:srgbClr val="00BDD8"/>
    </a:accent5>
    <a:accent6>
      <a:srgbClr val="1C9DB7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3C000"/>
    </a:accent1>
    <a:accent2>
      <a:srgbClr val="E79900"/>
    </a:accent2>
    <a:accent3>
      <a:srgbClr val="F55B44"/>
    </a:accent3>
    <a:accent4>
      <a:srgbClr val="BEC6C8"/>
    </a:accent4>
    <a:accent5>
      <a:srgbClr val="00BDD8"/>
    </a:accent5>
    <a:accent6>
      <a:srgbClr val="1C9DB7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3C000"/>
    </a:accent1>
    <a:accent2>
      <a:srgbClr val="E79900"/>
    </a:accent2>
    <a:accent3>
      <a:srgbClr val="F55B44"/>
    </a:accent3>
    <a:accent4>
      <a:srgbClr val="BEC6C8"/>
    </a:accent4>
    <a:accent5>
      <a:srgbClr val="00BDD8"/>
    </a:accent5>
    <a:accent6>
      <a:srgbClr val="1C9DB7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2</TotalTime>
  <Words>197</Words>
  <Application>Microsoft Office PowerPoint</Application>
  <PresentationFormat>宽屏</PresentationFormat>
  <Paragraphs>32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3" baseType="lpstr">
      <vt:lpstr>Arial</vt:lpstr>
      <vt:lpstr>Calibri</vt:lpstr>
      <vt:lpstr>Impact</vt:lpstr>
      <vt:lpstr>主题5</vt:lpstr>
      <vt:lpstr>think-cell Slide</vt:lpstr>
      <vt:lpstr>PowerPoint 演示文稿</vt:lpstr>
      <vt:lpstr>PowerPoint 演示文稿</vt:lpstr>
      <vt:lpstr>爬取数据</vt:lpstr>
      <vt:lpstr>链家网——南昌市新建区二手房 </vt:lpstr>
      <vt:lpstr>找到“下一页”爬取的特殊标签</vt:lpstr>
      <vt:lpstr>详细信息</vt:lpstr>
      <vt:lpstr>找到“基本属性”爬取的特殊标签</vt:lpstr>
      <vt:lpstr>代码1：</vt:lpstr>
      <vt:lpstr>爬取结果（3000条信息，目前15条属性）：</vt:lpstr>
      <vt:lpstr>数据处理</vt:lpstr>
      <vt:lpstr>代码2：借用pandas将所有字符串转成数字向量：</vt:lpstr>
      <vt:lpstr>代码3：分别以每个属性作为横坐标，房价作为纵坐标画出散点图 以及它们的相关系数</vt:lpstr>
      <vt:lpstr>仔细阅览，筛选出其中几个不相关的（目前13个属性)</vt:lpstr>
      <vt:lpstr>与舍友经过一番讨论后剩下的数据（目前属性12个)：</vt:lpstr>
      <vt:lpstr>房价预测</vt:lpstr>
      <vt:lpstr>将数据放到paddle模型中跑</vt:lpstr>
      <vt:lpstr>该模型预测10次结果:</vt:lpstr>
      <vt:lpstr>感谢观看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李 辉</cp:lastModifiedBy>
  <cp:revision>16</cp:revision>
  <cp:lastPrinted>2018-05-21T16:00:00Z</cp:lastPrinted>
  <dcterms:created xsi:type="dcterms:W3CDTF">2018-05-21T16:00:00Z</dcterms:created>
  <dcterms:modified xsi:type="dcterms:W3CDTF">2021-10-21T09:1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